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  <p:sldMasterId id="2147483675" r:id="rId3"/>
    <p:sldMasterId id="2147483708" r:id="rId4"/>
    <p:sldMasterId id="2147483735" r:id="rId5"/>
  </p:sldMasterIdLst>
  <p:notesMasterIdLst>
    <p:notesMasterId r:id="rId17"/>
  </p:notesMasterIdLst>
  <p:sldIdLst>
    <p:sldId id="282" r:id="rId6"/>
    <p:sldId id="4349" r:id="rId7"/>
    <p:sldId id="4353" r:id="rId8"/>
    <p:sldId id="322" r:id="rId9"/>
    <p:sldId id="4352" r:id="rId10"/>
    <p:sldId id="326" r:id="rId11"/>
    <p:sldId id="323" r:id="rId12"/>
    <p:sldId id="324" r:id="rId13"/>
    <p:sldId id="325" r:id="rId14"/>
    <p:sldId id="327" r:id="rId15"/>
    <p:sldId id="4372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F0256A-C1E3-D248-B803-210363903C3E}" v="41" dt="2018-12-12T17:31:49.988"/>
    <p1510:client id="{31DC6DC0-1E0B-469B-A32B-F4D93A9E8156}" v="2" dt="2018-12-12T21:38:35.5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54" d="100"/>
          <a:sy n="154" d="100"/>
        </p:scale>
        <p:origin x="164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yun Suk Shin (MTC SEATTLE)" userId="066a5242-16bf-4435-a097-69b4e8274bba" providerId="ADAL" clId="{31DC6DC0-1E0B-469B-A32B-F4D93A9E8156}"/>
    <pc:docChg chg="custSel addSld delSld modSld">
      <pc:chgData name="Hyun Suk Shin (MTC SEATTLE)" userId="066a5242-16bf-4435-a097-69b4e8274bba" providerId="ADAL" clId="{31DC6DC0-1E0B-469B-A32B-F4D93A9E8156}" dt="2018-12-12T21:38:34.012" v="3"/>
      <pc:docMkLst>
        <pc:docMk/>
      </pc:docMkLst>
      <pc:sldChg chg="del">
        <pc:chgData name="Hyun Suk Shin (MTC SEATTLE)" userId="066a5242-16bf-4435-a097-69b4e8274bba" providerId="ADAL" clId="{31DC6DC0-1E0B-469B-A32B-F4D93A9E8156}" dt="2018-12-12T21:38:31.712" v="2" actId="2696"/>
        <pc:sldMkLst>
          <pc:docMk/>
          <pc:sldMk cId="1801548618" sldId="322"/>
        </pc:sldMkLst>
      </pc:sldChg>
      <pc:sldChg chg="add">
        <pc:chgData name="Hyun Suk Shin (MTC SEATTLE)" userId="066a5242-16bf-4435-a097-69b4e8274bba" providerId="ADAL" clId="{31DC6DC0-1E0B-469B-A32B-F4D93A9E8156}" dt="2018-12-12T21:38:34.012" v="3"/>
        <pc:sldMkLst>
          <pc:docMk/>
          <pc:sldMk cId="4211997146" sldId="322"/>
        </pc:sldMkLst>
      </pc:sldChg>
      <pc:sldChg chg="add">
        <pc:chgData name="Hyun Suk Shin (MTC SEATTLE)" userId="066a5242-16bf-4435-a097-69b4e8274bba" providerId="ADAL" clId="{31DC6DC0-1E0B-469B-A32B-F4D93A9E8156}" dt="2018-12-12T21:38:34.012" v="3"/>
        <pc:sldMkLst>
          <pc:docMk/>
          <pc:sldMk cId="456322766" sldId="4353"/>
        </pc:sldMkLst>
      </pc:sldChg>
      <pc:sldChg chg="del">
        <pc:chgData name="Hyun Suk Shin (MTC SEATTLE)" userId="066a5242-16bf-4435-a097-69b4e8274bba" providerId="ADAL" clId="{31DC6DC0-1E0B-469B-A32B-F4D93A9E8156}" dt="2018-12-12T21:38:31.686" v="1" actId="2696"/>
        <pc:sldMkLst>
          <pc:docMk/>
          <pc:sldMk cId="1545678269" sldId="4353"/>
        </pc:sldMkLst>
      </pc:sldChg>
      <pc:sldChg chg="del">
        <pc:chgData name="Hyun Suk Shin (MTC SEATTLE)" userId="066a5242-16bf-4435-a097-69b4e8274bba" providerId="ADAL" clId="{31DC6DC0-1E0B-469B-A32B-F4D93A9E8156}" dt="2018-12-12T21:38:27.036" v="0" actId="2696"/>
        <pc:sldMkLst>
          <pc:docMk/>
          <pc:sldMk cId="3499870702" sldId="4373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B6A343-A5CF-4439-AE21-4067C2FF1DBD}" type="datetimeFigureOut">
              <a:rPr lang="en-US" smtClean="0"/>
              <a:t>12/1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253381-5217-4393-8C1C-06991F27A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009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4916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1:38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08706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10047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627261" marR="0" lvl="0" indent="0" algn="l" defTabSz="102982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10047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10047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1:38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10047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10047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01967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zure build-out of DMSA.  Supports hybrid\on-premises too through ADF \ Blob \ Stretch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2/2018 1:38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66969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blu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>
            <a:lvl1pPr algn="ctr">
              <a:defRPr lang="en-US" sz="2400" b="0" kern="1200" cap="all" spc="8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Segoe UI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10203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0377060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54242398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05370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7188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724610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5617502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636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3302732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7832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1922270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1"/>
              </a:buClr>
              <a:buSzPct val="90000"/>
              <a:buFont typeface="Arial" pitchFamily="34" charset="0"/>
              <a:buNone/>
              <a:defRPr sz="2745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1pPr>
            <a:lvl2pPr marL="284789" indent="0">
              <a:buClr>
                <a:schemeClr val="tx1"/>
              </a:buClr>
              <a:buSzPct val="90000"/>
              <a:buFont typeface="Arial" pitchFamily="34" charset="0"/>
              <a:buNone/>
              <a:defRPr sz="2353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2pPr>
            <a:lvl3pPr marL="560241" indent="0">
              <a:buClr>
                <a:schemeClr val="tx1"/>
              </a:buClr>
              <a:buSzPct val="90000"/>
              <a:buFont typeface="Arial" pitchFamily="34" charset="0"/>
              <a:buNone/>
              <a:defRPr sz="1961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3pPr>
            <a:lvl4pPr marL="845031" indent="0">
              <a:buClr>
                <a:schemeClr val="tx1"/>
              </a:buClr>
              <a:buSzPct val="90000"/>
              <a:buFont typeface="Arial" pitchFamily="34" charset="0"/>
              <a:buNone/>
              <a:defRPr sz="1765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4pPr>
            <a:lvl5pPr marL="1069128" indent="0">
              <a:buClr>
                <a:schemeClr val="tx1"/>
              </a:buClr>
              <a:buSzPct val="90000"/>
              <a:buFont typeface="Arial" pitchFamily="34" charset="0"/>
              <a:buNone/>
              <a:defRPr sz="1568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829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876830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599440"/>
            <a:ext cx="11551920" cy="812800"/>
          </a:xfrm>
          <a:prstGeom prst="rect">
            <a:avLst/>
          </a:prstGeom>
        </p:spPr>
        <p:txBody>
          <a:bodyPr lIns="90980" tIns="45491" rIns="90980" bIns="4549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47717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519251" y="228602"/>
            <a:ext cx="11151917" cy="6516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010" y="6185678"/>
            <a:ext cx="1920568" cy="706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290687"/>
      </p:ext>
    </p:extLst>
  </p:cSld>
  <p:clrMapOvr>
    <a:masterClrMapping/>
  </p:clrMapOvr>
  <p:transition spd="med">
    <p:push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91069"/>
            <a:ext cx="4795873" cy="1484704"/>
          </a:xfrm>
        </p:spPr>
        <p:txBody>
          <a:bodyPr wrap="square" anchor="t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3531464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8740" y="393192"/>
            <a:ext cx="11149439" cy="557784"/>
          </a:xfrm>
        </p:spPr>
        <p:txBody>
          <a:bodyPr/>
          <a:lstStyle>
            <a:lvl1pPr>
              <a:defRPr>
                <a:solidFill>
                  <a:srgbClr val="0078D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133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8" y="620431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5"/>
              </a:lnSpc>
              <a:defRPr sz="2745" strike="noStrike">
                <a:solidFill>
                  <a:srgbClr val="2F2F2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86310389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B27989-DF00-4E60-88A8-A3A22F804DF7}"/>
              </a:ext>
            </a:extLst>
          </p:cNvPr>
          <p:cNvSpPr/>
          <p:nvPr userDrawn="1"/>
        </p:nvSpPr>
        <p:spPr bwMode="auto">
          <a:xfrm>
            <a:off x="79513" y="6568489"/>
            <a:ext cx="1948070" cy="2895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56186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D852590-F702-4A68-A71E-EB3F297C952E}"/>
              </a:ext>
            </a:extLst>
          </p:cNvPr>
          <p:cNvSpPr/>
          <p:nvPr userDrawn="1"/>
        </p:nvSpPr>
        <p:spPr bwMode="auto">
          <a:xfrm>
            <a:off x="0" y="6504167"/>
            <a:ext cx="2130950" cy="353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7349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AEEC713-1C9E-4BD9-B213-BC6A6B60D17E}"/>
              </a:ext>
            </a:extLst>
          </p:cNvPr>
          <p:cNvSpPr/>
          <p:nvPr userDrawn="1"/>
        </p:nvSpPr>
        <p:spPr bwMode="auto">
          <a:xfrm>
            <a:off x="0" y="6504167"/>
            <a:ext cx="2130950" cy="353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602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-1"/>
            <a:ext cx="12192000" cy="685800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 then send to back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4722813" y="2095671"/>
            <a:ext cx="2743200" cy="914400"/>
          </a:xfrm>
        </p:spPr>
        <p:txBody>
          <a:bodyPr>
            <a:normAutofit/>
          </a:bodyPr>
          <a:lstStyle>
            <a:lvl1pPr marL="0" marR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lang="en-US" sz="5998" b="0" kern="1200" spc="0" baseline="0">
                <a:latin typeface="+mj-lt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4400" b="1" kern="1200" spc="0" baseline="0">
                <a:solidFill>
                  <a:schemeClr val="bg1"/>
                </a:solidFill>
                <a:latin typeface="+mn-lt"/>
                <a:ea typeface="Segoe UI Semibold" panose="020B0702040204020203" pitchFamily="34" charset="0"/>
                <a:cs typeface="Segoe UI Semibold" panose="020B0702040204020203" pitchFamily="34" charset="0"/>
              </a:rPr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89355318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975">
          <p15:clr>
            <a:srgbClr val="5ACBF0"/>
          </p15:clr>
        </p15:guide>
        <p15:guide id="2" pos="3551">
          <p15:clr>
            <a:srgbClr val="5ACBF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2153AD7-52B9-4AC9-B22C-5139C763B22D}"/>
              </a:ext>
            </a:extLst>
          </p:cNvPr>
          <p:cNvSpPr/>
          <p:nvPr userDrawn="1"/>
        </p:nvSpPr>
        <p:spPr bwMode="auto">
          <a:xfrm>
            <a:off x="79513" y="6568489"/>
            <a:ext cx="1948070" cy="2895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85269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B7F67A1-1667-4EE3-8059-DB0200C8FABB}"/>
              </a:ext>
            </a:extLst>
          </p:cNvPr>
          <p:cNvSpPr/>
          <p:nvPr userDrawn="1"/>
        </p:nvSpPr>
        <p:spPr bwMode="auto">
          <a:xfrm>
            <a:off x="0" y="6504167"/>
            <a:ext cx="2130950" cy="353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08385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2E2392-1F42-4FF3-BCBB-64EE92078FC6}"/>
              </a:ext>
            </a:extLst>
          </p:cNvPr>
          <p:cNvSpPr/>
          <p:nvPr userDrawn="1"/>
        </p:nvSpPr>
        <p:spPr bwMode="auto">
          <a:xfrm>
            <a:off x="0" y="6504167"/>
            <a:ext cx="2130950" cy="353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143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727845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413009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6" name="MS logo white - E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E3072AB-4F36-4F39-9BC4-000A53AC17C8}"/>
              </a:ext>
            </a:extLst>
          </p:cNvPr>
          <p:cNvSpPr/>
          <p:nvPr userDrawn="1"/>
        </p:nvSpPr>
        <p:spPr bwMode="auto">
          <a:xfrm>
            <a:off x="0" y="6504167"/>
            <a:ext cx="2130950" cy="353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1195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0E611C6-6B94-4965-B0C7-CE46BDA1DF3C}"/>
              </a:ext>
            </a:extLst>
          </p:cNvPr>
          <p:cNvSpPr/>
          <p:nvPr userDrawn="1"/>
        </p:nvSpPr>
        <p:spPr bwMode="auto">
          <a:xfrm>
            <a:off x="0" y="6504167"/>
            <a:ext cx="2130950" cy="353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8248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3302732"/>
            <a:ext cx="1423303" cy="30482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BB0BC18-B22E-47D3-BF02-3830E054D82B}"/>
              </a:ext>
            </a:extLst>
          </p:cNvPr>
          <p:cNvSpPr/>
          <p:nvPr userDrawn="1"/>
        </p:nvSpPr>
        <p:spPr bwMode="auto">
          <a:xfrm>
            <a:off x="0" y="6504167"/>
            <a:ext cx="2130950" cy="353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861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1922270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1"/>
              </a:buClr>
              <a:buSzPct val="90000"/>
              <a:buFont typeface="Arial" pitchFamily="34" charset="0"/>
              <a:buNone/>
              <a:defRPr sz="2745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1pPr>
            <a:lvl2pPr marL="284789" indent="0">
              <a:buClr>
                <a:schemeClr val="tx1"/>
              </a:buClr>
              <a:buSzPct val="90000"/>
              <a:buFont typeface="Arial" pitchFamily="34" charset="0"/>
              <a:buNone/>
              <a:defRPr sz="2353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2pPr>
            <a:lvl3pPr marL="560241" indent="0">
              <a:buClr>
                <a:schemeClr val="tx1"/>
              </a:buClr>
              <a:buSzPct val="90000"/>
              <a:buFont typeface="Arial" pitchFamily="34" charset="0"/>
              <a:buNone/>
              <a:defRPr sz="1961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3pPr>
            <a:lvl4pPr marL="845031" indent="0">
              <a:buClr>
                <a:schemeClr val="tx1"/>
              </a:buClr>
              <a:buSzPct val="90000"/>
              <a:buFont typeface="Arial" pitchFamily="34" charset="0"/>
              <a:buNone/>
              <a:defRPr sz="1765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4pPr>
            <a:lvl5pPr marL="1069128" indent="0">
              <a:buClr>
                <a:schemeClr val="tx1"/>
              </a:buClr>
              <a:buSzPct val="90000"/>
              <a:buFont typeface="Arial" pitchFamily="34" charset="0"/>
              <a:buNone/>
              <a:defRPr sz="1568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8860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22F0FAA-04E1-420F-8624-CCFBD8CB542B}"/>
              </a:ext>
            </a:extLst>
          </p:cNvPr>
          <p:cNvSpPr/>
          <p:nvPr userDrawn="1"/>
        </p:nvSpPr>
        <p:spPr bwMode="auto">
          <a:xfrm>
            <a:off x="79513" y="6568489"/>
            <a:ext cx="1948070" cy="2895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8487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Microsoft log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83" y="2899239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64823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Photo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503098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MS logo gray - EMF">
            <a:extLst>
              <a:ext uri="{FF2B5EF4-FFF2-40B4-BE49-F238E27FC236}">
                <a16:creationId xmlns:a16="http://schemas.microsoft.com/office/drawing/2014/main" id="{AA77A05A-23E1-4B77-B805-360B320A7C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1" cy="292608"/>
          </a:xfrm>
          <a:prstGeom prst="rect">
            <a:avLst/>
          </a:prstGeom>
        </p:spPr>
      </p:pic>
      <p:sp>
        <p:nvSpPr>
          <p:cNvPr id="198" name="TextBox 197">
            <a:extLst>
              <a:ext uri="{FF2B5EF4-FFF2-40B4-BE49-F238E27FC236}">
                <a16:creationId xmlns:a16="http://schemas.microsoft.com/office/drawing/2014/main" id="{8651F689-B4F1-4AE6-87E3-39633B94F5DF}"/>
              </a:ext>
            </a:extLst>
          </p:cNvPr>
          <p:cNvSpPr txBox="1"/>
          <p:nvPr userDrawn="1"/>
        </p:nvSpPr>
        <p:spPr>
          <a:xfrm>
            <a:off x="584200" y="2979778"/>
            <a:ext cx="493776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rPr>
              <a:t>Executive Retreat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FDA63CEF-1003-438A-87D9-3A2788A9A725}"/>
              </a:ext>
            </a:extLst>
          </p:cNvPr>
          <p:cNvSpPr txBox="1"/>
          <p:nvPr userDrawn="1"/>
        </p:nvSpPr>
        <p:spPr>
          <a:xfrm>
            <a:off x="584200" y="3962400"/>
            <a:ext cx="493776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kern="1200" spc="0" baseline="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rPr>
              <a:t>March 14–16, 2018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D887123-5A70-4A9F-884B-974E99DA8FE6}"/>
              </a:ext>
            </a:extLst>
          </p:cNvPr>
          <p:cNvGrpSpPr/>
          <p:nvPr userDrawn="1"/>
        </p:nvGrpSpPr>
        <p:grpSpPr bwMode="gray">
          <a:xfrm>
            <a:off x="6573187" y="583543"/>
            <a:ext cx="5044688" cy="5690914"/>
            <a:chOff x="6177512" y="360362"/>
            <a:chExt cx="5440363" cy="6137275"/>
          </a:xfrm>
        </p:grpSpPr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BDF86F3D-6BCA-46E7-9DFF-8197477DBC7D}"/>
                </a:ext>
              </a:extLst>
            </p:cNvPr>
            <p:cNvSpPr/>
            <p:nvPr userDrawn="1"/>
          </p:nvSpPr>
          <p:spPr bwMode="gray">
            <a:xfrm>
              <a:off x="7274719" y="602457"/>
              <a:ext cx="2381249" cy="2381249"/>
            </a:xfrm>
            <a:prstGeom prst="ellipse">
              <a:avLst/>
            </a:prstGeom>
            <a:solidFill>
              <a:srgbClr val="49CDF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3" name="Freeform 92">
              <a:extLst>
                <a:ext uri="{FF2B5EF4-FFF2-40B4-BE49-F238E27FC236}">
                  <a16:creationId xmlns:a16="http://schemas.microsoft.com/office/drawing/2014/main" id="{2F8F0331-F95F-493F-A489-30F42719FA3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99987" y="2224087"/>
              <a:ext cx="3094038" cy="3094038"/>
            </a:xfrm>
            <a:custGeom>
              <a:avLst/>
              <a:gdLst>
                <a:gd name="T0" fmla="*/ 979 w 1959"/>
                <a:gd name="T1" fmla="*/ 0 h 1960"/>
                <a:gd name="T2" fmla="*/ 861 w 1959"/>
                <a:gd name="T3" fmla="*/ 8 h 1960"/>
                <a:gd name="T4" fmla="*/ 165 w 1959"/>
                <a:gd name="T5" fmla="*/ 473 h 1960"/>
                <a:gd name="T6" fmla="*/ 141 w 1959"/>
                <a:gd name="T7" fmla="*/ 473 h 1960"/>
                <a:gd name="T8" fmla="*/ 0 w 1959"/>
                <a:gd name="T9" fmla="*/ 980 h 1960"/>
                <a:gd name="T10" fmla="*/ 0 w 1959"/>
                <a:gd name="T11" fmla="*/ 1007 h 1960"/>
                <a:gd name="T12" fmla="*/ 633 w 1959"/>
                <a:gd name="T13" fmla="*/ 1841 h 1960"/>
                <a:gd name="T14" fmla="*/ 631 w 1959"/>
                <a:gd name="T15" fmla="*/ 1896 h 1960"/>
                <a:gd name="T16" fmla="*/ 979 w 1959"/>
                <a:gd name="T17" fmla="*/ 1960 h 1960"/>
                <a:gd name="T18" fmla="*/ 1959 w 1959"/>
                <a:gd name="T19" fmla="*/ 980 h 1960"/>
                <a:gd name="T20" fmla="*/ 979 w 1959"/>
                <a:gd name="T21" fmla="*/ 0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9" h="1960">
                  <a:moveTo>
                    <a:pt x="979" y="0"/>
                  </a:moveTo>
                  <a:cubicBezTo>
                    <a:pt x="939" y="0"/>
                    <a:pt x="900" y="3"/>
                    <a:pt x="861" y="8"/>
                  </a:cubicBezTo>
                  <a:cubicBezTo>
                    <a:pt x="748" y="281"/>
                    <a:pt x="479" y="473"/>
                    <a:pt x="165" y="473"/>
                  </a:cubicBezTo>
                  <a:cubicBezTo>
                    <a:pt x="157" y="473"/>
                    <a:pt x="149" y="473"/>
                    <a:pt x="141" y="473"/>
                  </a:cubicBezTo>
                  <a:cubicBezTo>
                    <a:pt x="51" y="621"/>
                    <a:pt x="0" y="794"/>
                    <a:pt x="0" y="980"/>
                  </a:cubicBezTo>
                  <a:cubicBezTo>
                    <a:pt x="0" y="989"/>
                    <a:pt x="0" y="998"/>
                    <a:pt x="0" y="1007"/>
                  </a:cubicBezTo>
                  <a:cubicBezTo>
                    <a:pt x="365" y="1109"/>
                    <a:pt x="633" y="1444"/>
                    <a:pt x="633" y="1841"/>
                  </a:cubicBezTo>
                  <a:cubicBezTo>
                    <a:pt x="633" y="1860"/>
                    <a:pt x="632" y="1878"/>
                    <a:pt x="631" y="1896"/>
                  </a:cubicBezTo>
                  <a:cubicBezTo>
                    <a:pt x="739" y="1937"/>
                    <a:pt x="857" y="1960"/>
                    <a:pt x="979" y="1960"/>
                  </a:cubicBezTo>
                  <a:cubicBezTo>
                    <a:pt x="1521" y="1960"/>
                    <a:pt x="1959" y="1521"/>
                    <a:pt x="1959" y="980"/>
                  </a:cubicBezTo>
                  <a:cubicBezTo>
                    <a:pt x="1959" y="439"/>
                    <a:pt x="1521" y="0"/>
                    <a:pt x="979" y="0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Oval 93">
              <a:extLst>
                <a:ext uri="{FF2B5EF4-FFF2-40B4-BE49-F238E27FC236}">
                  <a16:creationId xmlns:a16="http://schemas.microsoft.com/office/drawing/2014/main" id="{E969DDEB-E4E2-4B30-80BF-E0E26A0B2EE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474750" y="5595937"/>
              <a:ext cx="622300" cy="622300"/>
            </a:xfrm>
            <a:prstGeom prst="ellipse">
              <a:avLst/>
            </a:prstGeom>
            <a:solidFill>
              <a:srgbClr val="409AE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94">
              <a:extLst>
                <a:ext uri="{FF2B5EF4-FFF2-40B4-BE49-F238E27FC236}">
                  <a16:creationId xmlns:a16="http://schemas.microsoft.com/office/drawing/2014/main" id="{C0FC1D99-7E2D-4AAC-9E45-970616EFAD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722525" y="1638300"/>
              <a:ext cx="895350" cy="896938"/>
            </a:xfrm>
            <a:custGeom>
              <a:avLst/>
              <a:gdLst>
                <a:gd name="T0" fmla="*/ 277 w 567"/>
                <a:gd name="T1" fmla="*/ 564 h 568"/>
                <a:gd name="T2" fmla="*/ 4 w 567"/>
                <a:gd name="T3" fmla="*/ 277 h 568"/>
                <a:gd name="T4" fmla="*/ 291 w 567"/>
                <a:gd name="T5" fmla="*/ 4 h 568"/>
                <a:gd name="T6" fmla="*/ 564 w 567"/>
                <a:gd name="T7" fmla="*/ 291 h 568"/>
                <a:gd name="T8" fmla="*/ 277 w 567"/>
                <a:gd name="T9" fmla="*/ 56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7" h="568">
                  <a:moveTo>
                    <a:pt x="277" y="564"/>
                  </a:moveTo>
                  <a:cubicBezTo>
                    <a:pt x="122" y="560"/>
                    <a:pt x="0" y="432"/>
                    <a:pt x="4" y="277"/>
                  </a:cubicBezTo>
                  <a:cubicBezTo>
                    <a:pt x="8" y="122"/>
                    <a:pt x="136" y="0"/>
                    <a:pt x="291" y="4"/>
                  </a:cubicBezTo>
                  <a:cubicBezTo>
                    <a:pt x="445" y="8"/>
                    <a:pt x="567" y="136"/>
                    <a:pt x="564" y="291"/>
                  </a:cubicBezTo>
                  <a:cubicBezTo>
                    <a:pt x="560" y="445"/>
                    <a:pt x="431" y="568"/>
                    <a:pt x="277" y="564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95">
              <a:extLst>
                <a:ext uri="{FF2B5EF4-FFF2-40B4-BE49-F238E27FC236}">
                  <a16:creationId xmlns:a16="http://schemas.microsoft.com/office/drawing/2014/main" id="{9C79E7B4-44BD-4083-B61A-E1C25ED3FCF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082762" y="2076450"/>
              <a:ext cx="1077913" cy="925513"/>
            </a:xfrm>
            <a:custGeom>
              <a:avLst/>
              <a:gdLst>
                <a:gd name="T0" fmla="*/ 0 w 682"/>
                <a:gd name="T1" fmla="*/ 202 h 586"/>
                <a:gd name="T2" fmla="*/ 310 w 682"/>
                <a:gd name="T3" fmla="*/ 245 h 586"/>
                <a:gd name="T4" fmla="*/ 323 w 682"/>
                <a:gd name="T5" fmla="*/ 254 h 586"/>
                <a:gd name="T6" fmla="*/ 367 w 682"/>
                <a:gd name="T7" fmla="*/ 258 h 586"/>
                <a:gd name="T8" fmla="*/ 404 w 682"/>
                <a:gd name="T9" fmla="*/ 205 h 586"/>
                <a:gd name="T10" fmla="*/ 409 w 682"/>
                <a:gd name="T11" fmla="*/ 0 h 586"/>
                <a:gd name="T12" fmla="*/ 682 w 682"/>
                <a:gd name="T13" fmla="*/ 287 h 586"/>
                <a:gd name="T14" fmla="*/ 518 w 682"/>
                <a:gd name="T15" fmla="*/ 283 h 586"/>
                <a:gd name="T16" fmla="*/ 469 w 682"/>
                <a:gd name="T17" fmla="*/ 369 h 586"/>
                <a:gd name="T18" fmla="*/ 497 w 682"/>
                <a:gd name="T19" fmla="*/ 399 h 586"/>
                <a:gd name="T20" fmla="*/ 600 w 682"/>
                <a:gd name="T21" fmla="*/ 586 h 586"/>
                <a:gd name="T22" fmla="*/ 66 w 682"/>
                <a:gd name="T23" fmla="*/ 435 h 586"/>
                <a:gd name="T24" fmla="*/ 0 w 682"/>
                <a:gd name="T25" fmla="*/ 202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2" h="586">
                  <a:moveTo>
                    <a:pt x="0" y="202"/>
                  </a:moveTo>
                  <a:cubicBezTo>
                    <a:pt x="310" y="245"/>
                    <a:pt x="310" y="245"/>
                    <a:pt x="310" y="245"/>
                  </a:cubicBezTo>
                  <a:cubicBezTo>
                    <a:pt x="323" y="254"/>
                    <a:pt x="323" y="254"/>
                    <a:pt x="323" y="254"/>
                  </a:cubicBezTo>
                  <a:cubicBezTo>
                    <a:pt x="336" y="262"/>
                    <a:pt x="353" y="264"/>
                    <a:pt x="367" y="258"/>
                  </a:cubicBezTo>
                  <a:cubicBezTo>
                    <a:pt x="388" y="249"/>
                    <a:pt x="403" y="228"/>
                    <a:pt x="404" y="205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682" y="287"/>
                    <a:pt x="682" y="287"/>
                    <a:pt x="682" y="287"/>
                  </a:cubicBezTo>
                  <a:cubicBezTo>
                    <a:pt x="518" y="283"/>
                    <a:pt x="518" y="283"/>
                    <a:pt x="518" y="283"/>
                  </a:cubicBezTo>
                  <a:cubicBezTo>
                    <a:pt x="474" y="282"/>
                    <a:pt x="445" y="331"/>
                    <a:pt x="469" y="369"/>
                  </a:cubicBezTo>
                  <a:cubicBezTo>
                    <a:pt x="497" y="399"/>
                    <a:pt x="497" y="399"/>
                    <a:pt x="497" y="399"/>
                  </a:cubicBezTo>
                  <a:cubicBezTo>
                    <a:pt x="600" y="586"/>
                    <a:pt x="600" y="586"/>
                    <a:pt x="600" y="586"/>
                  </a:cubicBezTo>
                  <a:cubicBezTo>
                    <a:pt x="66" y="435"/>
                    <a:pt x="66" y="435"/>
                    <a:pt x="66" y="435"/>
                  </a:cubicBezTo>
                  <a:lnTo>
                    <a:pt x="0" y="202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98">
              <a:extLst>
                <a:ext uri="{FF2B5EF4-FFF2-40B4-BE49-F238E27FC236}">
                  <a16:creationId xmlns:a16="http://schemas.microsoft.com/office/drawing/2014/main" id="{6736A8C8-530B-47EA-9EFB-A7C80774F22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446300" y="3168650"/>
              <a:ext cx="206375" cy="73025"/>
            </a:xfrm>
            <a:custGeom>
              <a:avLst/>
              <a:gdLst>
                <a:gd name="T0" fmla="*/ 131 w 131"/>
                <a:gd name="T1" fmla="*/ 0 h 46"/>
                <a:gd name="T2" fmla="*/ 131 w 131"/>
                <a:gd name="T3" fmla="*/ 28 h 46"/>
                <a:gd name="T4" fmla="*/ 113 w 131"/>
                <a:gd name="T5" fmla="*/ 46 h 46"/>
                <a:gd name="T6" fmla="*/ 18 w 131"/>
                <a:gd name="T7" fmla="*/ 46 h 46"/>
                <a:gd name="T8" fmla="*/ 0 w 131"/>
                <a:gd name="T9" fmla="*/ 28 h 46"/>
                <a:gd name="T10" fmla="*/ 0 w 131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46">
                  <a:moveTo>
                    <a:pt x="131" y="0"/>
                  </a:moveTo>
                  <a:cubicBezTo>
                    <a:pt x="131" y="28"/>
                    <a:pt x="131" y="28"/>
                    <a:pt x="131" y="28"/>
                  </a:cubicBezTo>
                  <a:cubicBezTo>
                    <a:pt x="131" y="38"/>
                    <a:pt x="123" y="46"/>
                    <a:pt x="113" y="46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8" y="46"/>
                    <a:pt x="0" y="3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99">
              <a:extLst>
                <a:ext uri="{FF2B5EF4-FFF2-40B4-BE49-F238E27FC236}">
                  <a16:creationId xmlns:a16="http://schemas.microsoft.com/office/drawing/2014/main" id="{4C5447E0-0E62-4EE3-BB1F-ABA28669298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446300" y="2903537"/>
              <a:ext cx="206375" cy="265113"/>
            </a:xfrm>
            <a:custGeom>
              <a:avLst/>
              <a:gdLst>
                <a:gd name="T0" fmla="*/ 113 w 131"/>
                <a:gd name="T1" fmla="*/ 0 h 168"/>
                <a:gd name="T2" fmla="*/ 18 w 131"/>
                <a:gd name="T3" fmla="*/ 0 h 168"/>
                <a:gd name="T4" fmla="*/ 0 w 131"/>
                <a:gd name="T5" fmla="*/ 18 h 168"/>
                <a:gd name="T6" fmla="*/ 0 w 131"/>
                <a:gd name="T7" fmla="*/ 168 h 168"/>
                <a:gd name="T8" fmla="*/ 131 w 131"/>
                <a:gd name="T9" fmla="*/ 168 h 168"/>
                <a:gd name="T10" fmla="*/ 131 w 131"/>
                <a:gd name="T11" fmla="*/ 18 h 168"/>
                <a:gd name="T12" fmla="*/ 113 w 131"/>
                <a:gd name="T1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68">
                  <a:moveTo>
                    <a:pt x="113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131" y="168"/>
                    <a:pt x="131" y="168"/>
                    <a:pt x="131" y="168"/>
                  </a:cubicBezTo>
                  <a:cubicBezTo>
                    <a:pt x="131" y="18"/>
                    <a:pt x="131" y="18"/>
                    <a:pt x="131" y="18"/>
                  </a:cubicBezTo>
                  <a:cubicBezTo>
                    <a:pt x="131" y="8"/>
                    <a:pt x="123" y="0"/>
                    <a:pt x="113" y="0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Rectangle 100">
              <a:extLst>
                <a:ext uri="{FF2B5EF4-FFF2-40B4-BE49-F238E27FC236}">
                  <a16:creationId xmlns:a16="http://schemas.microsoft.com/office/drawing/2014/main" id="{C6EADAFE-F204-492B-BF00-1F355A04E95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0538375" y="3194050"/>
              <a:ext cx="22225" cy="238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01">
              <a:extLst>
                <a:ext uri="{FF2B5EF4-FFF2-40B4-BE49-F238E27FC236}">
                  <a16:creationId xmlns:a16="http://schemas.microsoft.com/office/drawing/2014/main" id="{0F59B2D0-E919-47D4-9709-B4CD2827DD7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9612" y="3763962"/>
              <a:ext cx="2732088" cy="2733675"/>
            </a:xfrm>
            <a:custGeom>
              <a:avLst/>
              <a:gdLst>
                <a:gd name="T0" fmla="*/ 1099 w 1730"/>
                <a:gd name="T1" fmla="*/ 32 h 1732"/>
                <a:gd name="T2" fmla="*/ 866 w 1730"/>
                <a:gd name="T3" fmla="*/ 0 h 1732"/>
                <a:gd name="T4" fmla="*/ 0 w 1730"/>
                <a:gd name="T5" fmla="*/ 866 h 1732"/>
                <a:gd name="T6" fmla="*/ 866 w 1730"/>
                <a:gd name="T7" fmla="*/ 1732 h 1732"/>
                <a:gd name="T8" fmla="*/ 1730 w 1730"/>
                <a:gd name="T9" fmla="*/ 921 h 1732"/>
                <a:gd name="T10" fmla="*/ 1099 w 1730"/>
                <a:gd name="T11" fmla="*/ 32 h 1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0" h="1732">
                  <a:moveTo>
                    <a:pt x="1099" y="32"/>
                  </a:moveTo>
                  <a:cubicBezTo>
                    <a:pt x="1025" y="11"/>
                    <a:pt x="947" y="0"/>
                    <a:pt x="866" y="0"/>
                  </a:cubicBezTo>
                  <a:cubicBezTo>
                    <a:pt x="388" y="0"/>
                    <a:pt x="0" y="388"/>
                    <a:pt x="0" y="866"/>
                  </a:cubicBezTo>
                  <a:cubicBezTo>
                    <a:pt x="0" y="1344"/>
                    <a:pt x="388" y="1732"/>
                    <a:pt x="866" y="1732"/>
                  </a:cubicBezTo>
                  <a:cubicBezTo>
                    <a:pt x="1326" y="1732"/>
                    <a:pt x="1702" y="1374"/>
                    <a:pt x="1730" y="921"/>
                  </a:cubicBezTo>
                  <a:cubicBezTo>
                    <a:pt x="1369" y="784"/>
                    <a:pt x="1110" y="439"/>
                    <a:pt x="1099" y="32"/>
                  </a:cubicBez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02">
              <a:extLst>
                <a:ext uri="{FF2B5EF4-FFF2-40B4-BE49-F238E27FC236}">
                  <a16:creationId xmlns:a16="http://schemas.microsoft.com/office/drawing/2014/main" id="{A4D05718-030F-4D75-8D0E-3EE9E22DDBF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201575" y="3813175"/>
              <a:ext cx="1000125" cy="1403350"/>
            </a:xfrm>
            <a:custGeom>
              <a:avLst/>
              <a:gdLst>
                <a:gd name="T0" fmla="*/ 0 w 633"/>
                <a:gd name="T1" fmla="*/ 0 h 889"/>
                <a:gd name="T2" fmla="*/ 631 w 633"/>
                <a:gd name="T3" fmla="*/ 889 h 889"/>
                <a:gd name="T4" fmla="*/ 633 w 633"/>
                <a:gd name="T5" fmla="*/ 834 h 889"/>
                <a:gd name="T6" fmla="*/ 0 w 633"/>
                <a:gd name="T7" fmla="*/ 0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3" h="889">
                  <a:moveTo>
                    <a:pt x="0" y="0"/>
                  </a:moveTo>
                  <a:cubicBezTo>
                    <a:pt x="11" y="407"/>
                    <a:pt x="270" y="752"/>
                    <a:pt x="631" y="889"/>
                  </a:cubicBezTo>
                  <a:cubicBezTo>
                    <a:pt x="632" y="871"/>
                    <a:pt x="633" y="853"/>
                    <a:pt x="633" y="834"/>
                  </a:cubicBezTo>
                  <a:cubicBezTo>
                    <a:pt x="633" y="437"/>
                    <a:pt x="365" y="102"/>
                    <a:pt x="0" y="0"/>
                  </a:cubicBez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03">
              <a:extLst>
                <a:ext uri="{FF2B5EF4-FFF2-40B4-BE49-F238E27FC236}">
                  <a16:creationId xmlns:a16="http://schemas.microsoft.com/office/drawing/2014/main" id="{E85224C4-C730-445D-ADD7-B36E161BF5F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9612" y="4729162"/>
              <a:ext cx="1055688" cy="1346200"/>
            </a:xfrm>
            <a:custGeom>
              <a:avLst/>
              <a:gdLst>
                <a:gd name="T0" fmla="*/ 621 w 668"/>
                <a:gd name="T1" fmla="*/ 341 h 852"/>
                <a:gd name="T2" fmla="*/ 594 w 668"/>
                <a:gd name="T3" fmla="*/ 285 h 852"/>
                <a:gd name="T4" fmla="*/ 592 w 668"/>
                <a:gd name="T5" fmla="*/ 272 h 852"/>
                <a:gd name="T6" fmla="*/ 591 w 668"/>
                <a:gd name="T7" fmla="*/ 270 h 852"/>
                <a:gd name="T8" fmla="*/ 591 w 668"/>
                <a:gd name="T9" fmla="*/ 271 h 852"/>
                <a:gd name="T10" fmla="*/ 282 w 668"/>
                <a:gd name="T11" fmla="*/ 0 h 852"/>
                <a:gd name="T12" fmla="*/ 282 w 668"/>
                <a:gd name="T13" fmla="*/ 0 h 852"/>
                <a:gd name="T14" fmla="*/ 4 w 668"/>
                <a:gd name="T15" fmla="*/ 172 h 852"/>
                <a:gd name="T16" fmla="*/ 0 w 668"/>
                <a:gd name="T17" fmla="*/ 256 h 852"/>
                <a:gd name="T18" fmla="*/ 237 w 668"/>
                <a:gd name="T19" fmla="*/ 852 h 852"/>
                <a:gd name="T20" fmla="*/ 236 w 668"/>
                <a:gd name="T21" fmla="*/ 837 h 852"/>
                <a:gd name="T22" fmla="*/ 296 w 668"/>
                <a:gd name="T23" fmla="*/ 692 h 852"/>
                <a:gd name="T24" fmla="*/ 350 w 668"/>
                <a:gd name="T25" fmla="*/ 650 h 852"/>
                <a:gd name="T26" fmla="*/ 426 w 668"/>
                <a:gd name="T27" fmla="*/ 623 h 852"/>
                <a:gd name="T28" fmla="*/ 513 w 668"/>
                <a:gd name="T29" fmla="*/ 635 h 852"/>
                <a:gd name="T30" fmla="*/ 513 w 668"/>
                <a:gd name="T31" fmla="*/ 635 h 852"/>
                <a:gd name="T32" fmla="*/ 526 w 668"/>
                <a:gd name="T33" fmla="*/ 635 h 852"/>
                <a:gd name="T34" fmla="*/ 578 w 668"/>
                <a:gd name="T35" fmla="*/ 612 h 852"/>
                <a:gd name="T36" fmla="*/ 580 w 668"/>
                <a:gd name="T37" fmla="*/ 559 h 852"/>
                <a:gd name="T38" fmla="*/ 583 w 668"/>
                <a:gd name="T39" fmla="*/ 539 h 852"/>
                <a:gd name="T40" fmla="*/ 591 w 668"/>
                <a:gd name="T41" fmla="*/ 532 h 852"/>
                <a:gd name="T42" fmla="*/ 555 w 668"/>
                <a:gd name="T43" fmla="*/ 513 h 852"/>
                <a:gd name="T44" fmla="*/ 607 w 668"/>
                <a:gd name="T45" fmla="*/ 480 h 852"/>
                <a:gd name="T46" fmla="*/ 594 w 668"/>
                <a:gd name="T47" fmla="*/ 442 h 852"/>
                <a:gd name="T48" fmla="*/ 603 w 668"/>
                <a:gd name="T49" fmla="*/ 431 h 852"/>
                <a:gd name="T50" fmla="*/ 648 w 668"/>
                <a:gd name="T51" fmla="*/ 423 h 852"/>
                <a:gd name="T52" fmla="*/ 666 w 668"/>
                <a:gd name="T53" fmla="*/ 405 h 852"/>
                <a:gd name="T54" fmla="*/ 660 w 668"/>
                <a:gd name="T55" fmla="*/ 385 h 852"/>
                <a:gd name="T56" fmla="*/ 621 w 668"/>
                <a:gd name="T57" fmla="*/ 341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68" h="852">
                  <a:moveTo>
                    <a:pt x="621" y="341"/>
                  </a:moveTo>
                  <a:cubicBezTo>
                    <a:pt x="606" y="325"/>
                    <a:pt x="597" y="306"/>
                    <a:pt x="594" y="285"/>
                  </a:cubicBezTo>
                  <a:cubicBezTo>
                    <a:pt x="593" y="277"/>
                    <a:pt x="593" y="280"/>
                    <a:pt x="592" y="272"/>
                  </a:cubicBezTo>
                  <a:cubicBezTo>
                    <a:pt x="591" y="270"/>
                    <a:pt x="591" y="270"/>
                    <a:pt x="591" y="270"/>
                  </a:cubicBezTo>
                  <a:cubicBezTo>
                    <a:pt x="591" y="271"/>
                    <a:pt x="591" y="271"/>
                    <a:pt x="591" y="271"/>
                  </a:cubicBezTo>
                  <a:cubicBezTo>
                    <a:pt x="571" y="118"/>
                    <a:pt x="440" y="0"/>
                    <a:pt x="282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161" y="0"/>
                    <a:pt x="55" y="70"/>
                    <a:pt x="4" y="172"/>
                  </a:cubicBezTo>
                  <a:cubicBezTo>
                    <a:pt x="1" y="200"/>
                    <a:pt x="0" y="228"/>
                    <a:pt x="0" y="256"/>
                  </a:cubicBezTo>
                  <a:cubicBezTo>
                    <a:pt x="0" y="487"/>
                    <a:pt x="90" y="697"/>
                    <a:pt x="237" y="852"/>
                  </a:cubicBezTo>
                  <a:cubicBezTo>
                    <a:pt x="236" y="837"/>
                    <a:pt x="236" y="837"/>
                    <a:pt x="236" y="837"/>
                  </a:cubicBezTo>
                  <a:cubicBezTo>
                    <a:pt x="230" y="781"/>
                    <a:pt x="253" y="726"/>
                    <a:pt x="296" y="692"/>
                  </a:cubicBezTo>
                  <a:cubicBezTo>
                    <a:pt x="350" y="650"/>
                    <a:pt x="350" y="650"/>
                    <a:pt x="350" y="650"/>
                  </a:cubicBezTo>
                  <a:cubicBezTo>
                    <a:pt x="371" y="633"/>
                    <a:pt x="398" y="623"/>
                    <a:pt x="426" y="623"/>
                  </a:cubicBezTo>
                  <a:cubicBezTo>
                    <a:pt x="513" y="635"/>
                    <a:pt x="513" y="635"/>
                    <a:pt x="513" y="635"/>
                  </a:cubicBezTo>
                  <a:cubicBezTo>
                    <a:pt x="513" y="635"/>
                    <a:pt x="513" y="635"/>
                    <a:pt x="513" y="635"/>
                  </a:cubicBezTo>
                  <a:cubicBezTo>
                    <a:pt x="526" y="635"/>
                    <a:pt x="526" y="635"/>
                    <a:pt x="526" y="635"/>
                  </a:cubicBezTo>
                  <a:cubicBezTo>
                    <a:pt x="545" y="635"/>
                    <a:pt x="564" y="627"/>
                    <a:pt x="578" y="612"/>
                  </a:cubicBezTo>
                  <a:cubicBezTo>
                    <a:pt x="589" y="600"/>
                    <a:pt x="590" y="572"/>
                    <a:pt x="580" y="559"/>
                  </a:cubicBezTo>
                  <a:cubicBezTo>
                    <a:pt x="576" y="552"/>
                    <a:pt x="577" y="544"/>
                    <a:pt x="583" y="539"/>
                  </a:cubicBezTo>
                  <a:cubicBezTo>
                    <a:pt x="591" y="532"/>
                    <a:pt x="591" y="532"/>
                    <a:pt x="591" y="532"/>
                  </a:cubicBezTo>
                  <a:cubicBezTo>
                    <a:pt x="589" y="512"/>
                    <a:pt x="555" y="513"/>
                    <a:pt x="555" y="513"/>
                  </a:cubicBezTo>
                  <a:cubicBezTo>
                    <a:pt x="555" y="513"/>
                    <a:pt x="599" y="505"/>
                    <a:pt x="607" y="480"/>
                  </a:cubicBezTo>
                  <a:cubicBezTo>
                    <a:pt x="596" y="469"/>
                    <a:pt x="594" y="453"/>
                    <a:pt x="594" y="442"/>
                  </a:cubicBezTo>
                  <a:cubicBezTo>
                    <a:pt x="594" y="437"/>
                    <a:pt x="598" y="432"/>
                    <a:pt x="603" y="431"/>
                  </a:cubicBezTo>
                  <a:cubicBezTo>
                    <a:pt x="648" y="423"/>
                    <a:pt x="648" y="423"/>
                    <a:pt x="648" y="423"/>
                  </a:cubicBezTo>
                  <a:cubicBezTo>
                    <a:pt x="657" y="421"/>
                    <a:pt x="664" y="415"/>
                    <a:pt x="666" y="405"/>
                  </a:cubicBezTo>
                  <a:cubicBezTo>
                    <a:pt x="668" y="398"/>
                    <a:pt x="665" y="390"/>
                    <a:pt x="660" y="385"/>
                  </a:cubicBezTo>
                  <a:lnTo>
                    <a:pt x="621" y="341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104">
              <a:extLst>
                <a:ext uri="{FF2B5EF4-FFF2-40B4-BE49-F238E27FC236}">
                  <a16:creationId xmlns:a16="http://schemas.microsoft.com/office/drawing/2014/main" id="{D19841CA-1A6D-4A31-8A9F-BECE3FC3E5F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4312" y="5230812"/>
              <a:ext cx="58738" cy="58738"/>
            </a:xfrm>
            <a:prstGeom prst="ellipse">
              <a:avLst/>
            </a:prstGeom>
            <a:solidFill>
              <a:srgbClr val="3320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05">
              <a:extLst>
                <a:ext uri="{FF2B5EF4-FFF2-40B4-BE49-F238E27FC236}">
                  <a16:creationId xmlns:a16="http://schemas.microsoft.com/office/drawing/2014/main" id="{0013843A-4431-4964-9061-764E3398B49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98175" y="4699000"/>
              <a:ext cx="863600" cy="941388"/>
            </a:xfrm>
            <a:custGeom>
              <a:avLst/>
              <a:gdLst>
                <a:gd name="T0" fmla="*/ 73 w 547"/>
                <a:gd name="T1" fmla="*/ 596 h 596"/>
                <a:gd name="T2" fmla="*/ 73 w 547"/>
                <a:gd name="T3" fmla="*/ 596 h 596"/>
                <a:gd name="T4" fmla="*/ 271 w 547"/>
                <a:gd name="T5" fmla="*/ 465 h 596"/>
                <a:gd name="T6" fmla="*/ 314 w 547"/>
                <a:gd name="T7" fmla="*/ 398 h 596"/>
                <a:gd name="T8" fmla="*/ 460 w 547"/>
                <a:gd name="T9" fmla="*/ 97 h 596"/>
                <a:gd name="T10" fmla="*/ 547 w 547"/>
                <a:gd name="T11" fmla="*/ 95 h 596"/>
                <a:gd name="T12" fmla="*/ 303 w 547"/>
                <a:gd name="T13" fmla="*/ 0 h 596"/>
                <a:gd name="T14" fmla="*/ 0 w 547"/>
                <a:gd name="T15" fmla="*/ 298 h 596"/>
                <a:gd name="T16" fmla="*/ 73 w 547"/>
                <a:gd name="T17" fmla="*/ 596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596">
                  <a:moveTo>
                    <a:pt x="73" y="596"/>
                  </a:moveTo>
                  <a:cubicBezTo>
                    <a:pt x="73" y="596"/>
                    <a:pt x="73" y="596"/>
                    <a:pt x="73" y="596"/>
                  </a:cubicBezTo>
                  <a:cubicBezTo>
                    <a:pt x="155" y="583"/>
                    <a:pt x="227" y="535"/>
                    <a:pt x="271" y="465"/>
                  </a:cubicBezTo>
                  <a:cubicBezTo>
                    <a:pt x="314" y="398"/>
                    <a:pt x="314" y="398"/>
                    <a:pt x="314" y="398"/>
                  </a:cubicBezTo>
                  <a:cubicBezTo>
                    <a:pt x="404" y="324"/>
                    <a:pt x="457" y="214"/>
                    <a:pt x="460" y="97"/>
                  </a:cubicBezTo>
                  <a:cubicBezTo>
                    <a:pt x="547" y="95"/>
                    <a:pt x="547" y="95"/>
                    <a:pt x="547" y="95"/>
                  </a:cubicBezTo>
                  <a:cubicBezTo>
                    <a:pt x="547" y="95"/>
                    <a:pt x="498" y="0"/>
                    <a:pt x="303" y="0"/>
                  </a:cubicBezTo>
                  <a:cubicBezTo>
                    <a:pt x="186" y="0"/>
                    <a:pt x="0" y="106"/>
                    <a:pt x="0" y="298"/>
                  </a:cubicBezTo>
                  <a:cubicBezTo>
                    <a:pt x="0" y="489"/>
                    <a:pt x="73" y="596"/>
                    <a:pt x="73" y="596"/>
                  </a:cubicBezTo>
                  <a:close/>
                </a:path>
              </a:pathLst>
            </a:custGeom>
            <a:solidFill>
              <a:srgbClr val="191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Oval 106">
              <a:extLst>
                <a:ext uri="{FF2B5EF4-FFF2-40B4-BE49-F238E27FC236}">
                  <a16:creationId xmlns:a16="http://schemas.microsoft.com/office/drawing/2014/main" id="{02C908F3-3F8B-4E6E-BAB3-F7BA10C4F53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177512" y="4918075"/>
              <a:ext cx="336550" cy="336550"/>
            </a:xfrm>
            <a:prstGeom prst="ellipse">
              <a:avLst/>
            </a:prstGeom>
            <a:solidFill>
              <a:srgbClr val="191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07">
              <a:extLst>
                <a:ext uri="{FF2B5EF4-FFF2-40B4-BE49-F238E27FC236}">
                  <a16:creationId xmlns:a16="http://schemas.microsoft.com/office/drawing/2014/main" id="{E236C498-98B0-42A9-9685-962B85F579B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87137" y="4845050"/>
              <a:ext cx="203200" cy="539750"/>
            </a:xfrm>
            <a:custGeom>
              <a:avLst/>
              <a:gdLst>
                <a:gd name="T0" fmla="*/ 87 w 128"/>
                <a:gd name="T1" fmla="*/ 0 h 342"/>
                <a:gd name="T2" fmla="*/ 0 w 128"/>
                <a:gd name="T3" fmla="*/ 342 h 342"/>
                <a:gd name="T4" fmla="*/ 87 w 128"/>
                <a:gd name="T5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8" h="342">
                  <a:moveTo>
                    <a:pt x="87" y="0"/>
                  </a:moveTo>
                  <a:cubicBezTo>
                    <a:pt x="0" y="342"/>
                    <a:pt x="0" y="342"/>
                    <a:pt x="0" y="342"/>
                  </a:cubicBezTo>
                  <a:cubicBezTo>
                    <a:pt x="0" y="342"/>
                    <a:pt x="128" y="214"/>
                    <a:pt x="87" y="0"/>
                  </a:cubicBezTo>
                  <a:close/>
                </a:path>
              </a:pathLst>
            </a:custGeom>
            <a:solidFill>
              <a:srgbClr val="191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08">
              <a:extLst>
                <a:ext uri="{FF2B5EF4-FFF2-40B4-BE49-F238E27FC236}">
                  <a16:creationId xmlns:a16="http://schemas.microsoft.com/office/drawing/2014/main" id="{F3D56885-EDD5-4F9A-BA3E-FD8DD0536A8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47425" y="5127625"/>
              <a:ext cx="195263" cy="314325"/>
            </a:xfrm>
            <a:custGeom>
              <a:avLst/>
              <a:gdLst>
                <a:gd name="T0" fmla="*/ 124 w 124"/>
                <a:gd name="T1" fmla="*/ 119 h 199"/>
                <a:gd name="T2" fmla="*/ 109 w 124"/>
                <a:gd name="T3" fmla="*/ 44 h 199"/>
                <a:gd name="T4" fmla="*/ 55 w 124"/>
                <a:gd name="T5" fmla="*/ 0 h 199"/>
                <a:gd name="T6" fmla="*/ 55 w 124"/>
                <a:gd name="T7" fmla="*/ 0 h 199"/>
                <a:gd name="T8" fmla="*/ 0 w 124"/>
                <a:gd name="T9" fmla="*/ 55 h 199"/>
                <a:gd name="T10" fmla="*/ 0 w 124"/>
                <a:gd name="T11" fmla="*/ 107 h 199"/>
                <a:gd name="T12" fmla="*/ 43 w 124"/>
                <a:gd name="T13" fmla="*/ 187 h 199"/>
                <a:gd name="T14" fmla="*/ 62 w 124"/>
                <a:gd name="T15" fmla="*/ 199 h 199"/>
                <a:gd name="T16" fmla="*/ 124 w 124"/>
                <a:gd name="T17" fmla="*/ 11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199">
                  <a:moveTo>
                    <a:pt x="124" y="119"/>
                  </a:moveTo>
                  <a:cubicBezTo>
                    <a:pt x="109" y="44"/>
                    <a:pt x="109" y="44"/>
                    <a:pt x="109" y="44"/>
                  </a:cubicBezTo>
                  <a:cubicBezTo>
                    <a:pt x="104" y="19"/>
                    <a:pt x="81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24" y="0"/>
                    <a:pt x="0" y="25"/>
                    <a:pt x="0" y="55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39"/>
                    <a:pt x="16" y="169"/>
                    <a:pt x="43" y="187"/>
                  </a:cubicBezTo>
                  <a:cubicBezTo>
                    <a:pt x="62" y="199"/>
                    <a:pt x="62" y="199"/>
                    <a:pt x="62" y="199"/>
                  </a:cubicBezTo>
                  <a:lnTo>
                    <a:pt x="124" y="119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09">
              <a:extLst>
                <a:ext uri="{FF2B5EF4-FFF2-40B4-BE49-F238E27FC236}">
                  <a16:creationId xmlns:a16="http://schemas.microsoft.com/office/drawing/2014/main" id="{5E614DE6-E0EF-4150-9A17-8A6E1CDD187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25212" y="5473700"/>
              <a:ext cx="60325" cy="123825"/>
            </a:xfrm>
            <a:custGeom>
              <a:avLst/>
              <a:gdLst>
                <a:gd name="T0" fmla="*/ 24 w 38"/>
                <a:gd name="T1" fmla="*/ 78 h 78"/>
                <a:gd name="T2" fmla="*/ 38 w 38"/>
                <a:gd name="T3" fmla="*/ 0 h 78"/>
                <a:gd name="T4" fmla="*/ 0 w 38"/>
                <a:gd name="T5" fmla="*/ 0 h 78"/>
                <a:gd name="T6" fmla="*/ 14 w 38"/>
                <a:gd name="T7" fmla="*/ 78 h 78"/>
                <a:gd name="T8" fmla="*/ 24 w 38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78">
                  <a:moveTo>
                    <a:pt x="24" y="78"/>
                  </a:moveTo>
                  <a:lnTo>
                    <a:pt x="38" y="0"/>
                  </a:lnTo>
                  <a:lnTo>
                    <a:pt x="0" y="0"/>
                  </a:lnTo>
                  <a:lnTo>
                    <a:pt x="14" y="78"/>
                  </a:lnTo>
                  <a:lnTo>
                    <a:pt x="24" y="78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10">
              <a:extLst>
                <a:ext uri="{FF2B5EF4-FFF2-40B4-BE49-F238E27FC236}">
                  <a16:creationId xmlns:a16="http://schemas.microsoft.com/office/drawing/2014/main" id="{DE68F649-30D8-46C7-BD8E-6A6263ABC2B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74462" y="5118100"/>
              <a:ext cx="165100" cy="98425"/>
            </a:xfrm>
            <a:custGeom>
              <a:avLst/>
              <a:gdLst>
                <a:gd name="T0" fmla="*/ 9 w 105"/>
                <a:gd name="T1" fmla="*/ 62 h 62"/>
                <a:gd name="T2" fmla="*/ 4 w 105"/>
                <a:gd name="T3" fmla="*/ 61 h 62"/>
                <a:gd name="T4" fmla="*/ 2 w 105"/>
                <a:gd name="T5" fmla="*/ 50 h 62"/>
                <a:gd name="T6" fmla="*/ 99 w 105"/>
                <a:gd name="T7" fmla="*/ 24 h 62"/>
                <a:gd name="T8" fmla="*/ 104 w 105"/>
                <a:gd name="T9" fmla="*/ 34 h 62"/>
                <a:gd name="T10" fmla="*/ 94 w 105"/>
                <a:gd name="T11" fmla="*/ 39 h 62"/>
                <a:gd name="T12" fmla="*/ 15 w 105"/>
                <a:gd name="T13" fmla="*/ 59 h 62"/>
                <a:gd name="T14" fmla="*/ 9 w 105"/>
                <a:gd name="T1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62">
                  <a:moveTo>
                    <a:pt x="9" y="62"/>
                  </a:moveTo>
                  <a:cubicBezTo>
                    <a:pt x="7" y="62"/>
                    <a:pt x="6" y="61"/>
                    <a:pt x="4" y="61"/>
                  </a:cubicBezTo>
                  <a:cubicBezTo>
                    <a:pt x="1" y="58"/>
                    <a:pt x="0" y="53"/>
                    <a:pt x="2" y="50"/>
                  </a:cubicBezTo>
                  <a:cubicBezTo>
                    <a:pt x="3" y="49"/>
                    <a:pt x="38" y="0"/>
                    <a:pt x="99" y="24"/>
                  </a:cubicBezTo>
                  <a:cubicBezTo>
                    <a:pt x="103" y="26"/>
                    <a:pt x="105" y="30"/>
                    <a:pt x="104" y="34"/>
                  </a:cubicBezTo>
                  <a:cubicBezTo>
                    <a:pt x="102" y="38"/>
                    <a:pt x="98" y="40"/>
                    <a:pt x="94" y="39"/>
                  </a:cubicBezTo>
                  <a:cubicBezTo>
                    <a:pt x="44" y="19"/>
                    <a:pt x="16" y="57"/>
                    <a:pt x="15" y="59"/>
                  </a:cubicBezTo>
                  <a:cubicBezTo>
                    <a:pt x="13" y="61"/>
                    <a:pt x="11" y="62"/>
                    <a:pt x="9" y="62"/>
                  </a:cubicBezTo>
                  <a:close/>
                </a:path>
              </a:pathLst>
            </a:custGeom>
            <a:solidFill>
              <a:srgbClr val="191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11">
              <a:extLst>
                <a:ext uri="{FF2B5EF4-FFF2-40B4-BE49-F238E27FC236}">
                  <a16:creationId xmlns:a16="http://schemas.microsoft.com/office/drawing/2014/main" id="{48793AC8-8906-41C1-8967-3951C8BC49C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88700" y="5170487"/>
              <a:ext cx="106363" cy="209550"/>
            </a:xfrm>
            <a:custGeom>
              <a:avLst/>
              <a:gdLst>
                <a:gd name="T0" fmla="*/ 53 w 67"/>
                <a:gd name="T1" fmla="*/ 115 h 133"/>
                <a:gd name="T2" fmla="*/ 53 w 67"/>
                <a:gd name="T3" fmla="*/ 115 h 133"/>
                <a:gd name="T4" fmla="*/ 56 w 67"/>
                <a:gd name="T5" fmla="*/ 82 h 133"/>
                <a:gd name="T6" fmla="*/ 56 w 67"/>
                <a:gd name="T7" fmla="*/ 82 h 133"/>
                <a:gd name="T8" fmla="*/ 65 w 67"/>
                <a:gd name="T9" fmla="*/ 58 h 133"/>
                <a:gd name="T10" fmla="*/ 54 w 67"/>
                <a:gd name="T11" fmla="*/ 20 h 133"/>
                <a:gd name="T12" fmla="*/ 28 w 67"/>
                <a:gd name="T13" fmla="*/ 0 h 133"/>
                <a:gd name="T14" fmla="*/ 28 w 67"/>
                <a:gd name="T15" fmla="*/ 0 h 133"/>
                <a:gd name="T16" fmla="*/ 0 w 67"/>
                <a:gd name="T17" fmla="*/ 27 h 133"/>
                <a:gd name="T18" fmla="*/ 0 w 67"/>
                <a:gd name="T19" fmla="*/ 74 h 133"/>
                <a:gd name="T20" fmla="*/ 18 w 67"/>
                <a:gd name="T21" fmla="*/ 113 h 133"/>
                <a:gd name="T22" fmla="*/ 36 w 67"/>
                <a:gd name="T23" fmla="*/ 129 h 133"/>
                <a:gd name="T24" fmla="*/ 50 w 67"/>
                <a:gd name="T25" fmla="*/ 130 h 133"/>
                <a:gd name="T26" fmla="*/ 52 w 67"/>
                <a:gd name="T27" fmla="*/ 129 h 133"/>
                <a:gd name="T28" fmla="*/ 53 w 67"/>
                <a:gd name="T29" fmla="*/ 11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133">
                  <a:moveTo>
                    <a:pt x="53" y="115"/>
                  </a:moveTo>
                  <a:cubicBezTo>
                    <a:pt x="53" y="115"/>
                    <a:pt x="53" y="115"/>
                    <a:pt x="53" y="115"/>
                  </a:cubicBezTo>
                  <a:cubicBezTo>
                    <a:pt x="44" y="105"/>
                    <a:pt x="45" y="89"/>
                    <a:pt x="56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64" y="76"/>
                    <a:pt x="67" y="67"/>
                    <a:pt x="65" y="58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1" y="8"/>
                    <a:pt x="40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89"/>
                    <a:pt x="7" y="103"/>
                    <a:pt x="18" y="113"/>
                  </a:cubicBezTo>
                  <a:cubicBezTo>
                    <a:pt x="36" y="129"/>
                    <a:pt x="36" y="129"/>
                    <a:pt x="36" y="129"/>
                  </a:cubicBezTo>
                  <a:cubicBezTo>
                    <a:pt x="40" y="133"/>
                    <a:pt x="46" y="133"/>
                    <a:pt x="50" y="130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56" y="125"/>
                    <a:pt x="57" y="119"/>
                    <a:pt x="53" y="115"/>
                  </a:cubicBezTo>
                  <a:close/>
                </a:path>
              </a:pathLst>
            </a:custGeom>
            <a:solidFill>
              <a:srgbClr val="BA8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12">
              <a:extLst>
                <a:ext uri="{FF2B5EF4-FFF2-40B4-BE49-F238E27FC236}">
                  <a16:creationId xmlns:a16="http://schemas.microsoft.com/office/drawing/2014/main" id="{7F671DCD-C5E5-40FA-88C0-930FD2F9C70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02987" y="5191125"/>
              <a:ext cx="63500" cy="161925"/>
            </a:xfrm>
            <a:custGeom>
              <a:avLst/>
              <a:gdLst>
                <a:gd name="T0" fmla="*/ 28 w 40"/>
                <a:gd name="T1" fmla="*/ 17 h 103"/>
                <a:gd name="T2" fmla="*/ 27 w 40"/>
                <a:gd name="T3" fmla="*/ 14 h 103"/>
                <a:gd name="T4" fmla="*/ 0 w 40"/>
                <a:gd name="T5" fmla="*/ 19 h 103"/>
                <a:gd name="T6" fmla="*/ 0 w 40"/>
                <a:gd name="T7" fmla="*/ 103 h 103"/>
                <a:gd name="T8" fmla="*/ 1 w 40"/>
                <a:gd name="T9" fmla="*/ 103 h 103"/>
                <a:gd name="T10" fmla="*/ 28 w 40"/>
                <a:gd name="T11" fmla="*/ 1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103">
                  <a:moveTo>
                    <a:pt x="28" y="17"/>
                  </a:moveTo>
                  <a:cubicBezTo>
                    <a:pt x="27" y="14"/>
                    <a:pt x="27" y="14"/>
                    <a:pt x="27" y="14"/>
                  </a:cubicBezTo>
                  <a:cubicBezTo>
                    <a:pt x="21" y="0"/>
                    <a:pt x="0" y="4"/>
                    <a:pt x="0" y="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29" y="84"/>
                    <a:pt x="40" y="49"/>
                    <a:pt x="28" y="17"/>
                  </a:cubicBez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13">
              <a:extLst>
                <a:ext uri="{FF2B5EF4-FFF2-40B4-BE49-F238E27FC236}">
                  <a16:creationId xmlns:a16="http://schemas.microsoft.com/office/drawing/2014/main" id="{D75DA147-FF1A-4E46-AD6B-4FBAF1BE664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698212" y="5070475"/>
              <a:ext cx="209550" cy="287338"/>
            </a:xfrm>
            <a:custGeom>
              <a:avLst/>
              <a:gdLst>
                <a:gd name="T0" fmla="*/ 132 w 132"/>
                <a:gd name="T1" fmla="*/ 0 h 182"/>
                <a:gd name="T2" fmla="*/ 0 w 132"/>
                <a:gd name="T3" fmla="*/ 182 h 182"/>
                <a:gd name="T4" fmla="*/ 132 w 132"/>
                <a:gd name="T5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2" h="182">
                  <a:moveTo>
                    <a:pt x="132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0" y="182"/>
                    <a:pt x="107" y="152"/>
                    <a:pt x="132" y="0"/>
                  </a:cubicBezTo>
                  <a:close/>
                </a:path>
              </a:pathLst>
            </a:custGeom>
            <a:solidFill>
              <a:srgbClr val="191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14">
              <a:extLst>
                <a:ext uri="{FF2B5EF4-FFF2-40B4-BE49-F238E27FC236}">
                  <a16:creationId xmlns:a16="http://schemas.microsoft.com/office/drawing/2014/main" id="{51207E81-06AC-4517-9146-E90D783B764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471325" y="4743450"/>
              <a:ext cx="1028700" cy="819150"/>
            </a:xfrm>
            <a:custGeom>
              <a:avLst/>
              <a:gdLst>
                <a:gd name="T0" fmla="*/ 573 w 652"/>
                <a:gd name="T1" fmla="*/ 519 h 519"/>
                <a:gd name="T2" fmla="*/ 0 w 652"/>
                <a:gd name="T3" fmla="*/ 519 h 519"/>
                <a:gd name="T4" fmla="*/ 64 w 652"/>
                <a:gd name="T5" fmla="*/ 486 h 519"/>
                <a:gd name="T6" fmla="*/ 122 w 652"/>
                <a:gd name="T7" fmla="*/ 390 h 519"/>
                <a:gd name="T8" fmla="*/ 122 w 652"/>
                <a:gd name="T9" fmla="*/ 79 h 519"/>
                <a:gd name="T10" fmla="*/ 201 w 652"/>
                <a:gd name="T11" fmla="*/ 0 h 519"/>
                <a:gd name="T12" fmla="*/ 573 w 652"/>
                <a:gd name="T13" fmla="*/ 0 h 519"/>
                <a:gd name="T14" fmla="*/ 652 w 652"/>
                <a:gd name="T15" fmla="*/ 79 h 519"/>
                <a:gd name="T16" fmla="*/ 652 w 652"/>
                <a:gd name="T17" fmla="*/ 440 h 519"/>
                <a:gd name="T18" fmla="*/ 573 w 652"/>
                <a:gd name="T19" fmla="*/ 519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2" h="519">
                  <a:moveTo>
                    <a:pt x="573" y="519"/>
                  </a:moveTo>
                  <a:cubicBezTo>
                    <a:pt x="0" y="519"/>
                    <a:pt x="0" y="519"/>
                    <a:pt x="0" y="519"/>
                  </a:cubicBezTo>
                  <a:cubicBezTo>
                    <a:pt x="64" y="486"/>
                    <a:pt x="64" y="486"/>
                    <a:pt x="64" y="486"/>
                  </a:cubicBezTo>
                  <a:cubicBezTo>
                    <a:pt x="99" y="467"/>
                    <a:pt x="122" y="430"/>
                    <a:pt x="122" y="390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2" y="36"/>
                    <a:pt x="157" y="0"/>
                    <a:pt x="201" y="0"/>
                  </a:cubicBezTo>
                  <a:cubicBezTo>
                    <a:pt x="573" y="0"/>
                    <a:pt x="573" y="0"/>
                    <a:pt x="573" y="0"/>
                  </a:cubicBezTo>
                  <a:cubicBezTo>
                    <a:pt x="617" y="0"/>
                    <a:pt x="652" y="36"/>
                    <a:pt x="652" y="79"/>
                  </a:cubicBezTo>
                  <a:cubicBezTo>
                    <a:pt x="652" y="440"/>
                    <a:pt x="652" y="440"/>
                    <a:pt x="652" y="440"/>
                  </a:cubicBezTo>
                  <a:cubicBezTo>
                    <a:pt x="652" y="483"/>
                    <a:pt x="617" y="519"/>
                    <a:pt x="573" y="519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15">
              <a:extLst>
                <a:ext uri="{FF2B5EF4-FFF2-40B4-BE49-F238E27FC236}">
                  <a16:creationId xmlns:a16="http://schemas.microsoft.com/office/drawing/2014/main" id="{25141EB8-37BE-4E01-B52D-82191849356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17400" y="4940300"/>
              <a:ext cx="254000" cy="430213"/>
            </a:xfrm>
            <a:custGeom>
              <a:avLst/>
              <a:gdLst>
                <a:gd name="T0" fmla="*/ 83 w 161"/>
                <a:gd name="T1" fmla="*/ 273 h 273"/>
                <a:gd name="T2" fmla="*/ 56 w 161"/>
                <a:gd name="T3" fmla="*/ 237 h 273"/>
                <a:gd name="T4" fmla="*/ 14 w 161"/>
                <a:gd name="T5" fmla="*/ 165 h 273"/>
                <a:gd name="T6" fmla="*/ 14 w 161"/>
                <a:gd name="T7" fmla="*/ 110 h 273"/>
                <a:gd name="T8" fmla="*/ 66 w 161"/>
                <a:gd name="T9" fmla="*/ 20 h 273"/>
                <a:gd name="T10" fmla="*/ 87 w 161"/>
                <a:gd name="T11" fmla="*/ 0 h 273"/>
                <a:gd name="T12" fmla="*/ 161 w 161"/>
                <a:gd name="T13" fmla="*/ 136 h 273"/>
                <a:gd name="T14" fmla="*/ 83 w 161"/>
                <a:gd name="T15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1" h="273">
                  <a:moveTo>
                    <a:pt x="83" y="273"/>
                  </a:moveTo>
                  <a:cubicBezTo>
                    <a:pt x="83" y="273"/>
                    <a:pt x="67" y="257"/>
                    <a:pt x="56" y="237"/>
                  </a:cubicBezTo>
                  <a:cubicBezTo>
                    <a:pt x="45" y="218"/>
                    <a:pt x="14" y="165"/>
                    <a:pt x="14" y="165"/>
                  </a:cubicBezTo>
                  <a:cubicBezTo>
                    <a:pt x="14" y="165"/>
                    <a:pt x="0" y="134"/>
                    <a:pt x="14" y="110"/>
                  </a:cubicBezTo>
                  <a:cubicBezTo>
                    <a:pt x="28" y="87"/>
                    <a:pt x="66" y="20"/>
                    <a:pt x="66" y="2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61" y="136"/>
                    <a:pt x="161" y="136"/>
                    <a:pt x="161" y="136"/>
                  </a:cubicBezTo>
                  <a:lnTo>
                    <a:pt x="83" y="273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16">
              <a:extLst>
                <a:ext uri="{FF2B5EF4-FFF2-40B4-BE49-F238E27FC236}">
                  <a16:creationId xmlns:a16="http://schemas.microsoft.com/office/drawing/2014/main" id="{26027C4F-7EC8-4FBB-BEF5-DC6A3ADC9C0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947575" y="5154612"/>
              <a:ext cx="382588" cy="231775"/>
            </a:xfrm>
            <a:custGeom>
              <a:avLst/>
              <a:gdLst>
                <a:gd name="T0" fmla="*/ 242 w 242"/>
                <a:gd name="T1" fmla="*/ 0 h 147"/>
                <a:gd name="T2" fmla="*/ 78 w 242"/>
                <a:gd name="T3" fmla="*/ 0 h 147"/>
                <a:gd name="T4" fmla="*/ 0 w 242"/>
                <a:gd name="T5" fmla="*/ 137 h 147"/>
                <a:gd name="T6" fmla="*/ 30 w 242"/>
                <a:gd name="T7" fmla="*/ 147 h 147"/>
                <a:gd name="T8" fmla="*/ 135 w 242"/>
                <a:gd name="T9" fmla="*/ 147 h 147"/>
                <a:gd name="T10" fmla="*/ 176 w 242"/>
                <a:gd name="T11" fmla="*/ 128 h 147"/>
                <a:gd name="T12" fmla="*/ 234 w 242"/>
                <a:gd name="T13" fmla="*/ 29 h 147"/>
                <a:gd name="T14" fmla="*/ 242 w 242"/>
                <a:gd name="T1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2" h="147">
                  <a:moveTo>
                    <a:pt x="242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37"/>
                    <a:pt x="11" y="147"/>
                    <a:pt x="30" y="147"/>
                  </a:cubicBezTo>
                  <a:cubicBezTo>
                    <a:pt x="50" y="147"/>
                    <a:pt x="135" y="147"/>
                    <a:pt x="135" y="147"/>
                  </a:cubicBezTo>
                  <a:cubicBezTo>
                    <a:pt x="135" y="147"/>
                    <a:pt x="160" y="144"/>
                    <a:pt x="176" y="128"/>
                  </a:cubicBezTo>
                  <a:cubicBezTo>
                    <a:pt x="192" y="112"/>
                    <a:pt x="234" y="29"/>
                    <a:pt x="234" y="29"/>
                  </a:cubicBez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19">
              <a:extLst>
                <a:ext uri="{FF2B5EF4-FFF2-40B4-BE49-F238E27FC236}">
                  <a16:creationId xmlns:a16="http://schemas.microsoft.com/office/drawing/2014/main" id="{F11F54A0-245A-42C0-B536-674E6D63EEC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814225" y="4919662"/>
              <a:ext cx="528638" cy="476250"/>
            </a:xfrm>
            <a:custGeom>
              <a:avLst/>
              <a:gdLst>
                <a:gd name="T0" fmla="*/ 220 w 335"/>
                <a:gd name="T1" fmla="*/ 302 h 302"/>
                <a:gd name="T2" fmla="*/ 115 w 335"/>
                <a:gd name="T3" fmla="*/ 302 h 302"/>
                <a:gd name="T4" fmla="*/ 63 w 335"/>
                <a:gd name="T5" fmla="*/ 271 h 302"/>
                <a:gd name="T6" fmla="*/ 11 w 335"/>
                <a:gd name="T7" fmla="*/ 181 h 302"/>
                <a:gd name="T8" fmla="*/ 11 w 335"/>
                <a:gd name="T9" fmla="*/ 120 h 302"/>
                <a:gd name="T10" fmla="*/ 63 w 335"/>
                <a:gd name="T11" fmla="*/ 30 h 302"/>
                <a:gd name="T12" fmla="*/ 115 w 335"/>
                <a:gd name="T13" fmla="*/ 0 h 302"/>
                <a:gd name="T14" fmla="*/ 220 w 335"/>
                <a:gd name="T15" fmla="*/ 0 h 302"/>
                <a:gd name="T16" fmla="*/ 272 w 335"/>
                <a:gd name="T17" fmla="*/ 30 h 302"/>
                <a:gd name="T18" fmla="*/ 325 w 335"/>
                <a:gd name="T19" fmla="*/ 120 h 302"/>
                <a:gd name="T20" fmla="*/ 325 w 335"/>
                <a:gd name="T21" fmla="*/ 181 h 302"/>
                <a:gd name="T22" fmla="*/ 272 w 335"/>
                <a:gd name="T23" fmla="*/ 271 h 302"/>
                <a:gd name="T24" fmla="*/ 220 w 335"/>
                <a:gd name="T25" fmla="*/ 302 h 302"/>
                <a:gd name="T26" fmla="*/ 115 w 335"/>
                <a:gd name="T27" fmla="*/ 12 h 302"/>
                <a:gd name="T28" fmla="*/ 74 w 335"/>
                <a:gd name="T29" fmla="*/ 36 h 302"/>
                <a:gd name="T30" fmla="*/ 21 w 335"/>
                <a:gd name="T31" fmla="*/ 126 h 302"/>
                <a:gd name="T32" fmla="*/ 21 w 335"/>
                <a:gd name="T33" fmla="*/ 175 h 302"/>
                <a:gd name="T34" fmla="*/ 74 w 335"/>
                <a:gd name="T35" fmla="*/ 265 h 302"/>
                <a:gd name="T36" fmla="*/ 115 w 335"/>
                <a:gd name="T37" fmla="*/ 290 h 302"/>
                <a:gd name="T38" fmla="*/ 220 w 335"/>
                <a:gd name="T39" fmla="*/ 290 h 302"/>
                <a:gd name="T40" fmla="*/ 262 w 335"/>
                <a:gd name="T41" fmla="*/ 265 h 302"/>
                <a:gd name="T42" fmla="*/ 314 w 335"/>
                <a:gd name="T43" fmla="*/ 175 h 302"/>
                <a:gd name="T44" fmla="*/ 314 w 335"/>
                <a:gd name="T45" fmla="*/ 126 h 302"/>
                <a:gd name="T46" fmla="*/ 262 w 335"/>
                <a:gd name="T47" fmla="*/ 36 h 302"/>
                <a:gd name="T48" fmla="*/ 220 w 335"/>
                <a:gd name="T49" fmla="*/ 12 h 302"/>
                <a:gd name="T50" fmla="*/ 115 w 335"/>
                <a:gd name="T51" fmla="*/ 1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5" h="302">
                  <a:moveTo>
                    <a:pt x="220" y="302"/>
                  </a:moveTo>
                  <a:cubicBezTo>
                    <a:pt x="115" y="302"/>
                    <a:pt x="115" y="302"/>
                    <a:pt x="115" y="302"/>
                  </a:cubicBezTo>
                  <a:cubicBezTo>
                    <a:pt x="94" y="302"/>
                    <a:pt x="74" y="290"/>
                    <a:pt x="63" y="271"/>
                  </a:cubicBezTo>
                  <a:cubicBezTo>
                    <a:pt x="11" y="181"/>
                    <a:pt x="11" y="181"/>
                    <a:pt x="11" y="181"/>
                  </a:cubicBezTo>
                  <a:cubicBezTo>
                    <a:pt x="0" y="162"/>
                    <a:pt x="0" y="139"/>
                    <a:pt x="11" y="12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74" y="11"/>
                    <a:pt x="94" y="0"/>
                    <a:pt x="115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41" y="0"/>
                    <a:pt x="261" y="11"/>
                    <a:pt x="272" y="30"/>
                  </a:cubicBezTo>
                  <a:cubicBezTo>
                    <a:pt x="325" y="120"/>
                    <a:pt x="325" y="120"/>
                    <a:pt x="325" y="120"/>
                  </a:cubicBezTo>
                  <a:cubicBezTo>
                    <a:pt x="335" y="139"/>
                    <a:pt x="335" y="162"/>
                    <a:pt x="325" y="181"/>
                  </a:cubicBezTo>
                  <a:cubicBezTo>
                    <a:pt x="272" y="271"/>
                    <a:pt x="272" y="271"/>
                    <a:pt x="272" y="271"/>
                  </a:cubicBezTo>
                  <a:cubicBezTo>
                    <a:pt x="261" y="290"/>
                    <a:pt x="241" y="302"/>
                    <a:pt x="220" y="302"/>
                  </a:cubicBezTo>
                  <a:close/>
                  <a:moveTo>
                    <a:pt x="115" y="12"/>
                  </a:moveTo>
                  <a:cubicBezTo>
                    <a:pt x="98" y="12"/>
                    <a:pt x="82" y="21"/>
                    <a:pt x="74" y="36"/>
                  </a:cubicBezTo>
                  <a:cubicBezTo>
                    <a:pt x="21" y="126"/>
                    <a:pt x="21" y="126"/>
                    <a:pt x="21" y="126"/>
                  </a:cubicBezTo>
                  <a:cubicBezTo>
                    <a:pt x="13" y="141"/>
                    <a:pt x="13" y="160"/>
                    <a:pt x="21" y="175"/>
                  </a:cubicBezTo>
                  <a:cubicBezTo>
                    <a:pt x="74" y="265"/>
                    <a:pt x="74" y="265"/>
                    <a:pt x="74" y="265"/>
                  </a:cubicBezTo>
                  <a:cubicBezTo>
                    <a:pt x="82" y="280"/>
                    <a:pt x="98" y="290"/>
                    <a:pt x="115" y="290"/>
                  </a:cubicBezTo>
                  <a:cubicBezTo>
                    <a:pt x="220" y="290"/>
                    <a:pt x="220" y="290"/>
                    <a:pt x="220" y="290"/>
                  </a:cubicBezTo>
                  <a:cubicBezTo>
                    <a:pt x="237" y="290"/>
                    <a:pt x="253" y="280"/>
                    <a:pt x="262" y="265"/>
                  </a:cubicBezTo>
                  <a:cubicBezTo>
                    <a:pt x="314" y="175"/>
                    <a:pt x="314" y="175"/>
                    <a:pt x="314" y="175"/>
                  </a:cubicBezTo>
                  <a:cubicBezTo>
                    <a:pt x="323" y="160"/>
                    <a:pt x="323" y="141"/>
                    <a:pt x="314" y="126"/>
                  </a:cubicBezTo>
                  <a:cubicBezTo>
                    <a:pt x="262" y="36"/>
                    <a:pt x="262" y="36"/>
                    <a:pt x="262" y="36"/>
                  </a:cubicBezTo>
                  <a:cubicBezTo>
                    <a:pt x="253" y="21"/>
                    <a:pt x="237" y="12"/>
                    <a:pt x="220" y="12"/>
                  </a:cubicBezTo>
                  <a:lnTo>
                    <a:pt x="115" y="1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20">
              <a:extLst>
                <a:ext uri="{FF2B5EF4-FFF2-40B4-BE49-F238E27FC236}">
                  <a16:creationId xmlns:a16="http://schemas.microsoft.com/office/drawing/2014/main" id="{99F4A617-522A-48E5-99BC-C2D3D1E8657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672937" y="4460875"/>
              <a:ext cx="411163" cy="1323975"/>
            </a:xfrm>
            <a:custGeom>
              <a:avLst/>
              <a:gdLst>
                <a:gd name="T0" fmla="*/ 23 w 260"/>
                <a:gd name="T1" fmla="*/ 838 h 838"/>
                <a:gd name="T2" fmla="*/ 12 w 260"/>
                <a:gd name="T3" fmla="*/ 832 h 838"/>
                <a:gd name="T4" fmla="*/ 242 w 260"/>
                <a:gd name="T5" fmla="*/ 450 h 838"/>
                <a:gd name="T6" fmla="*/ 243 w 260"/>
                <a:gd name="T7" fmla="*/ 426 h 838"/>
                <a:gd name="T8" fmla="*/ 0 w 260"/>
                <a:gd name="T9" fmla="*/ 6 h 838"/>
                <a:gd name="T10" fmla="*/ 10 w 260"/>
                <a:gd name="T11" fmla="*/ 0 h 838"/>
                <a:gd name="T12" fmla="*/ 253 w 260"/>
                <a:gd name="T13" fmla="*/ 420 h 838"/>
                <a:gd name="T14" fmla="*/ 253 w 260"/>
                <a:gd name="T15" fmla="*/ 457 h 838"/>
                <a:gd name="T16" fmla="*/ 23 w 260"/>
                <a:gd name="T17" fmla="*/ 838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" h="838">
                  <a:moveTo>
                    <a:pt x="23" y="838"/>
                  </a:moveTo>
                  <a:cubicBezTo>
                    <a:pt x="12" y="832"/>
                    <a:pt x="12" y="832"/>
                    <a:pt x="12" y="832"/>
                  </a:cubicBezTo>
                  <a:cubicBezTo>
                    <a:pt x="242" y="450"/>
                    <a:pt x="242" y="450"/>
                    <a:pt x="242" y="450"/>
                  </a:cubicBezTo>
                  <a:cubicBezTo>
                    <a:pt x="247" y="443"/>
                    <a:pt x="247" y="434"/>
                    <a:pt x="243" y="4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53" y="420"/>
                    <a:pt x="253" y="420"/>
                    <a:pt x="253" y="420"/>
                  </a:cubicBezTo>
                  <a:cubicBezTo>
                    <a:pt x="260" y="432"/>
                    <a:pt x="259" y="445"/>
                    <a:pt x="253" y="457"/>
                  </a:cubicBezTo>
                  <a:lnTo>
                    <a:pt x="23" y="83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Rectangle 121">
              <a:extLst>
                <a:ext uri="{FF2B5EF4-FFF2-40B4-BE49-F238E27FC236}">
                  <a16:creationId xmlns:a16="http://schemas.microsoft.com/office/drawing/2014/main" id="{5E7C750F-077E-4EC2-95B9-125BE534499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30162" y="5145087"/>
              <a:ext cx="395288" cy="19050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22">
              <a:extLst>
                <a:ext uri="{FF2B5EF4-FFF2-40B4-BE49-F238E27FC236}">
                  <a16:creationId xmlns:a16="http://schemas.microsoft.com/office/drawing/2014/main" id="{95B1F7B2-FAB5-47D2-9D21-41247C328C5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211100" y="5375275"/>
              <a:ext cx="195263" cy="315913"/>
            </a:xfrm>
            <a:custGeom>
              <a:avLst/>
              <a:gdLst>
                <a:gd name="T0" fmla="*/ 112 w 123"/>
                <a:gd name="T1" fmla="*/ 199 h 199"/>
                <a:gd name="T2" fmla="*/ 0 w 123"/>
                <a:gd name="T3" fmla="*/ 6 h 199"/>
                <a:gd name="T4" fmla="*/ 10 w 123"/>
                <a:gd name="T5" fmla="*/ 0 h 199"/>
                <a:gd name="T6" fmla="*/ 123 w 123"/>
                <a:gd name="T7" fmla="*/ 193 h 199"/>
                <a:gd name="T8" fmla="*/ 112 w 123"/>
                <a:gd name="T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199">
                  <a:moveTo>
                    <a:pt x="112" y="199"/>
                  </a:moveTo>
                  <a:lnTo>
                    <a:pt x="0" y="6"/>
                  </a:lnTo>
                  <a:lnTo>
                    <a:pt x="10" y="0"/>
                  </a:lnTo>
                  <a:lnTo>
                    <a:pt x="123" y="193"/>
                  </a:lnTo>
                  <a:lnTo>
                    <a:pt x="112" y="199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23">
              <a:extLst>
                <a:ext uri="{FF2B5EF4-FFF2-40B4-BE49-F238E27FC236}">
                  <a16:creationId xmlns:a16="http://schemas.microsoft.com/office/drawing/2014/main" id="{3CD6BE99-657D-4B53-B9DA-D2356408E319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8781012" y="5020468"/>
              <a:ext cx="258763" cy="258763"/>
            </a:xfrm>
            <a:custGeom>
              <a:avLst/>
              <a:gdLst>
                <a:gd name="T0" fmla="*/ 26 w 164"/>
                <a:gd name="T1" fmla="*/ 53 h 164"/>
                <a:gd name="T2" fmla="*/ 29 w 164"/>
                <a:gd name="T3" fmla="*/ 63 h 164"/>
                <a:gd name="T4" fmla="*/ 19 w 164"/>
                <a:gd name="T5" fmla="*/ 77 h 164"/>
                <a:gd name="T6" fmla="*/ 1 w 164"/>
                <a:gd name="T7" fmla="*/ 85 h 164"/>
                <a:gd name="T8" fmla="*/ 7 w 164"/>
                <a:gd name="T9" fmla="*/ 101 h 164"/>
                <a:gd name="T10" fmla="*/ 30 w 164"/>
                <a:gd name="T11" fmla="*/ 106 h 164"/>
                <a:gd name="T12" fmla="*/ 34 w 164"/>
                <a:gd name="T13" fmla="*/ 123 h 164"/>
                <a:gd name="T14" fmla="*/ 27 w 164"/>
                <a:gd name="T15" fmla="*/ 142 h 164"/>
                <a:gd name="T16" fmla="*/ 43 w 164"/>
                <a:gd name="T17" fmla="*/ 149 h 164"/>
                <a:gd name="T18" fmla="*/ 63 w 164"/>
                <a:gd name="T19" fmla="*/ 136 h 164"/>
                <a:gd name="T20" fmla="*/ 77 w 164"/>
                <a:gd name="T21" fmla="*/ 145 h 164"/>
                <a:gd name="T22" fmla="*/ 85 w 164"/>
                <a:gd name="T23" fmla="*/ 164 h 164"/>
                <a:gd name="T24" fmla="*/ 102 w 164"/>
                <a:gd name="T25" fmla="*/ 157 h 164"/>
                <a:gd name="T26" fmla="*/ 106 w 164"/>
                <a:gd name="T27" fmla="*/ 134 h 164"/>
                <a:gd name="T28" fmla="*/ 113 w 164"/>
                <a:gd name="T29" fmla="*/ 130 h 164"/>
                <a:gd name="T30" fmla="*/ 123 w 164"/>
                <a:gd name="T31" fmla="*/ 130 h 164"/>
                <a:gd name="T32" fmla="*/ 142 w 164"/>
                <a:gd name="T33" fmla="*/ 138 h 164"/>
                <a:gd name="T34" fmla="*/ 149 w 164"/>
                <a:gd name="T35" fmla="*/ 122 h 164"/>
                <a:gd name="T36" fmla="*/ 136 w 164"/>
                <a:gd name="T37" fmla="*/ 102 h 164"/>
                <a:gd name="T38" fmla="*/ 138 w 164"/>
                <a:gd name="T39" fmla="*/ 95 h 164"/>
                <a:gd name="T40" fmla="*/ 145 w 164"/>
                <a:gd name="T41" fmla="*/ 88 h 164"/>
                <a:gd name="T42" fmla="*/ 164 w 164"/>
                <a:gd name="T43" fmla="*/ 79 h 164"/>
                <a:gd name="T44" fmla="*/ 157 w 164"/>
                <a:gd name="T45" fmla="*/ 63 h 164"/>
                <a:gd name="T46" fmla="*/ 134 w 164"/>
                <a:gd name="T47" fmla="*/ 58 h 164"/>
                <a:gd name="T48" fmla="*/ 131 w 164"/>
                <a:gd name="T49" fmla="*/ 52 h 164"/>
                <a:gd name="T50" fmla="*/ 131 w 164"/>
                <a:gd name="T51" fmla="*/ 42 h 164"/>
                <a:gd name="T52" fmla="*/ 138 w 164"/>
                <a:gd name="T53" fmla="*/ 22 h 164"/>
                <a:gd name="T54" fmla="*/ 122 w 164"/>
                <a:gd name="T55" fmla="*/ 16 h 164"/>
                <a:gd name="T56" fmla="*/ 102 w 164"/>
                <a:gd name="T57" fmla="*/ 28 h 164"/>
                <a:gd name="T58" fmla="*/ 95 w 164"/>
                <a:gd name="T59" fmla="*/ 26 h 164"/>
                <a:gd name="T60" fmla="*/ 88 w 164"/>
                <a:gd name="T61" fmla="*/ 19 h 164"/>
                <a:gd name="T62" fmla="*/ 79 w 164"/>
                <a:gd name="T63" fmla="*/ 1 h 164"/>
                <a:gd name="T64" fmla="*/ 63 w 164"/>
                <a:gd name="T65" fmla="*/ 7 h 164"/>
                <a:gd name="T66" fmla="*/ 58 w 164"/>
                <a:gd name="T67" fmla="*/ 30 h 164"/>
                <a:gd name="T68" fmla="*/ 52 w 164"/>
                <a:gd name="T69" fmla="*/ 34 h 164"/>
                <a:gd name="T70" fmla="*/ 42 w 164"/>
                <a:gd name="T71" fmla="*/ 34 h 164"/>
                <a:gd name="T72" fmla="*/ 22 w 164"/>
                <a:gd name="T73" fmla="*/ 27 h 164"/>
                <a:gd name="T74" fmla="*/ 16 w 164"/>
                <a:gd name="T75" fmla="*/ 43 h 164"/>
                <a:gd name="T76" fmla="*/ 96 w 164"/>
                <a:gd name="T77" fmla="*/ 93 h 164"/>
                <a:gd name="T78" fmla="*/ 68 w 164"/>
                <a:gd name="T79" fmla="*/ 7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4" h="164">
                  <a:moveTo>
                    <a:pt x="16" y="43"/>
                  </a:moveTo>
                  <a:cubicBezTo>
                    <a:pt x="26" y="53"/>
                    <a:pt x="26" y="53"/>
                    <a:pt x="26" y="53"/>
                  </a:cubicBezTo>
                  <a:cubicBezTo>
                    <a:pt x="30" y="57"/>
                    <a:pt x="30" y="60"/>
                    <a:pt x="29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8" y="65"/>
                    <a:pt x="27" y="68"/>
                    <a:pt x="26" y="70"/>
                  </a:cubicBezTo>
                  <a:cubicBezTo>
                    <a:pt x="26" y="73"/>
                    <a:pt x="24" y="76"/>
                    <a:pt x="19" y="77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2" y="81"/>
                    <a:pt x="0" y="83"/>
                    <a:pt x="1" y="85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2" y="99"/>
                    <a:pt x="4" y="101"/>
                    <a:pt x="7" y="101"/>
                  </a:cubicBezTo>
                  <a:cubicBezTo>
                    <a:pt x="22" y="101"/>
                    <a:pt x="22" y="101"/>
                    <a:pt x="22" y="101"/>
                  </a:cubicBezTo>
                  <a:cubicBezTo>
                    <a:pt x="27" y="101"/>
                    <a:pt x="29" y="103"/>
                    <a:pt x="30" y="106"/>
                  </a:cubicBezTo>
                  <a:cubicBezTo>
                    <a:pt x="31" y="109"/>
                    <a:pt x="33" y="111"/>
                    <a:pt x="35" y="114"/>
                  </a:cubicBezTo>
                  <a:cubicBezTo>
                    <a:pt x="36" y="116"/>
                    <a:pt x="36" y="119"/>
                    <a:pt x="34" y="123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4" y="138"/>
                    <a:pt x="25" y="141"/>
                    <a:pt x="27" y="142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8" y="151"/>
                    <a:pt x="41" y="151"/>
                    <a:pt x="43" y="149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7" y="135"/>
                    <a:pt x="60" y="135"/>
                    <a:pt x="63" y="136"/>
                  </a:cubicBezTo>
                  <a:cubicBezTo>
                    <a:pt x="65" y="137"/>
                    <a:pt x="68" y="138"/>
                    <a:pt x="70" y="138"/>
                  </a:cubicBezTo>
                  <a:cubicBezTo>
                    <a:pt x="73" y="139"/>
                    <a:pt x="76" y="140"/>
                    <a:pt x="77" y="145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81" y="162"/>
                    <a:pt x="84" y="164"/>
                    <a:pt x="85" y="164"/>
                  </a:cubicBezTo>
                  <a:cubicBezTo>
                    <a:pt x="97" y="162"/>
                    <a:pt x="97" y="162"/>
                    <a:pt x="97" y="162"/>
                  </a:cubicBezTo>
                  <a:cubicBezTo>
                    <a:pt x="99" y="162"/>
                    <a:pt x="101" y="160"/>
                    <a:pt x="102" y="157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37"/>
                    <a:pt x="104" y="135"/>
                    <a:pt x="106" y="134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3"/>
                    <a:pt x="111" y="132"/>
                    <a:pt x="113" y="130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6" y="129"/>
                    <a:pt x="119" y="128"/>
                    <a:pt x="123" y="130"/>
                  </a:cubicBezTo>
                  <a:cubicBezTo>
                    <a:pt x="135" y="139"/>
                    <a:pt x="135" y="139"/>
                    <a:pt x="135" y="139"/>
                  </a:cubicBezTo>
                  <a:cubicBezTo>
                    <a:pt x="138" y="140"/>
                    <a:pt x="141" y="139"/>
                    <a:pt x="142" y="138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151" y="127"/>
                    <a:pt x="151" y="124"/>
                    <a:pt x="149" y="122"/>
                  </a:cubicBezTo>
                  <a:cubicBezTo>
                    <a:pt x="139" y="112"/>
                    <a:pt x="139" y="112"/>
                    <a:pt x="139" y="112"/>
                  </a:cubicBezTo>
                  <a:cubicBezTo>
                    <a:pt x="135" y="108"/>
                    <a:pt x="135" y="105"/>
                    <a:pt x="136" y="102"/>
                  </a:cubicBezTo>
                  <a:cubicBezTo>
                    <a:pt x="136" y="102"/>
                    <a:pt x="136" y="102"/>
                    <a:pt x="136" y="101"/>
                  </a:cubicBezTo>
                  <a:cubicBezTo>
                    <a:pt x="137" y="99"/>
                    <a:pt x="138" y="97"/>
                    <a:pt x="138" y="95"/>
                  </a:cubicBezTo>
                  <a:cubicBezTo>
                    <a:pt x="138" y="95"/>
                    <a:pt x="138" y="95"/>
                    <a:pt x="138" y="94"/>
                  </a:cubicBezTo>
                  <a:cubicBezTo>
                    <a:pt x="139" y="91"/>
                    <a:pt x="140" y="89"/>
                    <a:pt x="145" y="88"/>
                  </a:cubicBezTo>
                  <a:cubicBezTo>
                    <a:pt x="160" y="85"/>
                    <a:pt x="160" y="85"/>
                    <a:pt x="160" y="85"/>
                  </a:cubicBezTo>
                  <a:cubicBezTo>
                    <a:pt x="162" y="84"/>
                    <a:pt x="164" y="81"/>
                    <a:pt x="164" y="79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62" y="65"/>
                    <a:pt x="160" y="63"/>
                    <a:pt x="157" y="63"/>
                  </a:cubicBezTo>
                  <a:cubicBezTo>
                    <a:pt x="143" y="63"/>
                    <a:pt x="143" y="63"/>
                    <a:pt x="143" y="63"/>
                  </a:cubicBezTo>
                  <a:cubicBezTo>
                    <a:pt x="137" y="63"/>
                    <a:pt x="135" y="61"/>
                    <a:pt x="134" y="58"/>
                  </a:cubicBezTo>
                  <a:cubicBezTo>
                    <a:pt x="134" y="58"/>
                    <a:pt x="134" y="58"/>
                    <a:pt x="134" y="58"/>
                  </a:cubicBezTo>
                  <a:cubicBezTo>
                    <a:pt x="133" y="56"/>
                    <a:pt x="132" y="54"/>
                    <a:pt x="131" y="52"/>
                  </a:cubicBezTo>
                  <a:cubicBezTo>
                    <a:pt x="131" y="52"/>
                    <a:pt x="130" y="51"/>
                    <a:pt x="130" y="51"/>
                  </a:cubicBezTo>
                  <a:cubicBezTo>
                    <a:pt x="129" y="49"/>
                    <a:pt x="128" y="46"/>
                    <a:pt x="131" y="42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40" y="27"/>
                    <a:pt x="139" y="23"/>
                    <a:pt x="138" y="22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7" y="14"/>
                    <a:pt x="124" y="14"/>
                    <a:pt x="122" y="16"/>
                  </a:cubicBezTo>
                  <a:cubicBezTo>
                    <a:pt x="112" y="26"/>
                    <a:pt x="112" y="26"/>
                    <a:pt x="112" y="26"/>
                  </a:cubicBezTo>
                  <a:cubicBezTo>
                    <a:pt x="108" y="30"/>
                    <a:pt x="105" y="30"/>
                    <a:pt x="102" y="28"/>
                  </a:cubicBezTo>
                  <a:cubicBezTo>
                    <a:pt x="102" y="28"/>
                    <a:pt x="102" y="28"/>
                    <a:pt x="101" y="28"/>
                  </a:cubicBezTo>
                  <a:cubicBezTo>
                    <a:pt x="99" y="28"/>
                    <a:pt x="97" y="27"/>
                    <a:pt x="95" y="26"/>
                  </a:cubicBezTo>
                  <a:cubicBezTo>
                    <a:pt x="95" y="26"/>
                    <a:pt x="95" y="26"/>
                    <a:pt x="94" y="26"/>
                  </a:cubicBezTo>
                  <a:cubicBezTo>
                    <a:pt x="92" y="26"/>
                    <a:pt x="89" y="24"/>
                    <a:pt x="88" y="19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4" y="2"/>
                    <a:pt x="81" y="0"/>
                    <a:pt x="79" y="1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5" y="2"/>
                    <a:pt x="63" y="4"/>
                    <a:pt x="63" y="7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7"/>
                    <a:pt x="61" y="29"/>
                    <a:pt x="58" y="30"/>
                  </a:cubicBezTo>
                  <a:cubicBezTo>
                    <a:pt x="58" y="30"/>
                    <a:pt x="58" y="30"/>
                    <a:pt x="58" y="31"/>
                  </a:cubicBezTo>
                  <a:cubicBezTo>
                    <a:pt x="56" y="32"/>
                    <a:pt x="54" y="33"/>
                    <a:pt x="52" y="3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49" y="36"/>
                    <a:pt x="46" y="36"/>
                    <a:pt x="42" y="34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7" y="24"/>
                    <a:pt x="24" y="25"/>
                    <a:pt x="22" y="27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4" y="37"/>
                    <a:pt x="14" y="41"/>
                    <a:pt x="16" y="43"/>
                  </a:cubicBezTo>
                  <a:close/>
                  <a:moveTo>
                    <a:pt x="93" y="68"/>
                  </a:moveTo>
                  <a:cubicBezTo>
                    <a:pt x="101" y="74"/>
                    <a:pt x="102" y="86"/>
                    <a:pt x="96" y="93"/>
                  </a:cubicBezTo>
                  <a:cubicBezTo>
                    <a:pt x="90" y="101"/>
                    <a:pt x="79" y="102"/>
                    <a:pt x="71" y="96"/>
                  </a:cubicBezTo>
                  <a:cubicBezTo>
                    <a:pt x="64" y="90"/>
                    <a:pt x="62" y="79"/>
                    <a:pt x="68" y="71"/>
                  </a:cubicBezTo>
                  <a:cubicBezTo>
                    <a:pt x="75" y="64"/>
                    <a:pt x="86" y="62"/>
                    <a:pt x="93" y="68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24">
              <a:extLst>
                <a:ext uri="{FF2B5EF4-FFF2-40B4-BE49-F238E27FC236}">
                  <a16:creationId xmlns:a16="http://schemas.microsoft.com/office/drawing/2014/main" id="{F79063C3-CB5E-4EB4-BBBA-1DDDC6A17D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36512" y="5826125"/>
              <a:ext cx="257175" cy="120650"/>
            </a:xfrm>
            <a:custGeom>
              <a:avLst/>
              <a:gdLst>
                <a:gd name="T0" fmla="*/ 48 w 163"/>
                <a:gd name="T1" fmla="*/ 76 h 76"/>
                <a:gd name="T2" fmla="*/ 122 w 163"/>
                <a:gd name="T3" fmla="*/ 76 h 76"/>
                <a:gd name="T4" fmla="*/ 143 w 163"/>
                <a:gd name="T5" fmla="*/ 60 h 76"/>
                <a:gd name="T6" fmla="*/ 163 w 163"/>
                <a:gd name="T7" fmla="*/ 0 h 76"/>
                <a:gd name="T8" fmla="*/ 0 w 163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" h="76">
                  <a:moveTo>
                    <a:pt x="48" y="76"/>
                  </a:moveTo>
                  <a:cubicBezTo>
                    <a:pt x="122" y="76"/>
                    <a:pt x="122" y="76"/>
                    <a:pt x="122" y="76"/>
                  </a:cubicBezTo>
                  <a:cubicBezTo>
                    <a:pt x="131" y="76"/>
                    <a:pt x="140" y="69"/>
                    <a:pt x="143" y="6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25">
              <a:extLst>
                <a:ext uri="{FF2B5EF4-FFF2-40B4-BE49-F238E27FC236}">
                  <a16:creationId xmlns:a16="http://schemas.microsoft.com/office/drawing/2014/main" id="{CCC01893-0E07-40E8-B5D8-7D46C4EF803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1587" y="5808662"/>
              <a:ext cx="250825" cy="188913"/>
            </a:xfrm>
            <a:custGeom>
              <a:avLst/>
              <a:gdLst>
                <a:gd name="T0" fmla="*/ 0 w 159"/>
                <a:gd name="T1" fmla="*/ 0 h 119"/>
                <a:gd name="T2" fmla="*/ 10 w 159"/>
                <a:gd name="T3" fmla="*/ 0 h 119"/>
                <a:gd name="T4" fmla="*/ 18 w 159"/>
                <a:gd name="T5" fmla="*/ 5 h 119"/>
                <a:gd name="T6" fmla="*/ 55 w 159"/>
                <a:gd name="T7" fmla="*/ 111 h 119"/>
                <a:gd name="T8" fmla="*/ 66 w 159"/>
                <a:gd name="T9" fmla="*/ 119 h 119"/>
                <a:gd name="T10" fmla="*/ 159 w 159"/>
                <a:gd name="T11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9" h="119">
                  <a:moveTo>
                    <a:pt x="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7" y="2"/>
                    <a:pt x="18" y="5"/>
                  </a:cubicBezTo>
                  <a:cubicBezTo>
                    <a:pt x="55" y="111"/>
                    <a:pt x="55" y="111"/>
                    <a:pt x="55" y="111"/>
                  </a:cubicBezTo>
                  <a:cubicBezTo>
                    <a:pt x="56" y="116"/>
                    <a:pt x="61" y="119"/>
                    <a:pt x="66" y="119"/>
                  </a:cubicBezTo>
                  <a:cubicBezTo>
                    <a:pt x="159" y="119"/>
                    <a:pt x="159" y="119"/>
                    <a:pt x="159" y="119"/>
                  </a:cubicBezTo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26">
              <a:extLst>
                <a:ext uri="{FF2B5EF4-FFF2-40B4-BE49-F238E27FC236}">
                  <a16:creationId xmlns:a16="http://schemas.microsoft.com/office/drawing/2014/main" id="{C250A8C0-1378-4D1A-A92D-837D3CA9FDB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8496850" y="6015037"/>
              <a:ext cx="58738" cy="57150"/>
            </a:xfrm>
            <a:custGeom>
              <a:avLst/>
              <a:gdLst>
                <a:gd name="T0" fmla="*/ 19 w 37"/>
                <a:gd name="T1" fmla="*/ 12 h 36"/>
                <a:gd name="T2" fmla="*/ 25 w 37"/>
                <a:gd name="T3" fmla="*/ 18 h 36"/>
                <a:gd name="T4" fmla="*/ 19 w 37"/>
                <a:gd name="T5" fmla="*/ 24 h 36"/>
                <a:gd name="T6" fmla="*/ 12 w 37"/>
                <a:gd name="T7" fmla="*/ 18 h 36"/>
                <a:gd name="T8" fmla="*/ 19 w 37"/>
                <a:gd name="T9" fmla="*/ 12 h 36"/>
                <a:gd name="T10" fmla="*/ 19 w 37"/>
                <a:gd name="T11" fmla="*/ 0 h 36"/>
                <a:gd name="T12" fmla="*/ 0 w 37"/>
                <a:gd name="T13" fmla="*/ 18 h 36"/>
                <a:gd name="T14" fmla="*/ 19 w 37"/>
                <a:gd name="T15" fmla="*/ 36 h 36"/>
                <a:gd name="T16" fmla="*/ 37 w 37"/>
                <a:gd name="T17" fmla="*/ 18 h 36"/>
                <a:gd name="T18" fmla="*/ 19 w 37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6">
                  <a:moveTo>
                    <a:pt x="19" y="12"/>
                  </a:moveTo>
                  <a:cubicBezTo>
                    <a:pt x="22" y="12"/>
                    <a:pt x="25" y="15"/>
                    <a:pt x="25" y="18"/>
                  </a:cubicBezTo>
                  <a:cubicBezTo>
                    <a:pt x="25" y="22"/>
                    <a:pt x="22" y="24"/>
                    <a:pt x="19" y="24"/>
                  </a:cubicBezTo>
                  <a:cubicBezTo>
                    <a:pt x="15" y="24"/>
                    <a:pt x="12" y="22"/>
                    <a:pt x="12" y="18"/>
                  </a:cubicBezTo>
                  <a:cubicBezTo>
                    <a:pt x="12" y="15"/>
                    <a:pt x="15" y="12"/>
                    <a:pt x="19" y="12"/>
                  </a:cubicBezTo>
                  <a:moveTo>
                    <a:pt x="19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9" y="36"/>
                  </a:cubicBezTo>
                  <a:cubicBezTo>
                    <a:pt x="29" y="36"/>
                    <a:pt x="37" y="28"/>
                    <a:pt x="37" y="18"/>
                  </a:cubicBezTo>
                  <a:cubicBezTo>
                    <a:pt x="37" y="8"/>
                    <a:pt x="29" y="0"/>
                    <a:pt x="1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27">
              <a:extLst>
                <a:ext uri="{FF2B5EF4-FFF2-40B4-BE49-F238E27FC236}">
                  <a16:creationId xmlns:a16="http://schemas.microsoft.com/office/drawing/2014/main" id="{B2926AFB-FFE8-43F1-9915-6FC74602DC2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8393662" y="6015037"/>
              <a:ext cx="57150" cy="57150"/>
            </a:xfrm>
            <a:custGeom>
              <a:avLst/>
              <a:gdLst>
                <a:gd name="T0" fmla="*/ 19 w 37"/>
                <a:gd name="T1" fmla="*/ 12 h 36"/>
                <a:gd name="T2" fmla="*/ 25 w 37"/>
                <a:gd name="T3" fmla="*/ 18 h 36"/>
                <a:gd name="T4" fmla="*/ 19 w 37"/>
                <a:gd name="T5" fmla="*/ 24 h 36"/>
                <a:gd name="T6" fmla="*/ 12 w 37"/>
                <a:gd name="T7" fmla="*/ 18 h 36"/>
                <a:gd name="T8" fmla="*/ 19 w 37"/>
                <a:gd name="T9" fmla="*/ 12 h 36"/>
                <a:gd name="T10" fmla="*/ 19 w 37"/>
                <a:gd name="T11" fmla="*/ 0 h 36"/>
                <a:gd name="T12" fmla="*/ 0 w 37"/>
                <a:gd name="T13" fmla="*/ 18 h 36"/>
                <a:gd name="T14" fmla="*/ 19 w 37"/>
                <a:gd name="T15" fmla="*/ 36 h 36"/>
                <a:gd name="T16" fmla="*/ 37 w 37"/>
                <a:gd name="T17" fmla="*/ 18 h 36"/>
                <a:gd name="T18" fmla="*/ 19 w 37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6">
                  <a:moveTo>
                    <a:pt x="19" y="12"/>
                  </a:moveTo>
                  <a:cubicBezTo>
                    <a:pt x="22" y="12"/>
                    <a:pt x="25" y="15"/>
                    <a:pt x="25" y="18"/>
                  </a:cubicBezTo>
                  <a:cubicBezTo>
                    <a:pt x="25" y="22"/>
                    <a:pt x="22" y="24"/>
                    <a:pt x="19" y="24"/>
                  </a:cubicBezTo>
                  <a:cubicBezTo>
                    <a:pt x="15" y="24"/>
                    <a:pt x="12" y="22"/>
                    <a:pt x="12" y="18"/>
                  </a:cubicBezTo>
                  <a:cubicBezTo>
                    <a:pt x="12" y="15"/>
                    <a:pt x="15" y="12"/>
                    <a:pt x="19" y="12"/>
                  </a:cubicBezTo>
                  <a:moveTo>
                    <a:pt x="19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9" y="36"/>
                  </a:cubicBezTo>
                  <a:cubicBezTo>
                    <a:pt x="29" y="36"/>
                    <a:pt x="37" y="28"/>
                    <a:pt x="37" y="18"/>
                  </a:cubicBezTo>
                  <a:cubicBezTo>
                    <a:pt x="37" y="8"/>
                    <a:pt x="29" y="0"/>
                    <a:pt x="1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28">
              <a:extLst>
                <a:ext uri="{FF2B5EF4-FFF2-40B4-BE49-F238E27FC236}">
                  <a16:creationId xmlns:a16="http://schemas.microsoft.com/office/drawing/2014/main" id="{B4DFB56C-AFAC-4819-ACB1-5293E04A4DDB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455450" y="5832475"/>
              <a:ext cx="82550" cy="122238"/>
            </a:xfrm>
            <a:custGeom>
              <a:avLst/>
              <a:gdLst>
                <a:gd name="T0" fmla="*/ 26 w 52"/>
                <a:gd name="T1" fmla="*/ 13 h 77"/>
                <a:gd name="T2" fmla="*/ 39 w 52"/>
                <a:gd name="T3" fmla="*/ 26 h 77"/>
                <a:gd name="T4" fmla="*/ 39 w 52"/>
                <a:gd name="T5" fmla="*/ 51 h 77"/>
                <a:gd name="T6" fmla="*/ 26 w 52"/>
                <a:gd name="T7" fmla="*/ 64 h 77"/>
                <a:gd name="T8" fmla="*/ 13 w 52"/>
                <a:gd name="T9" fmla="*/ 51 h 77"/>
                <a:gd name="T10" fmla="*/ 13 w 52"/>
                <a:gd name="T11" fmla="*/ 26 h 77"/>
                <a:gd name="T12" fmla="*/ 26 w 52"/>
                <a:gd name="T13" fmla="*/ 13 h 77"/>
                <a:gd name="T14" fmla="*/ 26 w 52"/>
                <a:gd name="T15" fmla="*/ 0 h 77"/>
                <a:gd name="T16" fmla="*/ 0 w 52"/>
                <a:gd name="T17" fmla="*/ 26 h 77"/>
                <a:gd name="T18" fmla="*/ 0 w 52"/>
                <a:gd name="T19" fmla="*/ 51 h 77"/>
                <a:gd name="T20" fmla="*/ 26 w 52"/>
                <a:gd name="T21" fmla="*/ 77 h 77"/>
                <a:gd name="T22" fmla="*/ 52 w 52"/>
                <a:gd name="T23" fmla="*/ 51 h 77"/>
                <a:gd name="T24" fmla="*/ 52 w 52"/>
                <a:gd name="T25" fmla="*/ 26 h 77"/>
                <a:gd name="T26" fmla="*/ 26 w 52"/>
                <a:gd name="T2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77">
                  <a:moveTo>
                    <a:pt x="26" y="13"/>
                  </a:moveTo>
                  <a:cubicBezTo>
                    <a:pt x="33" y="13"/>
                    <a:pt x="39" y="19"/>
                    <a:pt x="39" y="26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8"/>
                    <a:pt x="33" y="64"/>
                    <a:pt x="26" y="64"/>
                  </a:cubicBezTo>
                  <a:cubicBezTo>
                    <a:pt x="19" y="64"/>
                    <a:pt x="13" y="58"/>
                    <a:pt x="13" y="51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19"/>
                    <a:pt x="19" y="13"/>
                    <a:pt x="26" y="13"/>
                  </a:cubicBezTo>
                  <a:moveTo>
                    <a:pt x="26" y="0"/>
                  </a:moveTo>
                  <a:cubicBezTo>
                    <a:pt x="11" y="0"/>
                    <a:pt x="0" y="12"/>
                    <a:pt x="0" y="2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65"/>
                    <a:pt x="11" y="77"/>
                    <a:pt x="26" y="77"/>
                  </a:cubicBezTo>
                  <a:cubicBezTo>
                    <a:pt x="40" y="77"/>
                    <a:pt x="52" y="65"/>
                    <a:pt x="52" y="51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29">
              <a:extLst>
                <a:ext uri="{FF2B5EF4-FFF2-40B4-BE49-F238E27FC236}">
                  <a16:creationId xmlns:a16="http://schemas.microsoft.com/office/drawing/2014/main" id="{AC22D0AA-6E4B-4EF9-BD62-0921855C595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360200" y="5984875"/>
              <a:ext cx="82550" cy="119063"/>
            </a:xfrm>
            <a:custGeom>
              <a:avLst/>
              <a:gdLst>
                <a:gd name="T0" fmla="*/ 26 w 52"/>
                <a:gd name="T1" fmla="*/ 13 h 76"/>
                <a:gd name="T2" fmla="*/ 39 w 52"/>
                <a:gd name="T3" fmla="*/ 26 h 76"/>
                <a:gd name="T4" fmla="*/ 39 w 52"/>
                <a:gd name="T5" fmla="*/ 50 h 76"/>
                <a:gd name="T6" fmla="*/ 26 w 52"/>
                <a:gd name="T7" fmla="*/ 63 h 76"/>
                <a:gd name="T8" fmla="*/ 13 w 52"/>
                <a:gd name="T9" fmla="*/ 50 h 76"/>
                <a:gd name="T10" fmla="*/ 13 w 52"/>
                <a:gd name="T11" fmla="*/ 26 h 76"/>
                <a:gd name="T12" fmla="*/ 26 w 52"/>
                <a:gd name="T13" fmla="*/ 13 h 76"/>
                <a:gd name="T14" fmla="*/ 26 w 52"/>
                <a:gd name="T15" fmla="*/ 0 h 76"/>
                <a:gd name="T16" fmla="*/ 0 w 52"/>
                <a:gd name="T17" fmla="*/ 26 h 76"/>
                <a:gd name="T18" fmla="*/ 0 w 52"/>
                <a:gd name="T19" fmla="*/ 50 h 76"/>
                <a:gd name="T20" fmla="*/ 26 w 52"/>
                <a:gd name="T21" fmla="*/ 76 h 76"/>
                <a:gd name="T22" fmla="*/ 52 w 52"/>
                <a:gd name="T23" fmla="*/ 50 h 76"/>
                <a:gd name="T24" fmla="*/ 52 w 52"/>
                <a:gd name="T25" fmla="*/ 26 h 76"/>
                <a:gd name="T26" fmla="*/ 26 w 52"/>
                <a:gd name="T2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76">
                  <a:moveTo>
                    <a:pt x="26" y="13"/>
                  </a:moveTo>
                  <a:cubicBezTo>
                    <a:pt x="33" y="13"/>
                    <a:pt x="39" y="19"/>
                    <a:pt x="39" y="26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7"/>
                    <a:pt x="33" y="63"/>
                    <a:pt x="26" y="63"/>
                  </a:cubicBezTo>
                  <a:cubicBezTo>
                    <a:pt x="19" y="63"/>
                    <a:pt x="13" y="57"/>
                    <a:pt x="13" y="50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19"/>
                    <a:pt x="19" y="13"/>
                    <a:pt x="26" y="13"/>
                  </a:cubicBezTo>
                  <a:moveTo>
                    <a:pt x="26" y="0"/>
                  </a:moveTo>
                  <a:cubicBezTo>
                    <a:pt x="11" y="0"/>
                    <a:pt x="0" y="11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65"/>
                    <a:pt x="11" y="76"/>
                    <a:pt x="26" y="76"/>
                  </a:cubicBezTo>
                  <a:cubicBezTo>
                    <a:pt x="40" y="76"/>
                    <a:pt x="52" y="65"/>
                    <a:pt x="52" y="50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11"/>
                    <a:pt x="40" y="0"/>
                    <a:pt x="2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30">
              <a:extLst>
                <a:ext uri="{FF2B5EF4-FFF2-40B4-BE49-F238E27FC236}">
                  <a16:creationId xmlns:a16="http://schemas.microsoft.com/office/drawing/2014/main" id="{2238DD69-0B6F-4BC5-918F-522D79C3E18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739612" y="5984875"/>
              <a:ext cx="82550" cy="119063"/>
            </a:xfrm>
            <a:custGeom>
              <a:avLst/>
              <a:gdLst>
                <a:gd name="T0" fmla="*/ 26 w 52"/>
                <a:gd name="T1" fmla="*/ 13 h 76"/>
                <a:gd name="T2" fmla="*/ 39 w 52"/>
                <a:gd name="T3" fmla="*/ 26 h 76"/>
                <a:gd name="T4" fmla="*/ 39 w 52"/>
                <a:gd name="T5" fmla="*/ 50 h 76"/>
                <a:gd name="T6" fmla="*/ 26 w 52"/>
                <a:gd name="T7" fmla="*/ 63 h 76"/>
                <a:gd name="T8" fmla="*/ 13 w 52"/>
                <a:gd name="T9" fmla="*/ 50 h 76"/>
                <a:gd name="T10" fmla="*/ 13 w 52"/>
                <a:gd name="T11" fmla="*/ 26 h 76"/>
                <a:gd name="T12" fmla="*/ 26 w 52"/>
                <a:gd name="T13" fmla="*/ 13 h 76"/>
                <a:gd name="T14" fmla="*/ 26 w 52"/>
                <a:gd name="T15" fmla="*/ 0 h 76"/>
                <a:gd name="T16" fmla="*/ 0 w 52"/>
                <a:gd name="T17" fmla="*/ 26 h 76"/>
                <a:gd name="T18" fmla="*/ 0 w 52"/>
                <a:gd name="T19" fmla="*/ 50 h 76"/>
                <a:gd name="T20" fmla="*/ 26 w 52"/>
                <a:gd name="T21" fmla="*/ 76 h 76"/>
                <a:gd name="T22" fmla="*/ 52 w 52"/>
                <a:gd name="T23" fmla="*/ 50 h 76"/>
                <a:gd name="T24" fmla="*/ 52 w 52"/>
                <a:gd name="T25" fmla="*/ 26 h 76"/>
                <a:gd name="T26" fmla="*/ 26 w 52"/>
                <a:gd name="T2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76">
                  <a:moveTo>
                    <a:pt x="26" y="13"/>
                  </a:moveTo>
                  <a:cubicBezTo>
                    <a:pt x="33" y="13"/>
                    <a:pt x="39" y="19"/>
                    <a:pt x="39" y="26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7"/>
                    <a:pt x="33" y="63"/>
                    <a:pt x="26" y="63"/>
                  </a:cubicBezTo>
                  <a:cubicBezTo>
                    <a:pt x="19" y="63"/>
                    <a:pt x="13" y="57"/>
                    <a:pt x="13" y="50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19"/>
                    <a:pt x="19" y="13"/>
                    <a:pt x="26" y="13"/>
                  </a:cubicBezTo>
                  <a:moveTo>
                    <a:pt x="26" y="0"/>
                  </a:moveTo>
                  <a:cubicBezTo>
                    <a:pt x="11" y="0"/>
                    <a:pt x="0" y="11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65"/>
                    <a:pt x="11" y="76"/>
                    <a:pt x="26" y="76"/>
                  </a:cubicBezTo>
                  <a:cubicBezTo>
                    <a:pt x="40" y="76"/>
                    <a:pt x="52" y="65"/>
                    <a:pt x="52" y="50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11"/>
                    <a:pt x="40" y="0"/>
                    <a:pt x="2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31">
              <a:extLst>
                <a:ext uri="{FF2B5EF4-FFF2-40B4-BE49-F238E27FC236}">
                  <a16:creationId xmlns:a16="http://schemas.microsoft.com/office/drawing/2014/main" id="{53E3A8B4-4D0A-40B3-8D66-CECF8FD1195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455450" y="6127750"/>
              <a:ext cx="82550" cy="122238"/>
            </a:xfrm>
            <a:custGeom>
              <a:avLst/>
              <a:gdLst>
                <a:gd name="T0" fmla="*/ 26 w 52"/>
                <a:gd name="T1" fmla="*/ 14 h 77"/>
                <a:gd name="T2" fmla="*/ 39 w 52"/>
                <a:gd name="T3" fmla="*/ 27 h 77"/>
                <a:gd name="T4" fmla="*/ 39 w 52"/>
                <a:gd name="T5" fmla="*/ 51 h 77"/>
                <a:gd name="T6" fmla="*/ 26 w 52"/>
                <a:gd name="T7" fmla="*/ 64 h 77"/>
                <a:gd name="T8" fmla="*/ 13 w 52"/>
                <a:gd name="T9" fmla="*/ 51 h 77"/>
                <a:gd name="T10" fmla="*/ 13 w 52"/>
                <a:gd name="T11" fmla="*/ 27 h 77"/>
                <a:gd name="T12" fmla="*/ 26 w 52"/>
                <a:gd name="T13" fmla="*/ 14 h 77"/>
                <a:gd name="T14" fmla="*/ 26 w 52"/>
                <a:gd name="T15" fmla="*/ 0 h 77"/>
                <a:gd name="T16" fmla="*/ 0 w 52"/>
                <a:gd name="T17" fmla="*/ 27 h 77"/>
                <a:gd name="T18" fmla="*/ 0 w 52"/>
                <a:gd name="T19" fmla="*/ 51 h 77"/>
                <a:gd name="T20" fmla="*/ 26 w 52"/>
                <a:gd name="T21" fmla="*/ 77 h 77"/>
                <a:gd name="T22" fmla="*/ 52 w 52"/>
                <a:gd name="T23" fmla="*/ 51 h 77"/>
                <a:gd name="T24" fmla="*/ 52 w 52"/>
                <a:gd name="T25" fmla="*/ 27 h 77"/>
                <a:gd name="T26" fmla="*/ 26 w 52"/>
                <a:gd name="T2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77">
                  <a:moveTo>
                    <a:pt x="26" y="14"/>
                  </a:moveTo>
                  <a:cubicBezTo>
                    <a:pt x="33" y="14"/>
                    <a:pt x="39" y="20"/>
                    <a:pt x="39" y="27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8"/>
                    <a:pt x="33" y="64"/>
                    <a:pt x="26" y="64"/>
                  </a:cubicBezTo>
                  <a:cubicBezTo>
                    <a:pt x="19" y="64"/>
                    <a:pt x="13" y="58"/>
                    <a:pt x="13" y="51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0"/>
                    <a:pt x="19" y="14"/>
                    <a:pt x="26" y="14"/>
                  </a:cubicBezTo>
                  <a:moveTo>
                    <a:pt x="26" y="0"/>
                  </a:moveTo>
                  <a:cubicBezTo>
                    <a:pt x="11" y="0"/>
                    <a:pt x="0" y="12"/>
                    <a:pt x="0" y="2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66"/>
                    <a:pt x="11" y="77"/>
                    <a:pt x="26" y="77"/>
                  </a:cubicBezTo>
                  <a:cubicBezTo>
                    <a:pt x="40" y="77"/>
                    <a:pt x="52" y="66"/>
                    <a:pt x="52" y="51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12"/>
                    <a:pt x="40" y="0"/>
                    <a:pt x="2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32">
              <a:extLst>
                <a:ext uri="{FF2B5EF4-FFF2-40B4-BE49-F238E27FC236}">
                  <a16:creationId xmlns:a16="http://schemas.microsoft.com/office/drawing/2014/main" id="{A8579ACC-BEC6-471A-BA6C-76D89A3DF23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644362" y="5832475"/>
              <a:ext cx="82550" cy="122238"/>
            </a:xfrm>
            <a:custGeom>
              <a:avLst/>
              <a:gdLst>
                <a:gd name="T0" fmla="*/ 26 w 52"/>
                <a:gd name="T1" fmla="*/ 13 h 77"/>
                <a:gd name="T2" fmla="*/ 39 w 52"/>
                <a:gd name="T3" fmla="*/ 26 h 77"/>
                <a:gd name="T4" fmla="*/ 39 w 52"/>
                <a:gd name="T5" fmla="*/ 51 h 77"/>
                <a:gd name="T6" fmla="*/ 26 w 52"/>
                <a:gd name="T7" fmla="*/ 64 h 77"/>
                <a:gd name="T8" fmla="*/ 13 w 52"/>
                <a:gd name="T9" fmla="*/ 51 h 77"/>
                <a:gd name="T10" fmla="*/ 13 w 52"/>
                <a:gd name="T11" fmla="*/ 26 h 77"/>
                <a:gd name="T12" fmla="*/ 26 w 52"/>
                <a:gd name="T13" fmla="*/ 13 h 77"/>
                <a:gd name="T14" fmla="*/ 26 w 52"/>
                <a:gd name="T15" fmla="*/ 0 h 77"/>
                <a:gd name="T16" fmla="*/ 0 w 52"/>
                <a:gd name="T17" fmla="*/ 26 h 77"/>
                <a:gd name="T18" fmla="*/ 0 w 52"/>
                <a:gd name="T19" fmla="*/ 51 h 77"/>
                <a:gd name="T20" fmla="*/ 26 w 52"/>
                <a:gd name="T21" fmla="*/ 77 h 77"/>
                <a:gd name="T22" fmla="*/ 52 w 52"/>
                <a:gd name="T23" fmla="*/ 51 h 77"/>
                <a:gd name="T24" fmla="*/ 52 w 52"/>
                <a:gd name="T25" fmla="*/ 26 h 77"/>
                <a:gd name="T26" fmla="*/ 26 w 52"/>
                <a:gd name="T2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77">
                  <a:moveTo>
                    <a:pt x="26" y="13"/>
                  </a:moveTo>
                  <a:cubicBezTo>
                    <a:pt x="33" y="13"/>
                    <a:pt x="39" y="19"/>
                    <a:pt x="39" y="26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8"/>
                    <a:pt x="33" y="64"/>
                    <a:pt x="26" y="64"/>
                  </a:cubicBezTo>
                  <a:cubicBezTo>
                    <a:pt x="19" y="64"/>
                    <a:pt x="13" y="58"/>
                    <a:pt x="13" y="51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19"/>
                    <a:pt x="19" y="13"/>
                    <a:pt x="26" y="13"/>
                  </a:cubicBezTo>
                  <a:moveTo>
                    <a:pt x="26" y="0"/>
                  </a:moveTo>
                  <a:cubicBezTo>
                    <a:pt x="11" y="0"/>
                    <a:pt x="0" y="12"/>
                    <a:pt x="0" y="2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65"/>
                    <a:pt x="11" y="77"/>
                    <a:pt x="26" y="77"/>
                  </a:cubicBezTo>
                  <a:cubicBezTo>
                    <a:pt x="40" y="77"/>
                    <a:pt x="52" y="65"/>
                    <a:pt x="52" y="51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33">
              <a:extLst>
                <a:ext uri="{FF2B5EF4-FFF2-40B4-BE49-F238E27FC236}">
                  <a16:creationId xmlns:a16="http://schemas.microsoft.com/office/drawing/2014/main" id="{04DE9DF6-1BED-43AF-8ABB-4F9DB0C425B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644362" y="6127750"/>
              <a:ext cx="82550" cy="122238"/>
            </a:xfrm>
            <a:custGeom>
              <a:avLst/>
              <a:gdLst>
                <a:gd name="T0" fmla="*/ 26 w 52"/>
                <a:gd name="T1" fmla="*/ 14 h 77"/>
                <a:gd name="T2" fmla="*/ 39 w 52"/>
                <a:gd name="T3" fmla="*/ 27 h 77"/>
                <a:gd name="T4" fmla="*/ 39 w 52"/>
                <a:gd name="T5" fmla="*/ 51 h 77"/>
                <a:gd name="T6" fmla="*/ 26 w 52"/>
                <a:gd name="T7" fmla="*/ 64 h 77"/>
                <a:gd name="T8" fmla="*/ 13 w 52"/>
                <a:gd name="T9" fmla="*/ 51 h 77"/>
                <a:gd name="T10" fmla="*/ 13 w 52"/>
                <a:gd name="T11" fmla="*/ 27 h 77"/>
                <a:gd name="T12" fmla="*/ 26 w 52"/>
                <a:gd name="T13" fmla="*/ 14 h 77"/>
                <a:gd name="T14" fmla="*/ 26 w 52"/>
                <a:gd name="T15" fmla="*/ 0 h 77"/>
                <a:gd name="T16" fmla="*/ 0 w 52"/>
                <a:gd name="T17" fmla="*/ 27 h 77"/>
                <a:gd name="T18" fmla="*/ 0 w 52"/>
                <a:gd name="T19" fmla="*/ 51 h 77"/>
                <a:gd name="T20" fmla="*/ 26 w 52"/>
                <a:gd name="T21" fmla="*/ 77 h 77"/>
                <a:gd name="T22" fmla="*/ 52 w 52"/>
                <a:gd name="T23" fmla="*/ 51 h 77"/>
                <a:gd name="T24" fmla="*/ 52 w 52"/>
                <a:gd name="T25" fmla="*/ 27 h 77"/>
                <a:gd name="T26" fmla="*/ 26 w 52"/>
                <a:gd name="T2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77">
                  <a:moveTo>
                    <a:pt x="26" y="14"/>
                  </a:moveTo>
                  <a:cubicBezTo>
                    <a:pt x="33" y="14"/>
                    <a:pt x="39" y="20"/>
                    <a:pt x="39" y="27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8"/>
                    <a:pt x="33" y="64"/>
                    <a:pt x="26" y="64"/>
                  </a:cubicBezTo>
                  <a:cubicBezTo>
                    <a:pt x="19" y="64"/>
                    <a:pt x="13" y="58"/>
                    <a:pt x="13" y="51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0"/>
                    <a:pt x="19" y="14"/>
                    <a:pt x="26" y="14"/>
                  </a:cubicBezTo>
                  <a:moveTo>
                    <a:pt x="26" y="0"/>
                  </a:moveTo>
                  <a:cubicBezTo>
                    <a:pt x="11" y="0"/>
                    <a:pt x="0" y="12"/>
                    <a:pt x="0" y="2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66"/>
                    <a:pt x="11" y="77"/>
                    <a:pt x="26" y="77"/>
                  </a:cubicBezTo>
                  <a:cubicBezTo>
                    <a:pt x="40" y="77"/>
                    <a:pt x="52" y="66"/>
                    <a:pt x="52" y="51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12"/>
                    <a:pt x="40" y="0"/>
                    <a:pt x="2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Rectangle 134">
              <a:extLst>
                <a:ext uri="{FF2B5EF4-FFF2-40B4-BE49-F238E27FC236}">
                  <a16:creationId xmlns:a16="http://schemas.microsoft.com/office/drawing/2014/main" id="{5B46F8DB-DEAE-4B19-89B0-8CCC0CB8B77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485612" y="5984875"/>
              <a:ext cx="20638" cy="1190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Rectangle 135">
              <a:extLst>
                <a:ext uri="{FF2B5EF4-FFF2-40B4-BE49-F238E27FC236}">
                  <a16:creationId xmlns:a16="http://schemas.microsoft.com/office/drawing/2014/main" id="{8E48C55C-4D32-4D8C-B8EC-84D1478D9A6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579275" y="5832475"/>
              <a:ext cx="22225" cy="1222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136">
              <a:extLst>
                <a:ext uri="{FF2B5EF4-FFF2-40B4-BE49-F238E27FC236}">
                  <a16:creationId xmlns:a16="http://schemas.microsoft.com/office/drawing/2014/main" id="{CE421BF0-2151-4838-9B6F-4BEE63F62E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674525" y="5984875"/>
              <a:ext cx="22225" cy="1190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Rectangle 137">
              <a:extLst>
                <a:ext uri="{FF2B5EF4-FFF2-40B4-BE49-F238E27FC236}">
                  <a16:creationId xmlns:a16="http://schemas.microsoft.com/office/drawing/2014/main" id="{68092643-1C1B-4027-9880-A9783799B5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579275" y="6127750"/>
              <a:ext cx="22225" cy="1222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38">
              <a:extLst>
                <a:ext uri="{FF2B5EF4-FFF2-40B4-BE49-F238E27FC236}">
                  <a16:creationId xmlns:a16="http://schemas.microsoft.com/office/drawing/2014/main" id="{638B5222-DAFF-4612-87B7-AF1B89B1C6D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549112" y="5984875"/>
              <a:ext cx="82550" cy="119063"/>
            </a:xfrm>
            <a:custGeom>
              <a:avLst/>
              <a:gdLst>
                <a:gd name="T0" fmla="*/ 26 w 52"/>
                <a:gd name="T1" fmla="*/ 13 h 76"/>
                <a:gd name="T2" fmla="*/ 39 w 52"/>
                <a:gd name="T3" fmla="*/ 26 h 76"/>
                <a:gd name="T4" fmla="*/ 39 w 52"/>
                <a:gd name="T5" fmla="*/ 50 h 76"/>
                <a:gd name="T6" fmla="*/ 26 w 52"/>
                <a:gd name="T7" fmla="*/ 63 h 76"/>
                <a:gd name="T8" fmla="*/ 13 w 52"/>
                <a:gd name="T9" fmla="*/ 50 h 76"/>
                <a:gd name="T10" fmla="*/ 13 w 52"/>
                <a:gd name="T11" fmla="*/ 26 h 76"/>
                <a:gd name="T12" fmla="*/ 26 w 52"/>
                <a:gd name="T13" fmla="*/ 13 h 76"/>
                <a:gd name="T14" fmla="*/ 26 w 52"/>
                <a:gd name="T15" fmla="*/ 0 h 76"/>
                <a:gd name="T16" fmla="*/ 0 w 52"/>
                <a:gd name="T17" fmla="*/ 26 h 76"/>
                <a:gd name="T18" fmla="*/ 0 w 52"/>
                <a:gd name="T19" fmla="*/ 50 h 76"/>
                <a:gd name="T20" fmla="*/ 26 w 52"/>
                <a:gd name="T21" fmla="*/ 76 h 76"/>
                <a:gd name="T22" fmla="*/ 52 w 52"/>
                <a:gd name="T23" fmla="*/ 50 h 76"/>
                <a:gd name="T24" fmla="*/ 52 w 52"/>
                <a:gd name="T25" fmla="*/ 26 h 76"/>
                <a:gd name="T26" fmla="*/ 26 w 52"/>
                <a:gd name="T2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76">
                  <a:moveTo>
                    <a:pt x="26" y="13"/>
                  </a:moveTo>
                  <a:cubicBezTo>
                    <a:pt x="33" y="13"/>
                    <a:pt x="39" y="19"/>
                    <a:pt x="39" y="26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7"/>
                    <a:pt x="33" y="63"/>
                    <a:pt x="26" y="63"/>
                  </a:cubicBezTo>
                  <a:cubicBezTo>
                    <a:pt x="19" y="63"/>
                    <a:pt x="13" y="57"/>
                    <a:pt x="13" y="50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19"/>
                    <a:pt x="19" y="13"/>
                    <a:pt x="26" y="13"/>
                  </a:cubicBezTo>
                  <a:moveTo>
                    <a:pt x="26" y="0"/>
                  </a:moveTo>
                  <a:cubicBezTo>
                    <a:pt x="11" y="0"/>
                    <a:pt x="0" y="11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65"/>
                    <a:pt x="11" y="76"/>
                    <a:pt x="26" y="76"/>
                  </a:cubicBezTo>
                  <a:cubicBezTo>
                    <a:pt x="40" y="76"/>
                    <a:pt x="52" y="65"/>
                    <a:pt x="52" y="50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11"/>
                    <a:pt x="40" y="0"/>
                    <a:pt x="2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139">
              <a:extLst>
                <a:ext uri="{FF2B5EF4-FFF2-40B4-BE49-F238E27FC236}">
                  <a16:creationId xmlns:a16="http://schemas.microsoft.com/office/drawing/2014/main" id="{62D899C5-D48E-49FA-9F8F-7418C324E43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99987" y="4545012"/>
              <a:ext cx="250825" cy="396875"/>
            </a:xfrm>
            <a:custGeom>
              <a:avLst/>
              <a:gdLst>
                <a:gd name="T0" fmla="*/ 10 w 158"/>
                <a:gd name="T1" fmla="*/ 250 h 250"/>
                <a:gd name="T2" fmla="*/ 0 w 158"/>
                <a:gd name="T3" fmla="*/ 244 h 250"/>
                <a:gd name="T4" fmla="*/ 147 w 158"/>
                <a:gd name="T5" fmla="*/ 0 h 250"/>
                <a:gd name="T6" fmla="*/ 158 w 158"/>
                <a:gd name="T7" fmla="*/ 6 h 250"/>
                <a:gd name="T8" fmla="*/ 10 w 158"/>
                <a:gd name="T9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250">
                  <a:moveTo>
                    <a:pt x="10" y="250"/>
                  </a:moveTo>
                  <a:lnTo>
                    <a:pt x="0" y="244"/>
                  </a:lnTo>
                  <a:lnTo>
                    <a:pt x="147" y="0"/>
                  </a:lnTo>
                  <a:lnTo>
                    <a:pt x="158" y="6"/>
                  </a:lnTo>
                  <a:lnTo>
                    <a:pt x="10" y="25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Freeform 141">
              <a:extLst>
                <a:ext uri="{FF2B5EF4-FFF2-40B4-BE49-F238E27FC236}">
                  <a16:creationId xmlns:a16="http://schemas.microsoft.com/office/drawing/2014/main" id="{0D068843-9CC2-46DB-9BA2-4B26C4C1AD5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644612" y="4376737"/>
              <a:ext cx="473075" cy="214313"/>
            </a:xfrm>
            <a:custGeom>
              <a:avLst/>
              <a:gdLst>
                <a:gd name="T0" fmla="*/ 5 w 300"/>
                <a:gd name="T1" fmla="*/ 28 h 136"/>
                <a:gd name="T2" fmla="*/ 45 w 300"/>
                <a:gd name="T3" fmla="*/ 3 h 136"/>
                <a:gd name="T4" fmla="*/ 206 w 300"/>
                <a:gd name="T5" fmla="*/ 31 h 136"/>
                <a:gd name="T6" fmla="*/ 206 w 300"/>
                <a:gd name="T7" fmla="*/ 31 h 136"/>
                <a:gd name="T8" fmla="*/ 241 w 300"/>
                <a:gd name="T9" fmla="*/ 43 h 136"/>
                <a:gd name="T10" fmla="*/ 300 w 300"/>
                <a:gd name="T11" fmla="*/ 75 h 136"/>
                <a:gd name="T12" fmla="*/ 138 w 300"/>
                <a:gd name="T13" fmla="*/ 136 h 136"/>
                <a:gd name="T14" fmla="*/ 66 w 300"/>
                <a:gd name="T15" fmla="*/ 129 h 136"/>
                <a:gd name="T16" fmla="*/ 93 w 300"/>
                <a:gd name="T17" fmla="*/ 92 h 136"/>
                <a:gd name="T18" fmla="*/ 26 w 300"/>
                <a:gd name="T19" fmla="*/ 70 h 136"/>
                <a:gd name="T20" fmla="*/ 5 w 300"/>
                <a:gd name="T2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0" h="136">
                  <a:moveTo>
                    <a:pt x="5" y="28"/>
                  </a:moveTo>
                  <a:cubicBezTo>
                    <a:pt x="9" y="11"/>
                    <a:pt x="27" y="0"/>
                    <a:pt x="45" y="3"/>
                  </a:cubicBezTo>
                  <a:cubicBezTo>
                    <a:pt x="206" y="31"/>
                    <a:pt x="206" y="31"/>
                    <a:pt x="206" y="31"/>
                  </a:cubicBezTo>
                  <a:cubicBezTo>
                    <a:pt x="206" y="31"/>
                    <a:pt x="206" y="31"/>
                    <a:pt x="206" y="31"/>
                  </a:cubicBezTo>
                  <a:cubicBezTo>
                    <a:pt x="218" y="33"/>
                    <a:pt x="230" y="37"/>
                    <a:pt x="241" y="43"/>
                  </a:cubicBezTo>
                  <a:cubicBezTo>
                    <a:pt x="300" y="75"/>
                    <a:pt x="300" y="75"/>
                    <a:pt x="300" y="75"/>
                  </a:cubicBezTo>
                  <a:cubicBezTo>
                    <a:pt x="138" y="136"/>
                    <a:pt x="138" y="136"/>
                    <a:pt x="138" y="136"/>
                  </a:cubicBezTo>
                  <a:cubicBezTo>
                    <a:pt x="66" y="129"/>
                    <a:pt x="66" y="129"/>
                    <a:pt x="66" y="129"/>
                  </a:cubicBezTo>
                  <a:cubicBezTo>
                    <a:pt x="93" y="92"/>
                    <a:pt x="93" y="92"/>
                    <a:pt x="93" y="92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9" y="63"/>
                    <a:pt x="0" y="46"/>
                    <a:pt x="5" y="28"/>
                  </a:cubicBezTo>
                  <a:close/>
                </a:path>
              </a:pathLst>
            </a:custGeom>
            <a:solidFill>
              <a:srgbClr val="E3C6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Freeform 142">
              <a:extLst>
                <a:ext uri="{FF2B5EF4-FFF2-40B4-BE49-F238E27FC236}">
                  <a16:creationId xmlns:a16="http://schemas.microsoft.com/office/drawing/2014/main" id="{C1AB2A24-AB28-4658-A5CA-36EEBC4E306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119150" y="4308475"/>
              <a:ext cx="379413" cy="417513"/>
            </a:xfrm>
            <a:custGeom>
              <a:avLst/>
              <a:gdLst>
                <a:gd name="T0" fmla="*/ 8 w 240"/>
                <a:gd name="T1" fmla="*/ 1 h 265"/>
                <a:gd name="T2" fmla="*/ 0 w 240"/>
                <a:gd name="T3" fmla="*/ 1 h 265"/>
                <a:gd name="T4" fmla="*/ 13 w 240"/>
                <a:gd name="T5" fmla="*/ 124 h 265"/>
                <a:gd name="T6" fmla="*/ 22 w 240"/>
                <a:gd name="T7" fmla="*/ 140 h 265"/>
                <a:gd name="T8" fmla="*/ 147 w 240"/>
                <a:gd name="T9" fmla="*/ 257 h 265"/>
                <a:gd name="T10" fmla="*/ 168 w 240"/>
                <a:gd name="T11" fmla="*/ 265 h 265"/>
                <a:gd name="T12" fmla="*/ 233 w 240"/>
                <a:gd name="T13" fmla="*/ 260 h 265"/>
                <a:gd name="T14" fmla="*/ 240 w 240"/>
                <a:gd name="T15" fmla="*/ 184 h 265"/>
                <a:gd name="T16" fmla="*/ 92 w 240"/>
                <a:gd name="T17" fmla="*/ 105 h 265"/>
                <a:gd name="T18" fmla="*/ 86 w 240"/>
                <a:gd name="T19" fmla="*/ 68 h 265"/>
                <a:gd name="T20" fmla="*/ 8 w 240"/>
                <a:gd name="T21" fmla="*/ 1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" h="265">
                  <a:moveTo>
                    <a:pt x="8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0"/>
                    <a:pt x="17" y="136"/>
                    <a:pt x="22" y="140"/>
                  </a:cubicBezTo>
                  <a:cubicBezTo>
                    <a:pt x="147" y="257"/>
                    <a:pt x="147" y="257"/>
                    <a:pt x="147" y="257"/>
                  </a:cubicBezTo>
                  <a:cubicBezTo>
                    <a:pt x="153" y="263"/>
                    <a:pt x="160" y="265"/>
                    <a:pt x="168" y="265"/>
                  </a:cubicBezTo>
                  <a:cubicBezTo>
                    <a:pt x="233" y="260"/>
                    <a:pt x="233" y="260"/>
                    <a:pt x="233" y="260"/>
                  </a:cubicBezTo>
                  <a:cubicBezTo>
                    <a:pt x="240" y="184"/>
                    <a:pt x="240" y="184"/>
                    <a:pt x="240" y="184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1" y="29"/>
                    <a:pt x="47" y="0"/>
                    <a:pt x="8" y="1"/>
                  </a:cubicBezTo>
                  <a:close/>
                </a:path>
              </a:pathLst>
            </a:custGeom>
            <a:solidFill>
              <a:srgbClr val="E3C6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Freeform 143">
              <a:extLst>
                <a:ext uri="{FF2B5EF4-FFF2-40B4-BE49-F238E27FC236}">
                  <a16:creationId xmlns:a16="http://schemas.microsoft.com/office/drawing/2014/main" id="{F2375496-EA67-41E5-B56E-825D8C9B47F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316000" y="4332287"/>
              <a:ext cx="1308100" cy="638175"/>
            </a:xfrm>
            <a:custGeom>
              <a:avLst/>
              <a:gdLst>
                <a:gd name="T0" fmla="*/ 573 w 829"/>
                <a:gd name="T1" fmla="*/ 405 h 405"/>
                <a:gd name="T2" fmla="*/ 552 w 829"/>
                <a:gd name="T3" fmla="*/ 362 h 405"/>
                <a:gd name="T4" fmla="*/ 501 w 829"/>
                <a:gd name="T5" fmla="*/ 325 h 405"/>
                <a:gd name="T6" fmla="*/ 146 w 829"/>
                <a:gd name="T7" fmla="*/ 283 h 405"/>
                <a:gd name="T8" fmla="*/ 130 w 829"/>
                <a:gd name="T9" fmla="*/ 276 h 405"/>
                <a:gd name="T10" fmla="*/ 14 w 829"/>
                <a:gd name="T11" fmla="*/ 177 h 405"/>
                <a:gd name="T12" fmla="*/ 4 w 829"/>
                <a:gd name="T13" fmla="*/ 158 h 405"/>
                <a:gd name="T14" fmla="*/ 0 w 829"/>
                <a:gd name="T15" fmla="*/ 0 h 405"/>
                <a:gd name="T16" fmla="*/ 11 w 829"/>
                <a:gd name="T17" fmla="*/ 1 h 405"/>
                <a:gd name="T18" fmla="*/ 82 w 829"/>
                <a:gd name="T19" fmla="*/ 66 h 405"/>
                <a:gd name="T20" fmla="*/ 92 w 829"/>
                <a:gd name="T21" fmla="*/ 132 h 405"/>
                <a:gd name="T22" fmla="*/ 92 w 829"/>
                <a:gd name="T23" fmla="*/ 132 h 405"/>
                <a:gd name="T24" fmla="*/ 195 w 829"/>
                <a:gd name="T25" fmla="*/ 168 h 405"/>
                <a:gd name="T26" fmla="*/ 201 w 829"/>
                <a:gd name="T27" fmla="*/ 173 h 405"/>
                <a:gd name="T28" fmla="*/ 501 w 829"/>
                <a:gd name="T29" fmla="*/ 105 h 405"/>
                <a:gd name="T30" fmla="*/ 709 w 829"/>
                <a:gd name="T31" fmla="*/ 169 h 405"/>
                <a:gd name="T32" fmla="*/ 829 w 829"/>
                <a:gd name="T33" fmla="*/ 300 h 405"/>
                <a:gd name="T34" fmla="*/ 708 w 829"/>
                <a:gd name="T35" fmla="*/ 402 h 405"/>
                <a:gd name="T36" fmla="*/ 573 w 829"/>
                <a:gd name="T37" fmla="*/ 40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9" h="405">
                  <a:moveTo>
                    <a:pt x="573" y="405"/>
                  </a:moveTo>
                  <a:cubicBezTo>
                    <a:pt x="552" y="362"/>
                    <a:pt x="552" y="362"/>
                    <a:pt x="552" y="362"/>
                  </a:cubicBezTo>
                  <a:cubicBezTo>
                    <a:pt x="542" y="342"/>
                    <a:pt x="523" y="328"/>
                    <a:pt x="501" y="325"/>
                  </a:cubicBezTo>
                  <a:cubicBezTo>
                    <a:pt x="146" y="283"/>
                    <a:pt x="146" y="283"/>
                    <a:pt x="146" y="283"/>
                  </a:cubicBezTo>
                  <a:cubicBezTo>
                    <a:pt x="140" y="282"/>
                    <a:pt x="135" y="280"/>
                    <a:pt x="130" y="276"/>
                  </a:cubicBezTo>
                  <a:cubicBezTo>
                    <a:pt x="14" y="177"/>
                    <a:pt x="14" y="177"/>
                    <a:pt x="14" y="177"/>
                  </a:cubicBezTo>
                  <a:cubicBezTo>
                    <a:pt x="8" y="172"/>
                    <a:pt x="5" y="165"/>
                    <a:pt x="4" y="15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47" y="3"/>
                    <a:pt x="76" y="30"/>
                    <a:pt x="82" y="66"/>
                  </a:cubicBezTo>
                  <a:cubicBezTo>
                    <a:pt x="92" y="132"/>
                    <a:pt x="92" y="132"/>
                    <a:pt x="92" y="132"/>
                  </a:cubicBezTo>
                  <a:cubicBezTo>
                    <a:pt x="92" y="132"/>
                    <a:pt x="92" y="132"/>
                    <a:pt x="92" y="132"/>
                  </a:cubicBezTo>
                  <a:cubicBezTo>
                    <a:pt x="129" y="133"/>
                    <a:pt x="165" y="146"/>
                    <a:pt x="195" y="168"/>
                  </a:cubicBezTo>
                  <a:cubicBezTo>
                    <a:pt x="201" y="173"/>
                    <a:pt x="201" y="173"/>
                    <a:pt x="201" y="173"/>
                  </a:cubicBezTo>
                  <a:cubicBezTo>
                    <a:pt x="501" y="105"/>
                    <a:pt x="501" y="105"/>
                    <a:pt x="501" y="105"/>
                  </a:cubicBezTo>
                  <a:cubicBezTo>
                    <a:pt x="577" y="87"/>
                    <a:pt x="656" y="112"/>
                    <a:pt x="709" y="169"/>
                  </a:cubicBezTo>
                  <a:cubicBezTo>
                    <a:pt x="829" y="300"/>
                    <a:pt x="829" y="300"/>
                    <a:pt x="829" y="300"/>
                  </a:cubicBezTo>
                  <a:cubicBezTo>
                    <a:pt x="708" y="402"/>
                    <a:pt x="708" y="402"/>
                    <a:pt x="708" y="402"/>
                  </a:cubicBezTo>
                  <a:lnTo>
                    <a:pt x="573" y="405"/>
                  </a:lnTo>
                  <a:close/>
                </a:path>
              </a:pathLst>
            </a:custGeom>
            <a:solidFill>
              <a:srgbClr val="F8D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Freeform 144">
              <a:extLst>
                <a:ext uri="{FF2B5EF4-FFF2-40B4-BE49-F238E27FC236}">
                  <a16:creationId xmlns:a16="http://schemas.microsoft.com/office/drawing/2014/main" id="{C1D71953-1DD7-47EF-B12D-1900C7D3836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90712" y="4795837"/>
              <a:ext cx="568325" cy="412750"/>
            </a:xfrm>
            <a:custGeom>
              <a:avLst/>
              <a:gdLst>
                <a:gd name="T0" fmla="*/ 291 w 360"/>
                <a:gd name="T1" fmla="*/ 0 h 261"/>
                <a:gd name="T2" fmla="*/ 0 w 360"/>
                <a:gd name="T3" fmla="*/ 107 h 261"/>
                <a:gd name="T4" fmla="*/ 85 w 360"/>
                <a:gd name="T5" fmla="*/ 261 h 261"/>
                <a:gd name="T6" fmla="*/ 360 w 360"/>
                <a:gd name="T7" fmla="*/ 93 h 261"/>
                <a:gd name="T8" fmla="*/ 291 w 360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0" h="261">
                  <a:moveTo>
                    <a:pt x="291" y="0"/>
                  </a:moveTo>
                  <a:cubicBezTo>
                    <a:pt x="0" y="107"/>
                    <a:pt x="0" y="107"/>
                    <a:pt x="0" y="107"/>
                  </a:cubicBezTo>
                  <a:cubicBezTo>
                    <a:pt x="85" y="261"/>
                    <a:pt x="85" y="261"/>
                    <a:pt x="85" y="261"/>
                  </a:cubicBezTo>
                  <a:cubicBezTo>
                    <a:pt x="186" y="220"/>
                    <a:pt x="279" y="163"/>
                    <a:pt x="360" y="93"/>
                  </a:cubicBezTo>
                  <a:lnTo>
                    <a:pt x="291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Freeform 145">
              <a:extLst>
                <a:ext uri="{FF2B5EF4-FFF2-40B4-BE49-F238E27FC236}">
                  <a16:creationId xmlns:a16="http://schemas.microsoft.com/office/drawing/2014/main" id="{49CA60A8-5FF5-4E02-9DA9-3C4F81B3644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308187" y="4973637"/>
              <a:ext cx="93663" cy="93663"/>
            </a:xfrm>
            <a:custGeom>
              <a:avLst/>
              <a:gdLst>
                <a:gd name="T0" fmla="*/ 3 w 59"/>
                <a:gd name="T1" fmla="*/ 36 h 59"/>
                <a:gd name="T2" fmla="*/ 36 w 59"/>
                <a:gd name="T3" fmla="*/ 56 h 59"/>
                <a:gd name="T4" fmla="*/ 55 w 59"/>
                <a:gd name="T5" fmla="*/ 23 h 59"/>
                <a:gd name="T6" fmla="*/ 23 w 59"/>
                <a:gd name="T7" fmla="*/ 3 h 59"/>
                <a:gd name="T8" fmla="*/ 3 w 59"/>
                <a:gd name="T9" fmla="*/ 3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9">
                  <a:moveTo>
                    <a:pt x="3" y="36"/>
                  </a:moveTo>
                  <a:cubicBezTo>
                    <a:pt x="7" y="50"/>
                    <a:pt x="21" y="59"/>
                    <a:pt x="36" y="56"/>
                  </a:cubicBezTo>
                  <a:cubicBezTo>
                    <a:pt x="50" y="52"/>
                    <a:pt x="59" y="37"/>
                    <a:pt x="55" y="23"/>
                  </a:cubicBezTo>
                  <a:cubicBezTo>
                    <a:pt x="52" y="9"/>
                    <a:pt x="37" y="0"/>
                    <a:pt x="23" y="3"/>
                  </a:cubicBezTo>
                  <a:cubicBezTo>
                    <a:pt x="8" y="7"/>
                    <a:pt x="0" y="22"/>
                    <a:pt x="3" y="36"/>
                  </a:cubicBez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Freeform 146">
              <a:extLst>
                <a:ext uri="{FF2B5EF4-FFF2-40B4-BE49-F238E27FC236}">
                  <a16:creationId xmlns:a16="http://schemas.microsoft.com/office/drawing/2014/main" id="{6157223F-4EDC-4863-BC2B-0E06DD7A917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189250" y="1992312"/>
              <a:ext cx="166688" cy="150813"/>
            </a:xfrm>
            <a:custGeom>
              <a:avLst/>
              <a:gdLst>
                <a:gd name="T0" fmla="*/ 105 w 105"/>
                <a:gd name="T1" fmla="*/ 16 h 95"/>
                <a:gd name="T2" fmla="*/ 33 w 105"/>
                <a:gd name="T3" fmla="*/ 0 h 95"/>
                <a:gd name="T4" fmla="*/ 0 w 105"/>
                <a:gd name="T5" fmla="*/ 67 h 95"/>
                <a:gd name="T6" fmla="*/ 104 w 105"/>
                <a:gd name="T7" fmla="*/ 95 h 95"/>
                <a:gd name="T8" fmla="*/ 105 w 105"/>
                <a:gd name="T9" fmla="*/ 1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95">
                  <a:moveTo>
                    <a:pt x="105" y="16"/>
                  </a:moveTo>
                  <a:cubicBezTo>
                    <a:pt x="82" y="13"/>
                    <a:pt x="57" y="7"/>
                    <a:pt x="33" y="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40" y="78"/>
                    <a:pt x="78" y="90"/>
                    <a:pt x="104" y="95"/>
                  </a:cubicBezTo>
                  <a:lnTo>
                    <a:pt x="105" y="16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147">
              <a:extLst>
                <a:ext uri="{FF2B5EF4-FFF2-40B4-BE49-F238E27FC236}">
                  <a16:creationId xmlns:a16="http://schemas.microsoft.com/office/drawing/2014/main" id="{25CFA464-8E31-4D79-8BD0-E22E14F8F86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016212" y="1957387"/>
              <a:ext cx="150813" cy="120650"/>
            </a:xfrm>
            <a:custGeom>
              <a:avLst/>
              <a:gdLst>
                <a:gd name="T0" fmla="*/ 0 w 96"/>
                <a:gd name="T1" fmla="*/ 70 h 76"/>
                <a:gd name="T2" fmla="*/ 49 w 96"/>
                <a:gd name="T3" fmla="*/ 76 h 76"/>
                <a:gd name="T4" fmla="*/ 96 w 96"/>
                <a:gd name="T5" fmla="*/ 10 h 76"/>
                <a:gd name="T6" fmla="*/ 62 w 96"/>
                <a:gd name="T7" fmla="*/ 0 h 76"/>
                <a:gd name="T8" fmla="*/ 0 w 96"/>
                <a:gd name="T9" fmla="*/ 7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76">
                  <a:moveTo>
                    <a:pt x="0" y="70"/>
                  </a:moveTo>
                  <a:cubicBezTo>
                    <a:pt x="16" y="71"/>
                    <a:pt x="32" y="73"/>
                    <a:pt x="49" y="76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85" y="6"/>
                    <a:pt x="73" y="3"/>
                    <a:pt x="62" y="0"/>
                  </a:cubicBezTo>
                  <a:lnTo>
                    <a:pt x="0" y="7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148">
              <a:extLst>
                <a:ext uri="{FF2B5EF4-FFF2-40B4-BE49-F238E27FC236}">
                  <a16:creationId xmlns:a16="http://schemas.microsoft.com/office/drawing/2014/main" id="{A574F1EE-3B2F-49EE-87BE-5208670A0A7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108287" y="1976437"/>
              <a:ext cx="119063" cy="119063"/>
            </a:xfrm>
            <a:custGeom>
              <a:avLst/>
              <a:gdLst>
                <a:gd name="T0" fmla="*/ 76 w 76"/>
                <a:gd name="T1" fmla="*/ 8 h 75"/>
                <a:gd name="T2" fmla="*/ 48 w 76"/>
                <a:gd name="T3" fmla="*/ 0 h 75"/>
                <a:gd name="T4" fmla="*/ 0 w 76"/>
                <a:gd name="T5" fmla="*/ 66 h 75"/>
                <a:gd name="T6" fmla="*/ 43 w 76"/>
                <a:gd name="T7" fmla="*/ 75 h 75"/>
                <a:gd name="T8" fmla="*/ 76 w 76"/>
                <a:gd name="T9" fmla="*/ 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5">
                  <a:moveTo>
                    <a:pt x="76" y="8"/>
                  </a:moveTo>
                  <a:cubicBezTo>
                    <a:pt x="66" y="6"/>
                    <a:pt x="57" y="3"/>
                    <a:pt x="48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15" y="68"/>
                    <a:pt x="29" y="72"/>
                    <a:pt x="43" y="75"/>
                  </a:cubicBezTo>
                  <a:lnTo>
                    <a:pt x="76" y="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149">
              <a:extLst>
                <a:ext uri="{FF2B5EF4-FFF2-40B4-BE49-F238E27FC236}">
                  <a16:creationId xmlns:a16="http://schemas.microsoft.com/office/drawing/2014/main" id="{0B489126-54FD-42ED-B480-D99D7A275A2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368637" y="2020887"/>
              <a:ext cx="55563" cy="127000"/>
            </a:xfrm>
            <a:custGeom>
              <a:avLst/>
              <a:gdLst>
                <a:gd name="T0" fmla="*/ 35 w 35"/>
                <a:gd name="T1" fmla="*/ 2 h 80"/>
                <a:gd name="T2" fmla="*/ 1 w 35"/>
                <a:gd name="T3" fmla="*/ 0 h 80"/>
                <a:gd name="T4" fmla="*/ 0 w 35"/>
                <a:gd name="T5" fmla="*/ 79 h 80"/>
                <a:gd name="T6" fmla="*/ 12 w 35"/>
                <a:gd name="T7" fmla="*/ 80 h 80"/>
                <a:gd name="T8" fmla="*/ 35 w 35"/>
                <a:gd name="T9" fmla="*/ 79 h 80"/>
                <a:gd name="T10" fmla="*/ 35 w 35"/>
                <a:gd name="T11" fmla="*/ 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80">
                  <a:moveTo>
                    <a:pt x="35" y="2"/>
                  </a:moveTo>
                  <a:cubicBezTo>
                    <a:pt x="24" y="2"/>
                    <a:pt x="13" y="1"/>
                    <a:pt x="1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4" y="80"/>
                    <a:pt x="9" y="80"/>
                    <a:pt x="12" y="80"/>
                  </a:cubicBezTo>
                  <a:cubicBezTo>
                    <a:pt x="21" y="80"/>
                    <a:pt x="28" y="80"/>
                    <a:pt x="35" y="79"/>
                  </a:cubicBezTo>
                  <a:lnTo>
                    <a:pt x="35" y="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150">
              <a:extLst>
                <a:ext uri="{FF2B5EF4-FFF2-40B4-BE49-F238E27FC236}">
                  <a16:creationId xmlns:a16="http://schemas.microsoft.com/office/drawing/2014/main" id="{2DDA3172-E461-40F4-94C9-90688F3561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436900" y="2020887"/>
              <a:ext cx="33338" cy="122238"/>
            </a:xfrm>
            <a:custGeom>
              <a:avLst/>
              <a:gdLst>
                <a:gd name="T0" fmla="*/ 17 w 22"/>
                <a:gd name="T1" fmla="*/ 0 h 77"/>
                <a:gd name="T2" fmla="*/ 0 w 22"/>
                <a:gd name="T3" fmla="*/ 2 h 77"/>
                <a:gd name="T4" fmla="*/ 0 w 22"/>
                <a:gd name="T5" fmla="*/ 77 h 77"/>
                <a:gd name="T6" fmla="*/ 22 w 22"/>
                <a:gd name="T7" fmla="*/ 61 h 77"/>
                <a:gd name="T8" fmla="*/ 17 w 22"/>
                <a:gd name="T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77">
                  <a:moveTo>
                    <a:pt x="17" y="0"/>
                  </a:moveTo>
                  <a:cubicBezTo>
                    <a:pt x="12" y="1"/>
                    <a:pt x="6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20" y="71"/>
                    <a:pt x="22" y="61"/>
                    <a:pt x="22" y="61"/>
                  </a:cubicBezTo>
                  <a:cubicBezTo>
                    <a:pt x="22" y="61"/>
                    <a:pt x="17" y="4"/>
                    <a:pt x="17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Freeform 151">
              <a:extLst>
                <a:ext uri="{FF2B5EF4-FFF2-40B4-BE49-F238E27FC236}">
                  <a16:creationId xmlns:a16="http://schemas.microsoft.com/office/drawing/2014/main" id="{705653BA-E8C2-4A72-9E99-EDF6E6026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327362" y="1952625"/>
              <a:ext cx="74613" cy="158750"/>
            </a:xfrm>
            <a:custGeom>
              <a:avLst/>
              <a:gdLst>
                <a:gd name="T0" fmla="*/ 11 w 47"/>
                <a:gd name="T1" fmla="*/ 100 h 100"/>
                <a:gd name="T2" fmla="*/ 47 w 47"/>
                <a:gd name="T3" fmla="*/ 88 h 100"/>
                <a:gd name="T4" fmla="*/ 47 w 47"/>
                <a:gd name="T5" fmla="*/ 0 h 100"/>
                <a:gd name="T6" fmla="*/ 0 w 47"/>
                <a:gd name="T7" fmla="*/ 16 h 100"/>
                <a:gd name="T8" fmla="*/ 11 w 47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00">
                  <a:moveTo>
                    <a:pt x="11" y="100"/>
                  </a:moveTo>
                  <a:cubicBezTo>
                    <a:pt x="24" y="94"/>
                    <a:pt x="36" y="89"/>
                    <a:pt x="47" y="88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30" y="0"/>
                    <a:pt x="14" y="6"/>
                    <a:pt x="0" y="16"/>
                  </a:cubicBezTo>
                  <a:lnTo>
                    <a:pt x="11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Freeform 152">
              <a:extLst>
                <a:ext uri="{FF2B5EF4-FFF2-40B4-BE49-F238E27FC236}">
                  <a16:creationId xmlns:a16="http://schemas.microsoft.com/office/drawing/2014/main" id="{D1B03148-DB30-4C89-B8A1-4B25B3AA439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252750" y="1987550"/>
              <a:ext cx="79375" cy="153988"/>
            </a:xfrm>
            <a:custGeom>
              <a:avLst/>
              <a:gdLst>
                <a:gd name="T0" fmla="*/ 26 w 50"/>
                <a:gd name="T1" fmla="*/ 97 h 97"/>
                <a:gd name="T2" fmla="*/ 50 w 50"/>
                <a:gd name="T3" fmla="*/ 82 h 97"/>
                <a:gd name="T4" fmla="*/ 39 w 50"/>
                <a:gd name="T5" fmla="*/ 0 h 97"/>
                <a:gd name="T6" fmla="*/ 0 w 50"/>
                <a:gd name="T7" fmla="*/ 41 h 97"/>
                <a:gd name="T8" fmla="*/ 26 w 50"/>
                <a:gd name="T9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7">
                  <a:moveTo>
                    <a:pt x="26" y="97"/>
                  </a:moveTo>
                  <a:cubicBezTo>
                    <a:pt x="34" y="92"/>
                    <a:pt x="42" y="87"/>
                    <a:pt x="50" y="82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24" y="11"/>
                    <a:pt x="11" y="26"/>
                    <a:pt x="0" y="41"/>
                  </a:cubicBezTo>
                  <a:lnTo>
                    <a:pt x="26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Freeform 153">
              <a:extLst>
                <a:ext uri="{FF2B5EF4-FFF2-40B4-BE49-F238E27FC236}">
                  <a16:creationId xmlns:a16="http://schemas.microsoft.com/office/drawing/2014/main" id="{82B8F72F-947C-4CC8-8A5C-E4E0E4EEE2D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195600" y="2065337"/>
              <a:ext cx="87313" cy="104775"/>
            </a:xfrm>
            <a:custGeom>
              <a:avLst/>
              <a:gdLst>
                <a:gd name="T0" fmla="*/ 29 w 55"/>
                <a:gd name="T1" fmla="*/ 0 h 66"/>
                <a:gd name="T2" fmla="*/ 0 w 55"/>
                <a:gd name="T3" fmla="*/ 43 h 66"/>
                <a:gd name="T4" fmla="*/ 35 w 55"/>
                <a:gd name="T5" fmla="*/ 66 h 66"/>
                <a:gd name="T6" fmla="*/ 55 w 55"/>
                <a:gd name="T7" fmla="*/ 53 h 66"/>
                <a:gd name="T8" fmla="*/ 29 w 55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66">
                  <a:moveTo>
                    <a:pt x="29" y="0"/>
                  </a:moveTo>
                  <a:cubicBezTo>
                    <a:pt x="19" y="14"/>
                    <a:pt x="9" y="29"/>
                    <a:pt x="0" y="43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42" y="62"/>
                    <a:pt x="48" y="57"/>
                    <a:pt x="55" y="53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Freeform 154">
              <a:extLst>
                <a:ext uri="{FF2B5EF4-FFF2-40B4-BE49-F238E27FC236}">
                  <a16:creationId xmlns:a16="http://schemas.microsoft.com/office/drawing/2014/main" id="{3C1C490C-3A3C-4363-B302-A015297121E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416262" y="1952625"/>
              <a:ext cx="53975" cy="165100"/>
            </a:xfrm>
            <a:custGeom>
              <a:avLst/>
              <a:gdLst>
                <a:gd name="T0" fmla="*/ 0 w 35"/>
                <a:gd name="T1" fmla="*/ 0 h 104"/>
                <a:gd name="T2" fmla="*/ 0 w 35"/>
                <a:gd name="T3" fmla="*/ 87 h 104"/>
                <a:gd name="T4" fmla="*/ 35 w 35"/>
                <a:gd name="T5" fmla="*/ 104 h 104"/>
                <a:gd name="T6" fmla="*/ 35 w 35"/>
                <a:gd name="T7" fmla="*/ 14 h 104"/>
                <a:gd name="T8" fmla="*/ 0 w 35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04">
                  <a:moveTo>
                    <a:pt x="0" y="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35" y="88"/>
                    <a:pt x="35" y="104"/>
                    <a:pt x="35" y="10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155">
              <a:extLst>
                <a:ext uri="{FF2B5EF4-FFF2-40B4-BE49-F238E27FC236}">
                  <a16:creationId xmlns:a16="http://schemas.microsoft.com/office/drawing/2014/main" id="{C2C92688-8335-4A26-9909-4EF9BFE77DB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120987" y="2144712"/>
              <a:ext cx="119063" cy="74613"/>
            </a:xfrm>
            <a:custGeom>
              <a:avLst/>
              <a:gdLst>
                <a:gd name="T0" fmla="*/ 43 w 76"/>
                <a:gd name="T1" fmla="*/ 0 h 48"/>
                <a:gd name="T2" fmla="*/ 0 w 76"/>
                <a:gd name="T3" fmla="*/ 48 h 48"/>
                <a:gd name="T4" fmla="*/ 76 w 76"/>
                <a:gd name="T5" fmla="*/ 22 h 48"/>
                <a:gd name="T6" fmla="*/ 43 w 76"/>
                <a:gd name="T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48">
                  <a:moveTo>
                    <a:pt x="43" y="0"/>
                  </a:moveTo>
                  <a:cubicBezTo>
                    <a:pt x="27" y="22"/>
                    <a:pt x="16" y="37"/>
                    <a:pt x="0" y="48"/>
                  </a:cubicBezTo>
                  <a:cubicBezTo>
                    <a:pt x="0" y="48"/>
                    <a:pt x="38" y="48"/>
                    <a:pt x="76" y="22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156">
              <a:extLst>
                <a:ext uri="{FF2B5EF4-FFF2-40B4-BE49-F238E27FC236}">
                  <a16:creationId xmlns:a16="http://schemas.microsoft.com/office/drawing/2014/main" id="{B8B9149D-435C-4F0E-A6E2-1DDC056B63D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866987" y="2087562"/>
              <a:ext cx="120650" cy="120650"/>
            </a:xfrm>
            <a:custGeom>
              <a:avLst/>
              <a:gdLst>
                <a:gd name="T0" fmla="*/ 70 w 76"/>
                <a:gd name="T1" fmla="*/ 23 h 77"/>
                <a:gd name="T2" fmla="*/ 48 w 76"/>
                <a:gd name="T3" fmla="*/ 0 h 77"/>
                <a:gd name="T4" fmla="*/ 0 w 76"/>
                <a:gd name="T5" fmla="*/ 60 h 77"/>
                <a:gd name="T6" fmla="*/ 19 w 76"/>
                <a:gd name="T7" fmla="*/ 77 h 77"/>
                <a:gd name="T8" fmla="*/ 76 w 76"/>
                <a:gd name="T9" fmla="*/ 28 h 77"/>
                <a:gd name="T10" fmla="*/ 70 w 76"/>
                <a:gd name="T1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77">
                  <a:moveTo>
                    <a:pt x="70" y="23"/>
                  </a:moveTo>
                  <a:cubicBezTo>
                    <a:pt x="60" y="16"/>
                    <a:pt x="53" y="8"/>
                    <a:pt x="48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5" y="66"/>
                    <a:pt x="12" y="72"/>
                    <a:pt x="19" y="77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4" y="26"/>
                    <a:pt x="72" y="25"/>
                    <a:pt x="70" y="23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157">
              <a:extLst>
                <a:ext uri="{FF2B5EF4-FFF2-40B4-BE49-F238E27FC236}">
                  <a16:creationId xmlns:a16="http://schemas.microsoft.com/office/drawing/2014/main" id="{748090A3-355E-4886-94C2-45EE240534D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55887" y="2174875"/>
              <a:ext cx="185738" cy="76200"/>
            </a:xfrm>
            <a:custGeom>
              <a:avLst/>
              <a:gdLst>
                <a:gd name="T0" fmla="*/ 74 w 117"/>
                <a:gd name="T1" fmla="*/ 0 h 48"/>
                <a:gd name="T2" fmla="*/ 0 w 117"/>
                <a:gd name="T3" fmla="*/ 41 h 48"/>
                <a:gd name="T4" fmla="*/ 35 w 117"/>
                <a:gd name="T5" fmla="*/ 48 h 48"/>
                <a:gd name="T6" fmla="*/ 40 w 117"/>
                <a:gd name="T7" fmla="*/ 48 h 48"/>
                <a:gd name="T8" fmla="*/ 117 w 117"/>
                <a:gd name="T9" fmla="*/ 11 h 48"/>
                <a:gd name="T10" fmla="*/ 74 w 117"/>
                <a:gd name="T1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48">
                  <a:moveTo>
                    <a:pt x="74" y="0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13" y="45"/>
                    <a:pt x="26" y="48"/>
                    <a:pt x="35" y="48"/>
                  </a:cubicBezTo>
                  <a:cubicBezTo>
                    <a:pt x="37" y="48"/>
                    <a:pt x="38" y="48"/>
                    <a:pt x="40" y="48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03" y="9"/>
                    <a:pt x="89" y="5"/>
                    <a:pt x="74" y="0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158">
              <a:extLst>
                <a:ext uri="{FF2B5EF4-FFF2-40B4-BE49-F238E27FC236}">
                  <a16:creationId xmlns:a16="http://schemas.microsoft.com/office/drawing/2014/main" id="{AC74163C-99C2-451C-AC9C-A3F5256CB50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08262" y="2139950"/>
              <a:ext cx="147638" cy="93663"/>
            </a:xfrm>
            <a:custGeom>
              <a:avLst/>
              <a:gdLst>
                <a:gd name="T0" fmla="*/ 93 w 93"/>
                <a:gd name="T1" fmla="*/ 19 h 60"/>
                <a:gd name="T2" fmla="*/ 58 w 93"/>
                <a:gd name="T3" fmla="*/ 0 h 60"/>
                <a:gd name="T4" fmla="*/ 0 w 93"/>
                <a:gd name="T5" fmla="*/ 49 h 60"/>
                <a:gd name="T6" fmla="*/ 20 w 93"/>
                <a:gd name="T7" fmla="*/ 60 h 60"/>
                <a:gd name="T8" fmla="*/ 93 w 93"/>
                <a:gd name="T9" fmla="*/ 1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60">
                  <a:moveTo>
                    <a:pt x="93" y="19"/>
                  </a:moveTo>
                  <a:cubicBezTo>
                    <a:pt x="81" y="14"/>
                    <a:pt x="69" y="7"/>
                    <a:pt x="58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7" y="53"/>
                    <a:pt x="13" y="57"/>
                    <a:pt x="20" y="60"/>
                  </a:cubicBezTo>
                  <a:lnTo>
                    <a:pt x="93" y="19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Freeform 159">
              <a:extLst>
                <a:ext uri="{FF2B5EF4-FFF2-40B4-BE49-F238E27FC236}">
                  <a16:creationId xmlns:a16="http://schemas.microsoft.com/office/drawing/2014/main" id="{AD619932-C771-4613-BE13-4EB3EC7AA21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054312" y="2176462"/>
              <a:ext cx="185738" cy="73025"/>
            </a:xfrm>
            <a:custGeom>
              <a:avLst/>
              <a:gdLst>
                <a:gd name="T0" fmla="*/ 73 w 118"/>
                <a:gd name="T1" fmla="*/ 11 h 46"/>
                <a:gd name="T2" fmla="*/ 0 w 118"/>
                <a:gd name="T3" fmla="*/ 46 h 46"/>
                <a:gd name="T4" fmla="*/ 118 w 118"/>
                <a:gd name="T5" fmla="*/ 0 h 46"/>
                <a:gd name="T6" fmla="*/ 73 w 118"/>
                <a:gd name="T7" fmla="*/ 1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8" h="46">
                  <a:moveTo>
                    <a:pt x="73" y="11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62" y="40"/>
                    <a:pt x="107" y="7"/>
                    <a:pt x="118" y="0"/>
                  </a:cubicBezTo>
                  <a:cubicBezTo>
                    <a:pt x="106" y="8"/>
                    <a:pt x="90" y="11"/>
                    <a:pt x="73" y="11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Freeform 160">
              <a:extLst>
                <a:ext uri="{FF2B5EF4-FFF2-40B4-BE49-F238E27FC236}">
                  <a16:creationId xmlns:a16="http://schemas.microsoft.com/office/drawing/2014/main" id="{3C332F5A-0D89-4FA2-9435-3C357BA68A8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849525" y="2003425"/>
              <a:ext cx="82550" cy="166688"/>
            </a:xfrm>
            <a:custGeom>
              <a:avLst/>
              <a:gdLst>
                <a:gd name="T0" fmla="*/ 52 w 53"/>
                <a:gd name="T1" fmla="*/ 46 h 105"/>
                <a:gd name="T2" fmla="*/ 45 w 53"/>
                <a:gd name="T3" fmla="*/ 0 h 105"/>
                <a:gd name="T4" fmla="*/ 0 w 53"/>
                <a:gd name="T5" fmla="*/ 79 h 105"/>
                <a:gd name="T6" fmla="*/ 7 w 53"/>
                <a:gd name="T7" fmla="*/ 105 h 105"/>
                <a:gd name="T8" fmla="*/ 53 w 53"/>
                <a:gd name="T9" fmla="*/ 47 h 105"/>
                <a:gd name="T10" fmla="*/ 52 w 53"/>
                <a:gd name="T11" fmla="*/ 4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105">
                  <a:moveTo>
                    <a:pt x="52" y="46"/>
                  </a:moveTo>
                  <a:cubicBezTo>
                    <a:pt x="51" y="45"/>
                    <a:pt x="40" y="29"/>
                    <a:pt x="45" y="0"/>
                  </a:cubicBezTo>
                  <a:cubicBezTo>
                    <a:pt x="28" y="28"/>
                    <a:pt x="0" y="74"/>
                    <a:pt x="0" y="79"/>
                  </a:cubicBezTo>
                  <a:cubicBezTo>
                    <a:pt x="0" y="88"/>
                    <a:pt x="3" y="97"/>
                    <a:pt x="7" y="105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7"/>
                    <a:pt x="53" y="46"/>
                    <a:pt x="52" y="46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Freeform 161">
              <a:extLst>
                <a:ext uri="{FF2B5EF4-FFF2-40B4-BE49-F238E27FC236}">
                  <a16:creationId xmlns:a16="http://schemas.microsoft.com/office/drawing/2014/main" id="{A9DCD2CB-6D45-48E2-97A1-48C76024A3D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27312" y="1939925"/>
              <a:ext cx="84138" cy="107950"/>
            </a:xfrm>
            <a:custGeom>
              <a:avLst/>
              <a:gdLst>
                <a:gd name="T0" fmla="*/ 2 w 53"/>
                <a:gd name="T1" fmla="*/ 68 h 68"/>
                <a:gd name="T2" fmla="*/ 53 w 53"/>
                <a:gd name="T3" fmla="*/ 1 h 68"/>
                <a:gd name="T4" fmla="*/ 11 w 53"/>
                <a:gd name="T5" fmla="*/ 16 h 68"/>
                <a:gd name="T6" fmla="*/ 2 w 53"/>
                <a:gd name="T7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68">
                  <a:moveTo>
                    <a:pt x="2" y="68"/>
                  </a:moveTo>
                  <a:cubicBezTo>
                    <a:pt x="53" y="1"/>
                    <a:pt x="53" y="1"/>
                    <a:pt x="53" y="1"/>
                  </a:cubicBezTo>
                  <a:cubicBezTo>
                    <a:pt x="34" y="0"/>
                    <a:pt x="19" y="5"/>
                    <a:pt x="11" y="16"/>
                  </a:cubicBezTo>
                  <a:cubicBezTo>
                    <a:pt x="0" y="39"/>
                    <a:pt x="0" y="57"/>
                    <a:pt x="2" y="68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Freeform 162">
              <a:extLst>
                <a:ext uri="{FF2B5EF4-FFF2-40B4-BE49-F238E27FC236}">
                  <a16:creationId xmlns:a16="http://schemas.microsoft.com/office/drawing/2014/main" id="{2B1CE600-6C35-493A-9EC2-8E9A1E69C3A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35250" y="1941512"/>
              <a:ext cx="163513" cy="133350"/>
            </a:xfrm>
            <a:custGeom>
              <a:avLst/>
              <a:gdLst>
                <a:gd name="T0" fmla="*/ 59 w 103"/>
                <a:gd name="T1" fmla="*/ 0 h 84"/>
                <a:gd name="T2" fmla="*/ 0 w 103"/>
                <a:gd name="T3" fmla="*/ 77 h 84"/>
                <a:gd name="T4" fmla="*/ 3 w 103"/>
                <a:gd name="T5" fmla="*/ 81 h 84"/>
                <a:gd name="T6" fmla="*/ 3 w 103"/>
                <a:gd name="T7" fmla="*/ 81 h 84"/>
                <a:gd name="T8" fmla="*/ 5 w 103"/>
                <a:gd name="T9" fmla="*/ 84 h 84"/>
                <a:gd name="T10" fmla="*/ 40 w 103"/>
                <a:gd name="T11" fmla="*/ 80 h 84"/>
                <a:gd name="T12" fmla="*/ 103 w 103"/>
                <a:gd name="T13" fmla="*/ 8 h 84"/>
                <a:gd name="T14" fmla="*/ 59 w 103"/>
                <a:gd name="T1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3" h="84">
                  <a:moveTo>
                    <a:pt x="59" y="0"/>
                  </a:moveTo>
                  <a:cubicBezTo>
                    <a:pt x="0" y="77"/>
                    <a:pt x="0" y="77"/>
                    <a:pt x="0" y="77"/>
                  </a:cubicBezTo>
                  <a:cubicBezTo>
                    <a:pt x="2" y="80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4" y="82"/>
                    <a:pt x="4" y="83"/>
                    <a:pt x="5" y="84"/>
                  </a:cubicBezTo>
                  <a:cubicBezTo>
                    <a:pt x="16" y="82"/>
                    <a:pt x="27" y="80"/>
                    <a:pt x="40" y="80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87" y="4"/>
                    <a:pt x="72" y="1"/>
                    <a:pt x="59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Freeform 163">
              <a:extLst>
                <a:ext uri="{FF2B5EF4-FFF2-40B4-BE49-F238E27FC236}">
                  <a16:creationId xmlns:a16="http://schemas.microsoft.com/office/drawing/2014/main" id="{D8F0A9BB-8E79-4B7F-8A2F-198802E28CB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316000" y="3252787"/>
              <a:ext cx="339725" cy="782638"/>
            </a:xfrm>
            <a:custGeom>
              <a:avLst/>
              <a:gdLst>
                <a:gd name="T0" fmla="*/ 10 w 214"/>
                <a:gd name="T1" fmla="*/ 493 h 493"/>
                <a:gd name="T2" fmla="*/ 0 w 214"/>
                <a:gd name="T3" fmla="*/ 489 h 493"/>
                <a:gd name="T4" fmla="*/ 205 w 214"/>
                <a:gd name="T5" fmla="*/ 0 h 493"/>
                <a:gd name="T6" fmla="*/ 214 w 214"/>
                <a:gd name="T7" fmla="*/ 4 h 493"/>
                <a:gd name="T8" fmla="*/ 10 w 214"/>
                <a:gd name="T9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493">
                  <a:moveTo>
                    <a:pt x="10" y="493"/>
                  </a:moveTo>
                  <a:lnTo>
                    <a:pt x="0" y="489"/>
                  </a:lnTo>
                  <a:lnTo>
                    <a:pt x="205" y="0"/>
                  </a:lnTo>
                  <a:lnTo>
                    <a:pt x="214" y="4"/>
                  </a:lnTo>
                  <a:lnTo>
                    <a:pt x="10" y="493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Freeform 164">
              <a:extLst>
                <a:ext uri="{FF2B5EF4-FFF2-40B4-BE49-F238E27FC236}">
                  <a16:creationId xmlns:a16="http://schemas.microsoft.com/office/drawing/2014/main" id="{9F15A6E9-A6BE-4357-BBA3-3CA107A96F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641437" y="3252787"/>
              <a:ext cx="212725" cy="431800"/>
            </a:xfrm>
            <a:custGeom>
              <a:avLst/>
              <a:gdLst>
                <a:gd name="T0" fmla="*/ 123 w 134"/>
                <a:gd name="T1" fmla="*/ 272 h 272"/>
                <a:gd name="T2" fmla="*/ 0 w 134"/>
                <a:gd name="T3" fmla="*/ 4 h 272"/>
                <a:gd name="T4" fmla="*/ 9 w 134"/>
                <a:gd name="T5" fmla="*/ 0 h 272"/>
                <a:gd name="T6" fmla="*/ 134 w 134"/>
                <a:gd name="T7" fmla="*/ 267 h 272"/>
                <a:gd name="T8" fmla="*/ 123 w 134"/>
                <a:gd name="T9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272">
                  <a:moveTo>
                    <a:pt x="123" y="272"/>
                  </a:moveTo>
                  <a:lnTo>
                    <a:pt x="0" y="4"/>
                  </a:lnTo>
                  <a:lnTo>
                    <a:pt x="9" y="0"/>
                  </a:lnTo>
                  <a:lnTo>
                    <a:pt x="134" y="267"/>
                  </a:lnTo>
                  <a:lnTo>
                    <a:pt x="123" y="27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Line 165">
              <a:extLst>
                <a:ext uri="{FF2B5EF4-FFF2-40B4-BE49-F238E27FC236}">
                  <a16:creationId xmlns:a16="http://schemas.microsoft.com/office/drawing/2014/main" id="{C603650B-4DE9-4E18-9421-514E48DD8C8F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 flipH="1">
              <a:off x="9323937" y="3317875"/>
              <a:ext cx="693738" cy="714375"/>
            </a:xfrm>
            <a:prstGeom prst="line">
              <a:avLst/>
            </a:prstGeom>
            <a:noFill/>
            <a:ln w="19050" cap="flat">
              <a:solidFill>
                <a:srgbClr val="0078D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Freeform 166">
              <a:extLst>
                <a:ext uri="{FF2B5EF4-FFF2-40B4-BE49-F238E27FC236}">
                  <a16:creationId xmlns:a16="http://schemas.microsoft.com/office/drawing/2014/main" id="{3A5123BB-2EB9-41AF-B146-DC835D1B679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320762" y="4024312"/>
              <a:ext cx="298450" cy="117475"/>
            </a:xfrm>
            <a:custGeom>
              <a:avLst/>
              <a:gdLst>
                <a:gd name="T0" fmla="*/ 184 w 188"/>
                <a:gd name="T1" fmla="*/ 74 h 74"/>
                <a:gd name="T2" fmla="*/ 0 w 188"/>
                <a:gd name="T3" fmla="*/ 11 h 74"/>
                <a:gd name="T4" fmla="*/ 4 w 188"/>
                <a:gd name="T5" fmla="*/ 0 h 74"/>
                <a:gd name="T6" fmla="*/ 188 w 188"/>
                <a:gd name="T7" fmla="*/ 63 h 74"/>
                <a:gd name="T8" fmla="*/ 184 w 188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74">
                  <a:moveTo>
                    <a:pt x="184" y="74"/>
                  </a:moveTo>
                  <a:lnTo>
                    <a:pt x="0" y="11"/>
                  </a:lnTo>
                  <a:lnTo>
                    <a:pt x="4" y="0"/>
                  </a:lnTo>
                  <a:lnTo>
                    <a:pt x="188" y="63"/>
                  </a:lnTo>
                  <a:lnTo>
                    <a:pt x="184" y="74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167">
              <a:extLst>
                <a:ext uri="{FF2B5EF4-FFF2-40B4-BE49-F238E27FC236}">
                  <a16:creationId xmlns:a16="http://schemas.microsoft.com/office/drawing/2014/main" id="{0436FA02-02B0-4F7F-98E5-1DCF20CFAB9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254087" y="3248025"/>
              <a:ext cx="398463" cy="182563"/>
            </a:xfrm>
            <a:custGeom>
              <a:avLst/>
              <a:gdLst>
                <a:gd name="T0" fmla="*/ 5 w 251"/>
                <a:gd name="T1" fmla="*/ 115 h 115"/>
                <a:gd name="T2" fmla="*/ 0 w 251"/>
                <a:gd name="T3" fmla="*/ 105 h 115"/>
                <a:gd name="T4" fmla="*/ 247 w 251"/>
                <a:gd name="T5" fmla="*/ 0 h 115"/>
                <a:gd name="T6" fmla="*/ 251 w 251"/>
                <a:gd name="T7" fmla="*/ 10 h 115"/>
                <a:gd name="T8" fmla="*/ 5 w 251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115">
                  <a:moveTo>
                    <a:pt x="5" y="115"/>
                  </a:moveTo>
                  <a:lnTo>
                    <a:pt x="0" y="105"/>
                  </a:lnTo>
                  <a:lnTo>
                    <a:pt x="247" y="0"/>
                  </a:lnTo>
                  <a:lnTo>
                    <a:pt x="251" y="10"/>
                  </a:lnTo>
                  <a:lnTo>
                    <a:pt x="5" y="115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Oval 168">
              <a:extLst>
                <a:ext uri="{FF2B5EF4-FFF2-40B4-BE49-F238E27FC236}">
                  <a16:creationId xmlns:a16="http://schemas.microsoft.com/office/drawing/2014/main" id="{7A7080D6-8C35-4CBB-B906-8F15A67856B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246150" y="3956050"/>
              <a:ext cx="153988" cy="153988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169">
              <a:extLst>
                <a:ext uri="{FF2B5EF4-FFF2-40B4-BE49-F238E27FC236}">
                  <a16:creationId xmlns:a16="http://schemas.microsoft.com/office/drawing/2014/main" id="{A4443527-2A85-4413-A488-1A1D9606EC6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187412" y="3382962"/>
              <a:ext cx="1168400" cy="608013"/>
            </a:xfrm>
            <a:custGeom>
              <a:avLst/>
              <a:gdLst>
                <a:gd name="T0" fmla="*/ 602 w 740"/>
                <a:gd name="T1" fmla="*/ 109 h 385"/>
                <a:gd name="T2" fmla="*/ 497 w 740"/>
                <a:gd name="T3" fmla="*/ 158 h 385"/>
                <a:gd name="T4" fmla="*/ 314 w 740"/>
                <a:gd name="T5" fmla="*/ 0 h 385"/>
                <a:gd name="T6" fmla="*/ 129 w 740"/>
                <a:gd name="T7" fmla="*/ 185 h 385"/>
                <a:gd name="T8" fmla="*/ 129 w 740"/>
                <a:gd name="T9" fmla="*/ 188 h 385"/>
                <a:gd name="T10" fmla="*/ 101 w 740"/>
                <a:gd name="T11" fmla="*/ 184 h 385"/>
                <a:gd name="T12" fmla="*/ 0 w 740"/>
                <a:gd name="T13" fmla="*/ 284 h 385"/>
                <a:gd name="T14" fmla="*/ 101 w 740"/>
                <a:gd name="T15" fmla="*/ 385 h 385"/>
                <a:gd name="T16" fmla="*/ 602 w 740"/>
                <a:gd name="T17" fmla="*/ 385 h 385"/>
                <a:gd name="T18" fmla="*/ 740 w 740"/>
                <a:gd name="T19" fmla="*/ 247 h 385"/>
                <a:gd name="T20" fmla="*/ 602 w 740"/>
                <a:gd name="T21" fmla="*/ 109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0" h="385">
                  <a:moveTo>
                    <a:pt x="602" y="109"/>
                  </a:moveTo>
                  <a:cubicBezTo>
                    <a:pt x="560" y="109"/>
                    <a:pt x="522" y="128"/>
                    <a:pt x="497" y="158"/>
                  </a:cubicBezTo>
                  <a:cubicBezTo>
                    <a:pt x="484" y="69"/>
                    <a:pt x="407" y="0"/>
                    <a:pt x="314" y="0"/>
                  </a:cubicBezTo>
                  <a:cubicBezTo>
                    <a:pt x="211" y="0"/>
                    <a:pt x="129" y="83"/>
                    <a:pt x="129" y="185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20" y="185"/>
                    <a:pt x="110" y="184"/>
                    <a:pt x="101" y="184"/>
                  </a:cubicBezTo>
                  <a:cubicBezTo>
                    <a:pt x="45" y="184"/>
                    <a:pt x="0" y="229"/>
                    <a:pt x="0" y="284"/>
                  </a:cubicBezTo>
                  <a:cubicBezTo>
                    <a:pt x="0" y="340"/>
                    <a:pt x="45" y="385"/>
                    <a:pt x="101" y="385"/>
                  </a:cubicBezTo>
                  <a:cubicBezTo>
                    <a:pt x="110" y="385"/>
                    <a:pt x="584" y="385"/>
                    <a:pt x="602" y="385"/>
                  </a:cubicBezTo>
                  <a:cubicBezTo>
                    <a:pt x="679" y="385"/>
                    <a:pt x="740" y="323"/>
                    <a:pt x="740" y="247"/>
                  </a:cubicBezTo>
                  <a:cubicBezTo>
                    <a:pt x="740" y="171"/>
                    <a:pt x="679" y="109"/>
                    <a:pt x="602" y="10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Freeform 170">
              <a:extLst>
                <a:ext uri="{FF2B5EF4-FFF2-40B4-BE49-F238E27FC236}">
                  <a16:creationId xmlns:a16="http://schemas.microsoft.com/office/drawing/2014/main" id="{96730711-5F6D-4805-935F-24600506084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192175" y="3562350"/>
              <a:ext cx="1163638" cy="428625"/>
            </a:xfrm>
            <a:custGeom>
              <a:avLst/>
              <a:gdLst>
                <a:gd name="T0" fmla="*/ 632 w 737"/>
                <a:gd name="T1" fmla="*/ 0 h 272"/>
                <a:gd name="T2" fmla="*/ 632 w 737"/>
                <a:gd name="T3" fmla="*/ 42 h 272"/>
                <a:gd name="T4" fmla="*/ 481 w 737"/>
                <a:gd name="T5" fmla="*/ 193 h 272"/>
                <a:gd name="T6" fmla="*/ 0 w 737"/>
                <a:gd name="T7" fmla="*/ 193 h 272"/>
                <a:gd name="T8" fmla="*/ 98 w 737"/>
                <a:gd name="T9" fmla="*/ 272 h 272"/>
                <a:gd name="T10" fmla="*/ 599 w 737"/>
                <a:gd name="T11" fmla="*/ 272 h 272"/>
                <a:gd name="T12" fmla="*/ 737 w 737"/>
                <a:gd name="T13" fmla="*/ 134 h 272"/>
                <a:gd name="T14" fmla="*/ 632 w 737"/>
                <a:gd name="T15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7" h="272">
                  <a:moveTo>
                    <a:pt x="632" y="0"/>
                  </a:moveTo>
                  <a:cubicBezTo>
                    <a:pt x="632" y="42"/>
                    <a:pt x="632" y="42"/>
                    <a:pt x="632" y="42"/>
                  </a:cubicBezTo>
                  <a:cubicBezTo>
                    <a:pt x="632" y="125"/>
                    <a:pt x="564" y="193"/>
                    <a:pt x="481" y="193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9" y="238"/>
                    <a:pt x="50" y="272"/>
                    <a:pt x="98" y="272"/>
                  </a:cubicBezTo>
                  <a:cubicBezTo>
                    <a:pt x="107" y="272"/>
                    <a:pt x="581" y="272"/>
                    <a:pt x="599" y="272"/>
                  </a:cubicBezTo>
                  <a:cubicBezTo>
                    <a:pt x="676" y="272"/>
                    <a:pt x="737" y="210"/>
                    <a:pt x="737" y="134"/>
                  </a:cubicBezTo>
                  <a:cubicBezTo>
                    <a:pt x="737" y="69"/>
                    <a:pt x="692" y="14"/>
                    <a:pt x="632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171">
              <a:extLst>
                <a:ext uri="{FF2B5EF4-FFF2-40B4-BE49-F238E27FC236}">
                  <a16:creationId xmlns:a16="http://schemas.microsoft.com/office/drawing/2014/main" id="{1680A062-3222-4897-B1BA-29272C4023F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254087" y="3316287"/>
              <a:ext cx="901700" cy="825500"/>
            </a:xfrm>
            <a:custGeom>
              <a:avLst/>
              <a:gdLst>
                <a:gd name="T0" fmla="*/ 229 w 571"/>
                <a:gd name="T1" fmla="*/ 523 h 523"/>
                <a:gd name="T2" fmla="*/ 226 w 571"/>
                <a:gd name="T3" fmla="*/ 522 h 523"/>
                <a:gd name="T4" fmla="*/ 223 w 571"/>
                <a:gd name="T5" fmla="*/ 517 h 523"/>
                <a:gd name="T6" fmla="*/ 265 w 571"/>
                <a:gd name="T7" fmla="*/ 228 h 523"/>
                <a:gd name="T8" fmla="*/ 0 w 571"/>
                <a:gd name="T9" fmla="*/ 72 h 523"/>
                <a:gd name="T10" fmla="*/ 6 w 571"/>
                <a:gd name="T11" fmla="*/ 62 h 523"/>
                <a:gd name="T12" fmla="*/ 275 w 571"/>
                <a:gd name="T13" fmla="*/ 220 h 523"/>
                <a:gd name="T14" fmla="*/ 277 w 571"/>
                <a:gd name="T15" fmla="*/ 226 h 523"/>
                <a:gd name="T16" fmla="*/ 237 w 571"/>
                <a:gd name="T17" fmla="*/ 505 h 523"/>
                <a:gd name="T18" fmla="*/ 559 w 571"/>
                <a:gd name="T19" fmla="*/ 288 h 523"/>
                <a:gd name="T20" fmla="*/ 479 w 571"/>
                <a:gd name="T21" fmla="*/ 3 h 523"/>
                <a:gd name="T22" fmla="*/ 490 w 571"/>
                <a:gd name="T23" fmla="*/ 0 h 523"/>
                <a:gd name="T24" fmla="*/ 571 w 571"/>
                <a:gd name="T25" fmla="*/ 289 h 523"/>
                <a:gd name="T26" fmla="*/ 568 w 571"/>
                <a:gd name="T27" fmla="*/ 296 h 523"/>
                <a:gd name="T28" fmla="*/ 232 w 571"/>
                <a:gd name="T29" fmla="*/ 522 h 523"/>
                <a:gd name="T30" fmla="*/ 229 w 571"/>
                <a:gd name="T31" fmla="*/ 523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71" h="523">
                  <a:moveTo>
                    <a:pt x="229" y="523"/>
                  </a:moveTo>
                  <a:cubicBezTo>
                    <a:pt x="228" y="523"/>
                    <a:pt x="227" y="523"/>
                    <a:pt x="226" y="522"/>
                  </a:cubicBezTo>
                  <a:cubicBezTo>
                    <a:pt x="224" y="521"/>
                    <a:pt x="223" y="519"/>
                    <a:pt x="223" y="517"/>
                  </a:cubicBezTo>
                  <a:cubicBezTo>
                    <a:pt x="265" y="228"/>
                    <a:pt x="265" y="228"/>
                    <a:pt x="265" y="228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7" y="221"/>
                    <a:pt x="278" y="223"/>
                    <a:pt x="277" y="226"/>
                  </a:cubicBezTo>
                  <a:cubicBezTo>
                    <a:pt x="237" y="505"/>
                    <a:pt x="237" y="505"/>
                    <a:pt x="237" y="505"/>
                  </a:cubicBezTo>
                  <a:cubicBezTo>
                    <a:pt x="559" y="288"/>
                    <a:pt x="559" y="288"/>
                    <a:pt x="559" y="288"/>
                  </a:cubicBezTo>
                  <a:cubicBezTo>
                    <a:pt x="479" y="3"/>
                    <a:pt x="479" y="3"/>
                    <a:pt x="479" y="3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571" y="289"/>
                    <a:pt x="571" y="289"/>
                    <a:pt x="571" y="289"/>
                  </a:cubicBezTo>
                  <a:cubicBezTo>
                    <a:pt x="571" y="292"/>
                    <a:pt x="571" y="294"/>
                    <a:pt x="568" y="296"/>
                  </a:cubicBezTo>
                  <a:cubicBezTo>
                    <a:pt x="232" y="522"/>
                    <a:pt x="232" y="522"/>
                    <a:pt x="232" y="522"/>
                  </a:cubicBezTo>
                  <a:cubicBezTo>
                    <a:pt x="231" y="523"/>
                    <a:pt x="230" y="523"/>
                    <a:pt x="229" y="523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Oval 172">
              <a:extLst>
                <a:ext uri="{FF2B5EF4-FFF2-40B4-BE49-F238E27FC236}">
                  <a16:creationId xmlns:a16="http://schemas.microsoft.com/office/drawing/2014/main" id="{DC07135E-E783-4E3F-8DB4-4A04A29DB9A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573175" y="3178175"/>
              <a:ext cx="152400" cy="152400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Freeform 173">
              <a:extLst>
                <a:ext uri="{FF2B5EF4-FFF2-40B4-BE49-F238E27FC236}">
                  <a16:creationId xmlns:a16="http://schemas.microsoft.com/office/drawing/2014/main" id="{DDC212DB-372A-4A61-8A61-9A4DE49A5B1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679537" y="3662362"/>
              <a:ext cx="469900" cy="122238"/>
            </a:xfrm>
            <a:custGeom>
              <a:avLst/>
              <a:gdLst>
                <a:gd name="T0" fmla="*/ 293 w 296"/>
                <a:gd name="T1" fmla="*/ 77 h 77"/>
                <a:gd name="T2" fmla="*/ 0 w 296"/>
                <a:gd name="T3" fmla="*/ 12 h 77"/>
                <a:gd name="T4" fmla="*/ 3 w 296"/>
                <a:gd name="T5" fmla="*/ 0 h 77"/>
                <a:gd name="T6" fmla="*/ 296 w 296"/>
                <a:gd name="T7" fmla="*/ 66 h 77"/>
                <a:gd name="T8" fmla="*/ 293 w 296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6" h="77">
                  <a:moveTo>
                    <a:pt x="293" y="77"/>
                  </a:moveTo>
                  <a:lnTo>
                    <a:pt x="0" y="12"/>
                  </a:lnTo>
                  <a:lnTo>
                    <a:pt x="3" y="0"/>
                  </a:lnTo>
                  <a:lnTo>
                    <a:pt x="296" y="66"/>
                  </a:lnTo>
                  <a:lnTo>
                    <a:pt x="293" y="77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174">
              <a:extLst>
                <a:ext uri="{FF2B5EF4-FFF2-40B4-BE49-F238E27FC236}">
                  <a16:creationId xmlns:a16="http://schemas.microsoft.com/office/drawing/2014/main" id="{355F85E2-1C7B-424F-BB98-3DDFD4108F6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250912" y="3417887"/>
              <a:ext cx="373063" cy="719138"/>
            </a:xfrm>
            <a:custGeom>
              <a:avLst/>
              <a:gdLst>
                <a:gd name="T0" fmla="*/ 225 w 235"/>
                <a:gd name="T1" fmla="*/ 453 h 453"/>
                <a:gd name="T2" fmla="*/ 0 w 235"/>
                <a:gd name="T3" fmla="*/ 5 h 453"/>
                <a:gd name="T4" fmla="*/ 10 w 235"/>
                <a:gd name="T5" fmla="*/ 0 h 453"/>
                <a:gd name="T6" fmla="*/ 235 w 235"/>
                <a:gd name="T7" fmla="*/ 448 h 453"/>
                <a:gd name="T8" fmla="*/ 225 w 235"/>
                <a:gd name="T9" fmla="*/ 453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453">
                  <a:moveTo>
                    <a:pt x="225" y="453"/>
                  </a:moveTo>
                  <a:lnTo>
                    <a:pt x="0" y="5"/>
                  </a:lnTo>
                  <a:lnTo>
                    <a:pt x="10" y="0"/>
                  </a:lnTo>
                  <a:lnTo>
                    <a:pt x="235" y="448"/>
                  </a:lnTo>
                  <a:lnTo>
                    <a:pt x="225" y="453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175">
              <a:extLst>
                <a:ext uri="{FF2B5EF4-FFF2-40B4-BE49-F238E27FC236}">
                  <a16:creationId xmlns:a16="http://schemas.microsoft.com/office/drawing/2014/main" id="{4E9B8993-4B5F-4482-BC65-FB2B305734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671600" y="3336925"/>
              <a:ext cx="328613" cy="344488"/>
            </a:xfrm>
            <a:custGeom>
              <a:avLst/>
              <a:gdLst>
                <a:gd name="T0" fmla="*/ 7 w 208"/>
                <a:gd name="T1" fmla="*/ 218 h 218"/>
                <a:gd name="T2" fmla="*/ 3 w 208"/>
                <a:gd name="T3" fmla="*/ 216 h 218"/>
                <a:gd name="T4" fmla="*/ 3 w 208"/>
                <a:gd name="T5" fmla="*/ 208 h 218"/>
                <a:gd name="T6" fmla="*/ 198 w 208"/>
                <a:gd name="T7" fmla="*/ 3 h 218"/>
                <a:gd name="T8" fmla="*/ 206 w 208"/>
                <a:gd name="T9" fmla="*/ 2 h 218"/>
                <a:gd name="T10" fmla="*/ 206 w 208"/>
                <a:gd name="T11" fmla="*/ 11 h 218"/>
                <a:gd name="T12" fmla="*/ 11 w 208"/>
                <a:gd name="T13" fmla="*/ 216 h 218"/>
                <a:gd name="T14" fmla="*/ 7 w 208"/>
                <a:gd name="T1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8" h="218">
                  <a:moveTo>
                    <a:pt x="7" y="218"/>
                  </a:moveTo>
                  <a:cubicBezTo>
                    <a:pt x="5" y="218"/>
                    <a:pt x="4" y="217"/>
                    <a:pt x="3" y="216"/>
                  </a:cubicBezTo>
                  <a:cubicBezTo>
                    <a:pt x="0" y="214"/>
                    <a:pt x="0" y="210"/>
                    <a:pt x="3" y="208"/>
                  </a:cubicBezTo>
                  <a:cubicBezTo>
                    <a:pt x="198" y="3"/>
                    <a:pt x="198" y="3"/>
                    <a:pt x="198" y="3"/>
                  </a:cubicBezTo>
                  <a:cubicBezTo>
                    <a:pt x="200" y="0"/>
                    <a:pt x="204" y="0"/>
                    <a:pt x="206" y="2"/>
                  </a:cubicBezTo>
                  <a:cubicBezTo>
                    <a:pt x="208" y="5"/>
                    <a:pt x="208" y="8"/>
                    <a:pt x="206" y="11"/>
                  </a:cubicBezTo>
                  <a:cubicBezTo>
                    <a:pt x="11" y="216"/>
                    <a:pt x="11" y="216"/>
                    <a:pt x="11" y="216"/>
                  </a:cubicBezTo>
                  <a:cubicBezTo>
                    <a:pt x="10" y="217"/>
                    <a:pt x="8" y="218"/>
                    <a:pt x="7" y="218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Oval 176">
              <a:extLst>
                <a:ext uri="{FF2B5EF4-FFF2-40B4-BE49-F238E27FC236}">
                  <a16:creationId xmlns:a16="http://schemas.microsoft.com/office/drawing/2014/main" id="{D543929A-3C1A-4159-B6E1-53CAFE4CA9B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43062" y="3243262"/>
              <a:ext cx="152400" cy="152400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Freeform 177">
              <a:extLst>
                <a:ext uri="{FF2B5EF4-FFF2-40B4-BE49-F238E27FC236}">
                  <a16:creationId xmlns:a16="http://schemas.microsoft.com/office/drawing/2014/main" id="{52EF6EA1-BDDB-4DFD-90A1-E868CFAC45B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076412" y="3773487"/>
              <a:ext cx="79375" cy="247650"/>
            </a:xfrm>
            <a:custGeom>
              <a:avLst/>
              <a:gdLst>
                <a:gd name="T0" fmla="*/ 11 w 50"/>
                <a:gd name="T1" fmla="*/ 156 h 156"/>
                <a:gd name="T2" fmla="*/ 0 w 50"/>
                <a:gd name="T3" fmla="*/ 153 h 156"/>
                <a:gd name="T4" fmla="*/ 39 w 50"/>
                <a:gd name="T5" fmla="*/ 0 h 156"/>
                <a:gd name="T6" fmla="*/ 50 w 50"/>
                <a:gd name="T7" fmla="*/ 3 h 156"/>
                <a:gd name="T8" fmla="*/ 11 w 50"/>
                <a:gd name="T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156">
                  <a:moveTo>
                    <a:pt x="11" y="156"/>
                  </a:moveTo>
                  <a:lnTo>
                    <a:pt x="0" y="153"/>
                  </a:lnTo>
                  <a:lnTo>
                    <a:pt x="39" y="0"/>
                  </a:lnTo>
                  <a:lnTo>
                    <a:pt x="50" y="3"/>
                  </a:lnTo>
                  <a:lnTo>
                    <a:pt x="11" y="156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Freeform 178">
              <a:extLst>
                <a:ext uri="{FF2B5EF4-FFF2-40B4-BE49-F238E27FC236}">
                  <a16:creationId xmlns:a16="http://schemas.microsoft.com/office/drawing/2014/main" id="{C38BEEBC-F362-4F5D-83E7-9D0FA0EF07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676362" y="3665537"/>
              <a:ext cx="415925" cy="360363"/>
            </a:xfrm>
            <a:custGeom>
              <a:avLst/>
              <a:gdLst>
                <a:gd name="T0" fmla="*/ 254 w 262"/>
                <a:gd name="T1" fmla="*/ 227 h 227"/>
                <a:gd name="T2" fmla="*/ 0 w 262"/>
                <a:gd name="T3" fmla="*/ 8 h 227"/>
                <a:gd name="T4" fmla="*/ 7 w 262"/>
                <a:gd name="T5" fmla="*/ 0 h 227"/>
                <a:gd name="T6" fmla="*/ 262 w 262"/>
                <a:gd name="T7" fmla="*/ 218 h 227"/>
                <a:gd name="T8" fmla="*/ 254 w 262"/>
                <a:gd name="T9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7">
                  <a:moveTo>
                    <a:pt x="254" y="227"/>
                  </a:moveTo>
                  <a:lnTo>
                    <a:pt x="0" y="8"/>
                  </a:lnTo>
                  <a:lnTo>
                    <a:pt x="7" y="0"/>
                  </a:lnTo>
                  <a:lnTo>
                    <a:pt x="262" y="218"/>
                  </a:lnTo>
                  <a:lnTo>
                    <a:pt x="254" y="227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Oval 179">
              <a:extLst>
                <a:ext uri="{FF2B5EF4-FFF2-40B4-BE49-F238E27FC236}">
                  <a16:creationId xmlns:a16="http://schemas.microsoft.com/office/drawing/2014/main" id="{581B0553-A08F-485D-A7E5-99AEC0308E8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81062" y="3344862"/>
              <a:ext cx="153988" cy="153988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Oval 180">
              <a:extLst>
                <a:ext uri="{FF2B5EF4-FFF2-40B4-BE49-F238E27FC236}">
                  <a16:creationId xmlns:a16="http://schemas.microsoft.com/office/drawing/2014/main" id="{2B7FAD28-D8BE-4F2F-8780-3B0114AED19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0070062" y="3698875"/>
              <a:ext cx="153988" cy="152400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Oval 181">
              <a:extLst>
                <a:ext uri="{FF2B5EF4-FFF2-40B4-BE49-F238E27FC236}">
                  <a16:creationId xmlns:a16="http://schemas.microsoft.com/office/drawing/2014/main" id="{5A209AA7-29AE-42CA-89B1-87F883A3D53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0008150" y="3941762"/>
              <a:ext cx="153988" cy="153988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3" name="Oval 182">
              <a:extLst>
                <a:ext uri="{FF2B5EF4-FFF2-40B4-BE49-F238E27FC236}">
                  <a16:creationId xmlns:a16="http://schemas.microsoft.com/office/drawing/2014/main" id="{32061F00-5E18-4FAF-9169-C5327604187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538250" y="4057650"/>
              <a:ext cx="153988" cy="152400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Oval 183">
              <a:extLst>
                <a:ext uri="{FF2B5EF4-FFF2-40B4-BE49-F238E27FC236}">
                  <a16:creationId xmlns:a16="http://schemas.microsoft.com/office/drawing/2014/main" id="{350F3298-BB2B-49FE-88AC-1BA0FE115A0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606512" y="3594100"/>
              <a:ext cx="152400" cy="153988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5" name="Freeform 184">
              <a:extLst>
                <a:ext uri="{FF2B5EF4-FFF2-40B4-BE49-F238E27FC236}">
                  <a16:creationId xmlns:a16="http://schemas.microsoft.com/office/drawing/2014/main" id="{E7FC6F64-3D86-4F1B-837F-87CA3B5DBCE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679537" y="2649537"/>
              <a:ext cx="123825" cy="122238"/>
            </a:xfrm>
            <a:custGeom>
              <a:avLst/>
              <a:gdLst>
                <a:gd name="T0" fmla="*/ 39 w 78"/>
                <a:gd name="T1" fmla="*/ 14 h 78"/>
                <a:gd name="T2" fmla="*/ 64 w 78"/>
                <a:gd name="T3" fmla="*/ 39 h 78"/>
                <a:gd name="T4" fmla="*/ 39 w 78"/>
                <a:gd name="T5" fmla="*/ 64 h 78"/>
                <a:gd name="T6" fmla="*/ 14 w 78"/>
                <a:gd name="T7" fmla="*/ 39 h 78"/>
                <a:gd name="T8" fmla="*/ 39 w 78"/>
                <a:gd name="T9" fmla="*/ 14 h 78"/>
                <a:gd name="T10" fmla="*/ 39 w 78"/>
                <a:gd name="T11" fmla="*/ 0 h 78"/>
                <a:gd name="T12" fmla="*/ 0 w 78"/>
                <a:gd name="T13" fmla="*/ 39 h 78"/>
                <a:gd name="T14" fmla="*/ 39 w 78"/>
                <a:gd name="T15" fmla="*/ 78 h 78"/>
                <a:gd name="T16" fmla="*/ 78 w 78"/>
                <a:gd name="T17" fmla="*/ 39 h 78"/>
                <a:gd name="T18" fmla="*/ 39 w 78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39" y="14"/>
                  </a:moveTo>
                  <a:cubicBezTo>
                    <a:pt x="53" y="14"/>
                    <a:pt x="64" y="25"/>
                    <a:pt x="64" y="39"/>
                  </a:cubicBezTo>
                  <a:cubicBezTo>
                    <a:pt x="64" y="53"/>
                    <a:pt x="53" y="64"/>
                    <a:pt x="39" y="64"/>
                  </a:cubicBezTo>
                  <a:cubicBezTo>
                    <a:pt x="25" y="64"/>
                    <a:pt x="14" y="53"/>
                    <a:pt x="14" y="39"/>
                  </a:cubicBezTo>
                  <a:cubicBezTo>
                    <a:pt x="14" y="25"/>
                    <a:pt x="25" y="14"/>
                    <a:pt x="39" y="14"/>
                  </a:cubicBezTo>
                  <a:moveTo>
                    <a:pt x="39" y="0"/>
                  </a:moveTo>
                  <a:cubicBezTo>
                    <a:pt x="17" y="0"/>
                    <a:pt x="0" y="17"/>
                    <a:pt x="0" y="39"/>
                  </a:cubicBezTo>
                  <a:cubicBezTo>
                    <a:pt x="0" y="60"/>
                    <a:pt x="17" y="78"/>
                    <a:pt x="39" y="78"/>
                  </a:cubicBezTo>
                  <a:cubicBezTo>
                    <a:pt x="60" y="78"/>
                    <a:pt x="78" y="60"/>
                    <a:pt x="78" y="39"/>
                  </a:cubicBezTo>
                  <a:cubicBezTo>
                    <a:pt x="78" y="17"/>
                    <a:pt x="60" y="0"/>
                    <a:pt x="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Freeform 185">
              <a:extLst>
                <a:ext uri="{FF2B5EF4-FFF2-40B4-BE49-F238E27FC236}">
                  <a16:creationId xmlns:a16="http://schemas.microsoft.com/office/drawing/2014/main" id="{0CFCE7DC-45E9-4E67-AFBB-94D9E15BFB89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496975" y="2598737"/>
              <a:ext cx="123825" cy="123825"/>
            </a:xfrm>
            <a:custGeom>
              <a:avLst/>
              <a:gdLst>
                <a:gd name="T0" fmla="*/ 39 w 78"/>
                <a:gd name="T1" fmla="*/ 14 h 78"/>
                <a:gd name="T2" fmla="*/ 64 w 78"/>
                <a:gd name="T3" fmla="*/ 39 h 78"/>
                <a:gd name="T4" fmla="*/ 39 w 78"/>
                <a:gd name="T5" fmla="*/ 64 h 78"/>
                <a:gd name="T6" fmla="*/ 14 w 78"/>
                <a:gd name="T7" fmla="*/ 39 h 78"/>
                <a:gd name="T8" fmla="*/ 39 w 78"/>
                <a:gd name="T9" fmla="*/ 14 h 78"/>
                <a:gd name="T10" fmla="*/ 39 w 78"/>
                <a:gd name="T11" fmla="*/ 0 h 78"/>
                <a:gd name="T12" fmla="*/ 0 w 78"/>
                <a:gd name="T13" fmla="*/ 39 h 78"/>
                <a:gd name="T14" fmla="*/ 39 w 78"/>
                <a:gd name="T15" fmla="*/ 78 h 78"/>
                <a:gd name="T16" fmla="*/ 78 w 78"/>
                <a:gd name="T17" fmla="*/ 39 h 78"/>
                <a:gd name="T18" fmla="*/ 39 w 78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39" y="14"/>
                  </a:moveTo>
                  <a:cubicBezTo>
                    <a:pt x="53" y="14"/>
                    <a:pt x="64" y="25"/>
                    <a:pt x="64" y="39"/>
                  </a:cubicBezTo>
                  <a:cubicBezTo>
                    <a:pt x="64" y="53"/>
                    <a:pt x="53" y="64"/>
                    <a:pt x="39" y="64"/>
                  </a:cubicBezTo>
                  <a:cubicBezTo>
                    <a:pt x="25" y="64"/>
                    <a:pt x="14" y="53"/>
                    <a:pt x="14" y="39"/>
                  </a:cubicBezTo>
                  <a:cubicBezTo>
                    <a:pt x="14" y="25"/>
                    <a:pt x="25" y="14"/>
                    <a:pt x="39" y="14"/>
                  </a:cubicBezTo>
                  <a:moveTo>
                    <a:pt x="39" y="0"/>
                  </a:moveTo>
                  <a:cubicBezTo>
                    <a:pt x="17" y="0"/>
                    <a:pt x="0" y="17"/>
                    <a:pt x="0" y="39"/>
                  </a:cubicBezTo>
                  <a:cubicBezTo>
                    <a:pt x="0" y="60"/>
                    <a:pt x="17" y="78"/>
                    <a:pt x="39" y="78"/>
                  </a:cubicBezTo>
                  <a:cubicBezTo>
                    <a:pt x="60" y="78"/>
                    <a:pt x="78" y="60"/>
                    <a:pt x="78" y="39"/>
                  </a:cubicBezTo>
                  <a:cubicBezTo>
                    <a:pt x="78" y="17"/>
                    <a:pt x="60" y="0"/>
                    <a:pt x="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Freeform 186">
              <a:extLst>
                <a:ext uri="{FF2B5EF4-FFF2-40B4-BE49-F238E27FC236}">
                  <a16:creationId xmlns:a16="http://schemas.microsoft.com/office/drawing/2014/main" id="{60D6FFA2-7A43-4FE5-8054-6EFFC3166AB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433475" y="2747962"/>
              <a:ext cx="433388" cy="177800"/>
            </a:xfrm>
            <a:custGeom>
              <a:avLst/>
              <a:gdLst>
                <a:gd name="T0" fmla="*/ 238 w 274"/>
                <a:gd name="T1" fmla="*/ 32 h 112"/>
                <a:gd name="T2" fmla="*/ 157 w 274"/>
                <a:gd name="T3" fmla="*/ 32 h 112"/>
                <a:gd name="T4" fmla="*/ 122 w 274"/>
                <a:gd name="T5" fmla="*/ 0 h 112"/>
                <a:gd name="T6" fmla="*/ 36 w 274"/>
                <a:gd name="T7" fmla="*/ 0 h 112"/>
                <a:gd name="T8" fmla="*/ 0 w 274"/>
                <a:gd name="T9" fmla="*/ 36 h 112"/>
                <a:gd name="T10" fmla="*/ 0 w 274"/>
                <a:gd name="T11" fmla="*/ 80 h 112"/>
                <a:gd name="T12" fmla="*/ 116 w 274"/>
                <a:gd name="T13" fmla="*/ 80 h 112"/>
                <a:gd name="T14" fmla="*/ 116 w 274"/>
                <a:gd name="T15" fmla="*/ 112 h 112"/>
                <a:gd name="T16" fmla="*/ 274 w 274"/>
                <a:gd name="T17" fmla="*/ 112 h 112"/>
                <a:gd name="T18" fmla="*/ 274 w 274"/>
                <a:gd name="T19" fmla="*/ 68 h 112"/>
                <a:gd name="T20" fmla="*/ 238 w 274"/>
                <a:gd name="T21" fmla="*/ 32 h 112"/>
                <a:gd name="T22" fmla="*/ 116 w 274"/>
                <a:gd name="T23" fmla="*/ 66 h 112"/>
                <a:gd name="T24" fmla="*/ 14 w 274"/>
                <a:gd name="T25" fmla="*/ 66 h 112"/>
                <a:gd name="T26" fmla="*/ 14 w 274"/>
                <a:gd name="T27" fmla="*/ 36 h 112"/>
                <a:gd name="T28" fmla="*/ 36 w 274"/>
                <a:gd name="T29" fmla="*/ 14 h 112"/>
                <a:gd name="T30" fmla="*/ 122 w 274"/>
                <a:gd name="T31" fmla="*/ 14 h 112"/>
                <a:gd name="T32" fmla="*/ 144 w 274"/>
                <a:gd name="T33" fmla="*/ 33 h 112"/>
                <a:gd name="T34" fmla="*/ 116 w 274"/>
                <a:gd name="T35" fmla="*/ 66 h 112"/>
                <a:gd name="T36" fmla="*/ 260 w 274"/>
                <a:gd name="T37" fmla="*/ 98 h 112"/>
                <a:gd name="T38" fmla="*/ 130 w 274"/>
                <a:gd name="T39" fmla="*/ 98 h 112"/>
                <a:gd name="T40" fmla="*/ 130 w 274"/>
                <a:gd name="T41" fmla="*/ 68 h 112"/>
                <a:gd name="T42" fmla="*/ 152 w 274"/>
                <a:gd name="T43" fmla="*/ 46 h 112"/>
                <a:gd name="T44" fmla="*/ 238 w 274"/>
                <a:gd name="T45" fmla="*/ 46 h 112"/>
                <a:gd name="T46" fmla="*/ 260 w 274"/>
                <a:gd name="T47" fmla="*/ 68 h 112"/>
                <a:gd name="T48" fmla="*/ 260 w 274"/>
                <a:gd name="T49" fmla="*/ 9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74" h="112">
                  <a:moveTo>
                    <a:pt x="238" y="32"/>
                  </a:moveTo>
                  <a:cubicBezTo>
                    <a:pt x="157" y="32"/>
                    <a:pt x="157" y="32"/>
                    <a:pt x="157" y="32"/>
                  </a:cubicBezTo>
                  <a:cubicBezTo>
                    <a:pt x="155" y="14"/>
                    <a:pt x="140" y="0"/>
                    <a:pt x="122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16" y="80"/>
                    <a:pt x="116" y="80"/>
                    <a:pt x="116" y="80"/>
                  </a:cubicBezTo>
                  <a:cubicBezTo>
                    <a:pt x="116" y="112"/>
                    <a:pt x="116" y="112"/>
                    <a:pt x="116" y="112"/>
                  </a:cubicBezTo>
                  <a:cubicBezTo>
                    <a:pt x="274" y="112"/>
                    <a:pt x="274" y="112"/>
                    <a:pt x="274" y="112"/>
                  </a:cubicBezTo>
                  <a:cubicBezTo>
                    <a:pt x="274" y="68"/>
                    <a:pt x="274" y="68"/>
                    <a:pt x="274" y="68"/>
                  </a:cubicBezTo>
                  <a:cubicBezTo>
                    <a:pt x="274" y="48"/>
                    <a:pt x="258" y="32"/>
                    <a:pt x="238" y="32"/>
                  </a:cubicBezTo>
                  <a:close/>
                  <a:moveTo>
                    <a:pt x="116" y="66"/>
                  </a:moveTo>
                  <a:cubicBezTo>
                    <a:pt x="14" y="66"/>
                    <a:pt x="14" y="66"/>
                    <a:pt x="14" y="6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24"/>
                    <a:pt x="24" y="14"/>
                    <a:pt x="36" y="14"/>
                  </a:cubicBezTo>
                  <a:cubicBezTo>
                    <a:pt x="122" y="14"/>
                    <a:pt x="122" y="14"/>
                    <a:pt x="122" y="14"/>
                  </a:cubicBezTo>
                  <a:cubicBezTo>
                    <a:pt x="133" y="14"/>
                    <a:pt x="142" y="22"/>
                    <a:pt x="144" y="33"/>
                  </a:cubicBezTo>
                  <a:cubicBezTo>
                    <a:pt x="128" y="37"/>
                    <a:pt x="117" y="50"/>
                    <a:pt x="116" y="66"/>
                  </a:cubicBezTo>
                  <a:close/>
                  <a:moveTo>
                    <a:pt x="260" y="98"/>
                  </a:moveTo>
                  <a:cubicBezTo>
                    <a:pt x="130" y="98"/>
                    <a:pt x="130" y="98"/>
                    <a:pt x="130" y="98"/>
                  </a:cubicBezTo>
                  <a:cubicBezTo>
                    <a:pt x="130" y="68"/>
                    <a:pt x="130" y="68"/>
                    <a:pt x="130" y="68"/>
                  </a:cubicBezTo>
                  <a:cubicBezTo>
                    <a:pt x="130" y="56"/>
                    <a:pt x="140" y="46"/>
                    <a:pt x="152" y="46"/>
                  </a:cubicBezTo>
                  <a:cubicBezTo>
                    <a:pt x="238" y="46"/>
                    <a:pt x="238" y="46"/>
                    <a:pt x="238" y="46"/>
                  </a:cubicBezTo>
                  <a:cubicBezTo>
                    <a:pt x="250" y="46"/>
                    <a:pt x="260" y="56"/>
                    <a:pt x="260" y="68"/>
                  </a:cubicBezTo>
                  <a:lnTo>
                    <a:pt x="260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F065CA43-420E-491A-8390-CD4FA7DDAFA8}"/>
                </a:ext>
              </a:extLst>
            </p:cNvPr>
            <p:cNvGrpSpPr/>
            <p:nvPr userDrawn="1"/>
          </p:nvGrpSpPr>
          <p:grpSpPr bwMode="gray">
            <a:xfrm>
              <a:off x="10568537" y="3713162"/>
              <a:ext cx="436563" cy="442913"/>
              <a:chOff x="10568537" y="3763962"/>
              <a:chExt cx="436563" cy="442913"/>
            </a:xfrm>
          </p:grpSpPr>
          <p:sp>
            <p:nvSpPr>
              <p:cNvPr id="409" name="Freeform 187">
                <a:extLst>
                  <a:ext uri="{FF2B5EF4-FFF2-40B4-BE49-F238E27FC236}">
                    <a16:creationId xmlns:a16="http://schemas.microsoft.com/office/drawing/2014/main" id="{5445A9CA-92E8-4927-874E-B42D2EBAD94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568537" y="3824287"/>
                <a:ext cx="436563" cy="382588"/>
              </a:xfrm>
              <a:custGeom>
                <a:avLst/>
                <a:gdLst>
                  <a:gd name="T0" fmla="*/ 276 w 276"/>
                  <a:gd name="T1" fmla="*/ 106 h 243"/>
                  <a:gd name="T2" fmla="*/ 138 w 276"/>
                  <a:gd name="T3" fmla="*/ 243 h 243"/>
                  <a:gd name="T4" fmla="*/ 0 w 276"/>
                  <a:gd name="T5" fmla="*/ 106 h 243"/>
                  <a:gd name="T6" fmla="*/ 50 w 276"/>
                  <a:gd name="T7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6" h="243">
                    <a:moveTo>
                      <a:pt x="276" y="106"/>
                    </a:moveTo>
                    <a:cubicBezTo>
                      <a:pt x="276" y="182"/>
                      <a:pt x="214" y="243"/>
                      <a:pt x="138" y="243"/>
                    </a:cubicBezTo>
                    <a:cubicBezTo>
                      <a:pt x="62" y="243"/>
                      <a:pt x="0" y="182"/>
                      <a:pt x="0" y="106"/>
                    </a:cubicBezTo>
                    <a:cubicBezTo>
                      <a:pt x="0" y="63"/>
                      <a:pt x="20" y="25"/>
                      <a:pt x="50" y="0"/>
                    </a:cubicBezTo>
                  </a:path>
                </a:pathLst>
              </a:cu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Freeform 188">
                <a:extLst>
                  <a:ext uri="{FF2B5EF4-FFF2-40B4-BE49-F238E27FC236}">
                    <a16:creationId xmlns:a16="http://schemas.microsoft.com/office/drawing/2014/main" id="{FC9AA633-40BD-4DEA-9B4E-CFA49F60CE0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633625" y="3763962"/>
                <a:ext cx="153988" cy="74613"/>
              </a:xfrm>
              <a:custGeom>
                <a:avLst/>
                <a:gdLst>
                  <a:gd name="T0" fmla="*/ 8 w 97"/>
                  <a:gd name="T1" fmla="*/ 47 h 47"/>
                  <a:gd name="T2" fmla="*/ 0 w 97"/>
                  <a:gd name="T3" fmla="*/ 38 h 47"/>
                  <a:gd name="T4" fmla="*/ 97 w 97"/>
                  <a:gd name="T5" fmla="*/ 0 h 47"/>
                  <a:gd name="T6" fmla="*/ 97 w 97"/>
                  <a:gd name="T7" fmla="*/ 12 h 47"/>
                  <a:gd name="T8" fmla="*/ 8 w 97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47">
                    <a:moveTo>
                      <a:pt x="8" y="47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27" y="13"/>
                      <a:pt x="61" y="0"/>
                      <a:pt x="97" y="0"/>
                    </a:cubicBezTo>
                    <a:cubicBezTo>
                      <a:pt x="97" y="12"/>
                      <a:pt x="97" y="12"/>
                      <a:pt x="97" y="12"/>
                    </a:cubicBezTo>
                    <a:cubicBezTo>
                      <a:pt x="64" y="12"/>
                      <a:pt x="32" y="24"/>
                      <a:pt x="8" y="47"/>
                    </a:cubicBezTo>
                    <a:close/>
                  </a:path>
                </a:pathLst>
              </a:custGeom>
              <a:solidFill>
                <a:srgbClr val="0048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Freeform 189">
                <a:extLst>
                  <a:ext uri="{FF2B5EF4-FFF2-40B4-BE49-F238E27FC236}">
                    <a16:creationId xmlns:a16="http://schemas.microsoft.com/office/drawing/2014/main" id="{79785348-3CDF-4BAD-B5E1-2DB1508C5E1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787612" y="3773487"/>
                <a:ext cx="217488" cy="217488"/>
              </a:xfrm>
              <a:custGeom>
                <a:avLst/>
                <a:gdLst>
                  <a:gd name="T0" fmla="*/ 0 w 138"/>
                  <a:gd name="T1" fmla="*/ 0 h 138"/>
                  <a:gd name="T2" fmla="*/ 138 w 138"/>
                  <a:gd name="T3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8" h="138">
                    <a:moveTo>
                      <a:pt x="0" y="0"/>
                    </a:moveTo>
                    <a:cubicBezTo>
                      <a:pt x="76" y="0"/>
                      <a:pt x="138" y="62"/>
                      <a:pt x="138" y="138"/>
                    </a:cubicBezTo>
                  </a:path>
                </a:pathLst>
              </a:custGeom>
              <a:noFill/>
              <a:ln w="19050" cap="flat">
                <a:solidFill>
                  <a:srgbClr val="D2D2D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Line 190">
                <a:extLst>
                  <a:ext uri="{FF2B5EF4-FFF2-40B4-BE49-F238E27FC236}">
                    <a16:creationId xmlns:a16="http://schemas.microsoft.com/office/drawing/2014/main" id="{AC70CCCB-E3D6-4221-A031-579B5329E3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gray">
              <a:xfrm flipV="1">
                <a:off x="10717762" y="3922712"/>
                <a:ext cx="144463" cy="146050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Freeform 191">
                <a:extLst>
                  <a:ext uri="{FF2B5EF4-FFF2-40B4-BE49-F238E27FC236}">
                    <a16:creationId xmlns:a16="http://schemas.microsoft.com/office/drawing/2014/main" id="{0D85A139-F30B-495B-B00C-7FA2D4D887F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717762" y="3919537"/>
                <a:ext cx="41275" cy="66675"/>
              </a:xfrm>
              <a:custGeom>
                <a:avLst/>
                <a:gdLst>
                  <a:gd name="T0" fmla="*/ 13 w 26"/>
                  <a:gd name="T1" fmla="*/ 42 h 42"/>
                  <a:gd name="T2" fmla="*/ 13 w 26"/>
                  <a:gd name="T3" fmla="*/ 42 h 42"/>
                  <a:gd name="T4" fmla="*/ 0 w 26"/>
                  <a:gd name="T5" fmla="*/ 29 h 42"/>
                  <a:gd name="T6" fmla="*/ 0 w 26"/>
                  <a:gd name="T7" fmla="*/ 13 h 42"/>
                  <a:gd name="T8" fmla="*/ 13 w 26"/>
                  <a:gd name="T9" fmla="*/ 0 h 42"/>
                  <a:gd name="T10" fmla="*/ 13 w 26"/>
                  <a:gd name="T11" fmla="*/ 0 h 42"/>
                  <a:gd name="T12" fmla="*/ 26 w 26"/>
                  <a:gd name="T13" fmla="*/ 13 h 42"/>
                  <a:gd name="T14" fmla="*/ 26 w 26"/>
                  <a:gd name="T15" fmla="*/ 29 h 42"/>
                  <a:gd name="T16" fmla="*/ 13 w 26"/>
                  <a:gd name="T1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2">
                    <a:moveTo>
                      <a:pt x="13" y="42"/>
                    </a:moveTo>
                    <a:cubicBezTo>
                      <a:pt x="13" y="42"/>
                      <a:pt x="13" y="42"/>
                      <a:pt x="13" y="42"/>
                    </a:cubicBezTo>
                    <a:cubicBezTo>
                      <a:pt x="6" y="42"/>
                      <a:pt x="0" y="36"/>
                      <a:pt x="0" y="2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20" y="0"/>
                      <a:pt x="26" y="5"/>
                      <a:pt x="26" y="13"/>
                    </a:cubicBezTo>
                    <a:cubicBezTo>
                      <a:pt x="26" y="29"/>
                      <a:pt x="26" y="29"/>
                      <a:pt x="26" y="29"/>
                    </a:cubicBezTo>
                    <a:cubicBezTo>
                      <a:pt x="26" y="36"/>
                      <a:pt x="20" y="42"/>
                      <a:pt x="13" y="42"/>
                    </a:cubicBezTo>
                    <a:close/>
                  </a:path>
                </a:pathLst>
              </a:cu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Freeform 192">
                <a:extLst>
                  <a:ext uri="{FF2B5EF4-FFF2-40B4-BE49-F238E27FC236}">
                    <a16:creationId xmlns:a16="http://schemas.microsoft.com/office/drawing/2014/main" id="{58D69FFB-0C32-45BC-BD3E-8088717417F6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822537" y="4005262"/>
                <a:ext cx="39688" cy="68263"/>
              </a:xfrm>
              <a:custGeom>
                <a:avLst/>
                <a:gdLst>
                  <a:gd name="T0" fmla="*/ 13 w 26"/>
                  <a:gd name="T1" fmla="*/ 43 h 43"/>
                  <a:gd name="T2" fmla="*/ 13 w 26"/>
                  <a:gd name="T3" fmla="*/ 43 h 43"/>
                  <a:gd name="T4" fmla="*/ 0 w 26"/>
                  <a:gd name="T5" fmla="*/ 30 h 43"/>
                  <a:gd name="T6" fmla="*/ 0 w 26"/>
                  <a:gd name="T7" fmla="*/ 13 h 43"/>
                  <a:gd name="T8" fmla="*/ 13 w 26"/>
                  <a:gd name="T9" fmla="*/ 0 h 43"/>
                  <a:gd name="T10" fmla="*/ 13 w 26"/>
                  <a:gd name="T11" fmla="*/ 0 h 43"/>
                  <a:gd name="T12" fmla="*/ 26 w 26"/>
                  <a:gd name="T13" fmla="*/ 13 h 43"/>
                  <a:gd name="T14" fmla="*/ 26 w 26"/>
                  <a:gd name="T15" fmla="*/ 30 h 43"/>
                  <a:gd name="T16" fmla="*/ 13 w 26"/>
                  <a:gd name="T1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3">
                    <a:moveTo>
                      <a:pt x="13" y="43"/>
                    </a:moveTo>
                    <a:cubicBezTo>
                      <a:pt x="13" y="43"/>
                      <a:pt x="13" y="43"/>
                      <a:pt x="13" y="43"/>
                    </a:cubicBezTo>
                    <a:cubicBezTo>
                      <a:pt x="6" y="43"/>
                      <a:pt x="0" y="37"/>
                      <a:pt x="0" y="3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20" y="0"/>
                      <a:pt x="26" y="6"/>
                      <a:pt x="26" y="13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26" y="37"/>
                      <a:pt x="20" y="43"/>
                      <a:pt x="13" y="43"/>
                    </a:cubicBezTo>
                    <a:close/>
                  </a:path>
                </a:pathLst>
              </a:cu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15" name="Freeform 193">
              <a:extLst>
                <a:ext uri="{FF2B5EF4-FFF2-40B4-BE49-F238E27FC236}">
                  <a16:creationId xmlns:a16="http://schemas.microsoft.com/office/drawing/2014/main" id="{0D61AA53-2405-4247-BE93-747EB795E04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74762" y="5695950"/>
              <a:ext cx="422275" cy="420688"/>
            </a:xfrm>
            <a:custGeom>
              <a:avLst/>
              <a:gdLst>
                <a:gd name="T0" fmla="*/ 259 w 268"/>
                <a:gd name="T1" fmla="*/ 119 h 267"/>
                <a:gd name="T2" fmla="*/ 149 w 268"/>
                <a:gd name="T3" fmla="*/ 8 h 267"/>
                <a:gd name="T4" fmla="*/ 119 w 268"/>
                <a:gd name="T5" fmla="*/ 8 h 267"/>
                <a:gd name="T6" fmla="*/ 8 w 268"/>
                <a:gd name="T7" fmla="*/ 119 h 267"/>
                <a:gd name="T8" fmla="*/ 8 w 268"/>
                <a:gd name="T9" fmla="*/ 149 h 267"/>
                <a:gd name="T10" fmla="*/ 119 w 268"/>
                <a:gd name="T11" fmla="*/ 259 h 267"/>
                <a:gd name="T12" fmla="*/ 149 w 268"/>
                <a:gd name="T13" fmla="*/ 259 h 267"/>
                <a:gd name="T14" fmla="*/ 259 w 268"/>
                <a:gd name="T15" fmla="*/ 149 h 267"/>
                <a:gd name="T16" fmla="*/ 259 w 268"/>
                <a:gd name="T17" fmla="*/ 119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267">
                  <a:moveTo>
                    <a:pt x="259" y="119"/>
                  </a:moveTo>
                  <a:cubicBezTo>
                    <a:pt x="149" y="8"/>
                    <a:pt x="149" y="8"/>
                    <a:pt x="149" y="8"/>
                  </a:cubicBezTo>
                  <a:cubicBezTo>
                    <a:pt x="140" y="0"/>
                    <a:pt x="127" y="0"/>
                    <a:pt x="119" y="8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0" y="127"/>
                    <a:pt x="0" y="140"/>
                    <a:pt x="8" y="149"/>
                  </a:cubicBezTo>
                  <a:cubicBezTo>
                    <a:pt x="119" y="259"/>
                    <a:pt x="119" y="259"/>
                    <a:pt x="119" y="259"/>
                  </a:cubicBezTo>
                  <a:cubicBezTo>
                    <a:pt x="127" y="267"/>
                    <a:pt x="140" y="267"/>
                    <a:pt x="149" y="259"/>
                  </a:cubicBezTo>
                  <a:cubicBezTo>
                    <a:pt x="259" y="149"/>
                    <a:pt x="259" y="149"/>
                    <a:pt x="259" y="149"/>
                  </a:cubicBezTo>
                  <a:cubicBezTo>
                    <a:pt x="268" y="140"/>
                    <a:pt x="268" y="127"/>
                    <a:pt x="259" y="119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Freeform 194">
              <a:extLst>
                <a:ext uri="{FF2B5EF4-FFF2-40B4-BE49-F238E27FC236}">
                  <a16:creationId xmlns:a16="http://schemas.microsoft.com/office/drawing/2014/main" id="{A438F876-B883-4A07-A4A4-53CDCB1D893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663662" y="5786437"/>
              <a:ext cx="244475" cy="242888"/>
            </a:xfrm>
            <a:custGeom>
              <a:avLst/>
              <a:gdLst>
                <a:gd name="T0" fmla="*/ 154 w 154"/>
                <a:gd name="T1" fmla="*/ 104 h 153"/>
                <a:gd name="T2" fmla="*/ 141 w 154"/>
                <a:gd name="T3" fmla="*/ 76 h 153"/>
                <a:gd name="T4" fmla="*/ 154 w 154"/>
                <a:gd name="T5" fmla="*/ 47 h 153"/>
                <a:gd name="T6" fmla="*/ 128 w 154"/>
                <a:gd name="T7" fmla="*/ 62 h 153"/>
                <a:gd name="T8" fmla="*/ 139 w 154"/>
                <a:gd name="T9" fmla="*/ 33 h 153"/>
                <a:gd name="T10" fmla="*/ 114 w 154"/>
                <a:gd name="T11" fmla="*/ 48 h 153"/>
                <a:gd name="T12" fmla="*/ 125 w 154"/>
                <a:gd name="T13" fmla="*/ 18 h 153"/>
                <a:gd name="T14" fmla="*/ 99 w 154"/>
                <a:gd name="T15" fmla="*/ 34 h 153"/>
                <a:gd name="T16" fmla="*/ 111 w 154"/>
                <a:gd name="T17" fmla="*/ 5 h 153"/>
                <a:gd name="T18" fmla="*/ 85 w 154"/>
                <a:gd name="T19" fmla="*/ 19 h 153"/>
                <a:gd name="T20" fmla="*/ 69 w 154"/>
                <a:gd name="T21" fmla="*/ 19 h 153"/>
                <a:gd name="T22" fmla="*/ 45 w 154"/>
                <a:gd name="T23" fmla="*/ 7 h 153"/>
                <a:gd name="T24" fmla="*/ 54 w 154"/>
                <a:gd name="T25" fmla="*/ 34 h 153"/>
                <a:gd name="T26" fmla="*/ 30 w 154"/>
                <a:gd name="T27" fmla="*/ 20 h 153"/>
                <a:gd name="T28" fmla="*/ 40 w 154"/>
                <a:gd name="T29" fmla="*/ 48 h 153"/>
                <a:gd name="T30" fmla="*/ 16 w 154"/>
                <a:gd name="T31" fmla="*/ 35 h 153"/>
                <a:gd name="T32" fmla="*/ 26 w 154"/>
                <a:gd name="T33" fmla="*/ 62 h 153"/>
                <a:gd name="T34" fmla="*/ 2 w 154"/>
                <a:gd name="T35" fmla="*/ 49 h 153"/>
                <a:gd name="T36" fmla="*/ 12 w 154"/>
                <a:gd name="T37" fmla="*/ 76 h 153"/>
                <a:gd name="T38" fmla="*/ 0 w 154"/>
                <a:gd name="T39" fmla="*/ 104 h 153"/>
                <a:gd name="T40" fmla="*/ 26 w 154"/>
                <a:gd name="T41" fmla="*/ 89 h 153"/>
                <a:gd name="T42" fmla="*/ 14 w 154"/>
                <a:gd name="T43" fmla="*/ 119 h 153"/>
                <a:gd name="T44" fmla="*/ 40 w 154"/>
                <a:gd name="T45" fmla="*/ 103 h 153"/>
                <a:gd name="T46" fmla="*/ 28 w 154"/>
                <a:gd name="T47" fmla="*/ 133 h 153"/>
                <a:gd name="T48" fmla="*/ 54 w 154"/>
                <a:gd name="T49" fmla="*/ 118 h 153"/>
                <a:gd name="T50" fmla="*/ 43 w 154"/>
                <a:gd name="T51" fmla="*/ 147 h 153"/>
                <a:gd name="T52" fmla="*/ 69 w 154"/>
                <a:gd name="T53" fmla="*/ 132 h 153"/>
                <a:gd name="T54" fmla="*/ 85 w 154"/>
                <a:gd name="T55" fmla="*/ 132 h 153"/>
                <a:gd name="T56" fmla="*/ 111 w 154"/>
                <a:gd name="T57" fmla="*/ 147 h 153"/>
                <a:gd name="T58" fmla="*/ 99 w 154"/>
                <a:gd name="T59" fmla="*/ 118 h 153"/>
                <a:gd name="T60" fmla="*/ 125 w 154"/>
                <a:gd name="T61" fmla="*/ 133 h 153"/>
                <a:gd name="T62" fmla="*/ 114 w 154"/>
                <a:gd name="T63" fmla="*/ 103 h 153"/>
                <a:gd name="T64" fmla="*/ 139 w 154"/>
                <a:gd name="T65" fmla="*/ 119 h 153"/>
                <a:gd name="T66" fmla="*/ 128 w 154"/>
                <a:gd name="T67" fmla="*/ 8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4" h="153">
                  <a:moveTo>
                    <a:pt x="148" y="110"/>
                  </a:moveTo>
                  <a:lnTo>
                    <a:pt x="154" y="104"/>
                  </a:lnTo>
                  <a:lnTo>
                    <a:pt x="133" y="84"/>
                  </a:lnTo>
                  <a:lnTo>
                    <a:pt x="141" y="76"/>
                  </a:lnTo>
                  <a:lnTo>
                    <a:pt x="133" y="67"/>
                  </a:lnTo>
                  <a:lnTo>
                    <a:pt x="154" y="47"/>
                  </a:lnTo>
                  <a:lnTo>
                    <a:pt x="148" y="41"/>
                  </a:lnTo>
                  <a:lnTo>
                    <a:pt x="128" y="62"/>
                  </a:lnTo>
                  <a:lnTo>
                    <a:pt x="119" y="53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14" y="48"/>
                  </a:lnTo>
                  <a:lnTo>
                    <a:pt x="105" y="39"/>
                  </a:lnTo>
                  <a:lnTo>
                    <a:pt x="125" y="18"/>
                  </a:lnTo>
                  <a:lnTo>
                    <a:pt x="120" y="13"/>
                  </a:lnTo>
                  <a:lnTo>
                    <a:pt x="99" y="34"/>
                  </a:lnTo>
                  <a:lnTo>
                    <a:pt x="90" y="25"/>
                  </a:lnTo>
                  <a:lnTo>
                    <a:pt x="111" y="5"/>
                  </a:lnTo>
                  <a:lnTo>
                    <a:pt x="106" y="0"/>
                  </a:lnTo>
                  <a:lnTo>
                    <a:pt x="85" y="19"/>
                  </a:lnTo>
                  <a:lnTo>
                    <a:pt x="77" y="11"/>
                  </a:lnTo>
                  <a:lnTo>
                    <a:pt x="69" y="19"/>
                  </a:lnTo>
                  <a:lnTo>
                    <a:pt x="50" y="2"/>
                  </a:lnTo>
                  <a:lnTo>
                    <a:pt x="45" y="7"/>
                  </a:lnTo>
                  <a:lnTo>
                    <a:pt x="63" y="25"/>
                  </a:lnTo>
                  <a:lnTo>
                    <a:pt x="54" y="34"/>
                  </a:lnTo>
                  <a:lnTo>
                    <a:pt x="36" y="15"/>
                  </a:lnTo>
                  <a:lnTo>
                    <a:pt x="30" y="20"/>
                  </a:lnTo>
                  <a:lnTo>
                    <a:pt x="49" y="39"/>
                  </a:lnTo>
                  <a:lnTo>
                    <a:pt x="40" y="48"/>
                  </a:lnTo>
                  <a:lnTo>
                    <a:pt x="22" y="29"/>
                  </a:lnTo>
                  <a:lnTo>
                    <a:pt x="16" y="35"/>
                  </a:lnTo>
                  <a:lnTo>
                    <a:pt x="35" y="53"/>
                  </a:lnTo>
                  <a:lnTo>
                    <a:pt x="26" y="62"/>
                  </a:lnTo>
                  <a:lnTo>
                    <a:pt x="7" y="44"/>
                  </a:lnTo>
                  <a:lnTo>
                    <a:pt x="2" y="49"/>
                  </a:lnTo>
                  <a:lnTo>
                    <a:pt x="21" y="67"/>
                  </a:lnTo>
                  <a:lnTo>
                    <a:pt x="12" y="76"/>
                  </a:lnTo>
                  <a:lnTo>
                    <a:pt x="21" y="84"/>
                  </a:lnTo>
                  <a:lnTo>
                    <a:pt x="0" y="104"/>
                  </a:lnTo>
                  <a:lnTo>
                    <a:pt x="5" y="110"/>
                  </a:lnTo>
                  <a:lnTo>
                    <a:pt x="26" y="89"/>
                  </a:lnTo>
                  <a:lnTo>
                    <a:pt x="35" y="98"/>
                  </a:lnTo>
                  <a:lnTo>
                    <a:pt x="14" y="119"/>
                  </a:lnTo>
                  <a:lnTo>
                    <a:pt x="19" y="124"/>
                  </a:lnTo>
                  <a:lnTo>
                    <a:pt x="40" y="103"/>
                  </a:lnTo>
                  <a:lnTo>
                    <a:pt x="49" y="112"/>
                  </a:lnTo>
                  <a:lnTo>
                    <a:pt x="28" y="133"/>
                  </a:lnTo>
                  <a:lnTo>
                    <a:pt x="34" y="138"/>
                  </a:lnTo>
                  <a:lnTo>
                    <a:pt x="54" y="118"/>
                  </a:lnTo>
                  <a:lnTo>
                    <a:pt x="63" y="127"/>
                  </a:lnTo>
                  <a:lnTo>
                    <a:pt x="43" y="147"/>
                  </a:lnTo>
                  <a:lnTo>
                    <a:pt x="48" y="153"/>
                  </a:lnTo>
                  <a:lnTo>
                    <a:pt x="69" y="132"/>
                  </a:lnTo>
                  <a:lnTo>
                    <a:pt x="77" y="140"/>
                  </a:lnTo>
                  <a:lnTo>
                    <a:pt x="85" y="132"/>
                  </a:lnTo>
                  <a:lnTo>
                    <a:pt x="106" y="153"/>
                  </a:lnTo>
                  <a:lnTo>
                    <a:pt x="111" y="147"/>
                  </a:lnTo>
                  <a:lnTo>
                    <a:pt x="90" y="127"/>
                  </a:lnTo>
                  <a:lnTo>
                    <a:pt x="99" y="118"/>
                  </a:lnTo>
                  <a:lnTo>
                    <a:pt x="120" y="138"/>
                  </a:lnTo>
                  <a:lnTo>
                    <a:pt x="125" y="133"/>
                  </a:lnTo>
                  <a:lnTo>
                    <a:pt x="105" y="112"/>
                  </a:lnTo>
                  <a:lnTo>
                    <a:pt x="114" y="103"/>
                  </a:lnTo>
                  <a:lnTo>
                    <a:pt x="134" y="124"/>
                  </a:lnTo>
                  <a:lnTo>
                    <a:pt x="139" y="119"/>
                  </a:lnTo>
                  <a:lnTo>
                    <a:pt x="119" y="98"/>
                  </a:lnTo>
                  <a:lnTo>
                    <a:pt x="128" y="89"/>
                  </a:lnTo>
                  <a:lnTo>
                    <a:pt x="148" y="11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Freeform 195">
              <a:extLst>
                <a:ext uri="{FF2B5EF4-FFF2-40B4-BE49-F238E27FC236}">
                  <a16:creationId xmlns:a16="http://schemas.microsoft.com/office/drawing/2014/main" id="{A7205A9B-51B0-436F-9D0E-95D134FCE75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730337" y="5851525"/>
              <a:ext cx="109538" cy="109538"/>
            </a:xfrm>
            <a:custGeom>
              <a:avLst/>
              <a:gdLst>
                <a:gd name="T0" fmla="*/ 35 w 69"/>
                <a:gd name="T1" fmla="*/ 69 h 69"/>
                <a:gd name="T2" fmla="*/ 0 w 69"/>
                <a:gd name="T3" fmla="*/ 35 h 69"/>
                <a:gd name="T4" fmla="*/ 35 w 69"/>
                <a:gd name="T5" fmla="*/ 0 h 69"/>
                <a:gd name="T6" fmla="*/ 69 w 69"/>
                <a:gd name="T7" fmla="*/ 35 h 69"/>
                <a:gd name="T8" fmla="*/ 35 w 69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69">
                  <a:moveTo>
                    <a:pt x="35" y="69"/>
                  </a:moveTo>
                  <a:lnTo>
                    <a:pt x="0" y="35"/>
                  </a:lnTo>
                  <a:lnTo>
                    <a:pt x="35" y="0"/>
                  </a:lnTo>
                  <a:lnTo>
                    <a:pt x="69" y="35"/>
                  </a:lnTo>
                  <a:lnTo>
                    <a:pt x="35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Freeform 197">
              <a:extLst>
                <a:ext uri="{FF2B5EF4-FFF2-40B4-BE49-F238E27FC236}">
                  <a16:creationId xmlns:a16="http://schemas.microsoft.com/office/drawing/2014/main" id="{1E434BAE-95E6-45C3-A010-EE1A00A3B42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38112" y="2239962"/>
              <a:ext cx="1135063" cy="735013"/>
            </a:xfrm>
            <a:custGeom>
              <a:avLst/>
              <a:gdLst>
                <a:gd name="T0" fmla="*/ 719 w 719"/>
                <a:gd name="T1" fmla="*/ 0 h 465"/>
                <a:gd name="T2" fmla="*/ 0 w 719"/>
                <a:gd name="T3" fmla="*/ 465 h 465"/>
                <a:gd name="T4" fmla="*/ 23 w 719"/>
                <a:gd name="T5" fmla="*/ 465 h 465"/>
                <a:gd name="T6" fmla="*/ 719 w 719"/>
                <a:gd name="T7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9" h="465">
                  <a:moveTo>
                    <a:pt x="719" y="0"/>
                  </a:moveTo>
                  <a:cubicBezTo>
                    <a:pt x="414" y="37"/>
                    <a:pt x="152" y="214"/>
                    <a:pt x="0" y="465"/>
                  </a:cubicBezTo>
                  <a:cubicBezTo>
                    <a:pt x="8" y="465"/>
                    <a:pt x="15" y="465"/>
                    <a:pt x="23" y="465"/>
                  </a:cubicBezTo>
                  <a:cubicBezTo>
                    <a:pt x="337" y="465"/>
                    <a:pt x="606" y="273"/>
                    <a:pt x="719" y="0"/>
                  </a:cubicBezTo>
                  <a:close/>
                </a:path>
              </a:pathLst>
            </a:custGeom>
            <a:solidFill>
              <a:srgbClr val="1DB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Oval 198">
              <a:extLst>
                <a:ext uri="{FF2B5EF4-FFF2-40B4-BE49-F238E27FC236}">
                  <a16:creationId xmlns:a16="http://schemas.microsoft.com/office/drawing/2014/main" id="{405D08C0-6BEA-4F55-93BD-363974228EC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10975" y="2873375"/>
              <a:ext cx="622300" cy="622300"/>
            </a:xfrm>
            <a:prstGeom prst="ellipse">
              <a:avLst/>
            </a:pr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Oval 199">
              <a:extLst>
                <a:ext uri="{FF2B5EF4-FFF2-40B4-BE49-F238E27FC236}">
                  <a16:creationId xmlns:a16="http://schemas.microsoft.com/office/drawing/2014/main" id="{0A16D1DE-62B5-4A98-8F8B-0E394527910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41062" y="360362"/>
              <a:ext cx="735013" cy="735013"/>
            </a:xfrm>
            <a:prstGeom prst="ellipse">
              <a:avLst/>
            </a:pr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Freeform 200">
              <a:extLst>
                <a:ext uri="{FF2B5EF4-FFF2-40B4-BE49-F238E27FC236}">
                  <a16:creationId xmlns:a16="http://schemas.microsoft.com/office/drawing/2014/main" id="{A05CDE3A-755C-48D1-A39D-2BC57E33D4B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07775" y="728662"/>
              <a:ext cx="765175" cy="895350"/>
            </a:xfrm>
            <a:custGeom>
              <a:avLst/>
              <a:gdLst>
                <a:gd name="T0" fmla="*/ 176 w 484"/>
                <a:gd name="T1" fmla="*/ 568 h 568"/>
                <a:gd name="T2" fmla="*/ 217 w 484"/>
                <a:gd name="T3" fmla="*/ 286 h 568"/>
                <a:gd name="T4" fmla="*/ 170 w 484"/>
                <a:gd name="T5" fmla="*/ 233 h 568"/>
                <a:gd name="T6" fmla="*/ 0 w 484"/>
                <a:gd name="T7" fmla="*/ 233 h 568"/>
                <a:gd name="T8" fmla="*/ 233 w 484"/>
                <a:gd name="T9" fmla="*/ 0 h 568"/>
                <a:gd name="T10" fmla="*/ 233 w 484"/>
                <a:gd name="T11" fmla="*/ 136 h 568"/>
                <a:gd name="T12" fmla="*/ 306 w 484"/>
                <a:gd name="T13" fmla="*/ 175 h 568"/>
                <a:gd name="T14" fmla="*/ 484 w 484"/>
                <a:gd name="T15" fmla="*/ 62 h 568"/>
                <a:gd name="T16" fmla="*/ 369 w 484"/>
                <a:gd name="T17" fmla="*/ 508 h 568"/>
                <a:gd name="T18" fmla="*/ 176 w 484"/>
                <a:gd name="T19" fmla="*/ 568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4" h="568">
                  <a:moveTo>
                    <a:pt x="176" y="568"/>
                  </a:moveTo>
                  <a:cubicBezTo>
                    <a:pt x="217" y="286"/>
                    <a:pt x="217" y="286"/>
                    <a:pt x="217" y="286"/>
                  </a:cubicBezTo>
                  <a:cubicBezTo>
                    <a:pt x="221" y="258"/>
                    <a:pt x="199" y="233"/>
                    <a:pt x="170" y="233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233" y="173"/>
                    <a:pt x="274" y="195"/>
                    <a:pt x="306" y="175"/>
                  </a:cubicBezTo>
                  <a:cubicBezTo>
                    <a:pt x="484" y="62"/>
                    <a:pt x="484" y="62"/>
                    <a:pt x="484" y="62"/>
                  </a:cubicBezTo>
                  <a:cubicBezTo>
                    <a:pt x="369" y="508"/>
                    <a:pt x="369" y="508"/>
                    <a:pt x="369" y="508"/>
                  </a:cubicBezTo>
                  <a:lnTo>
                    <a:pt x="176" y="568"/>
                  </a:ln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Freeform 201">
              <a:extLst>
                <a:ext uri="{FF2B5EF4-FFF2-40B4-BE49-F238E27FC236}">
                  <a16:creationId xmlns:a16="http://schemas.microsoft.com/office/drawing/2014/main" id="{81EE1FB6-BDE2-41A7-B02C-D6FC3123599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23712" y="2076450"/>
              <a:ext cx="407988" cy="265113"/>
            </a:xfrm>
            <a:custGeom>
              <a:avLst/>
              <a:gdLst>
                <a:gd name="T0" fmla="*/ 243 w 259"/>
                <a:gd name="T1" fmla="*/ 0 h 168"/>
                <a:gd name="T2" fmla="*/ 16 w 259"/>
                <a:gd name="T3" fmla="*/ 0 h 168"/>
                <a:gd name="T4" fmla="*/ 0 w 259"/>
                <a:gd name="T5" fmla="*/ 16 h 168"/>
                <a:gd name="T6" fmla="*/ 0 w 259"/>
                <a:gd name="T7" fmla="*/ 168 h 168"/>
                <a:gd name="T8" fmla="*/ 259 w 259"/>
                <a:gd name="T9" fmla="*/ 168 h 168"/>
                <a:gd name="T10" fmla="*/ 259 w 259"/>
                <a:gd name="T11" fmla="*/ 16 h 168"/>
                <a:gd name="T12" fmla="*/ 243 w 259"/>
                <a:gd name="T1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9" h="168">
                  <a:moveTo>
                    <a:pt x="243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259" y="168"/>
                    <a:pt x="259" y="168"/>
                    <a:pt x="259" y="168"/>
                  </a:cubicBezTo>
                  <a:cubicBezTo>
                    <a:pt x="259" y="16"/>
                    <a:pt x="259" y="16"/>
                    <a:pt x="259" y="16"/>
                  </a:cubicBezTo>
                  <a:cubicBezTo>
                    <a:pt x="259" y="7"/>
                    <a:pt x="252" y="0"/>
                    <a:pt x="2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Freeform 202">
              <a:extLst>
                <a:ext uri="{FF2B5EF4-FFF2-40B4-BE49-F238E27FC236}">
                  <a16:creationId xmlns:a16="http://schemas.microsoft.com/office/drawing/2014/main" id="{2E6ADF5D-368A-48D3-AC55-3F614938AF4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71337" y="2076450"/>
              <a:ext cx="360363" cy="265113"/>
            </a:xfrm>
            <a:custGeom>
              <a:avLst/>
              <a:gdLst>
                <a:gd name="T0" fmla="*/ 212 w 228"/>
                <a:gd name="T1" fmla="*/ 0 h 168"/>
                <a:gd name="T2" fmla="*/ 168 w 228"/>
                <a:gd name="T3" fmla="*/ 0 h 168"/>
                <a:gd name="T4" fmla="*/ 0 w 228"/>
                <a:gd name="T5" fmla="*/ 168 h 168"/>
                <a:gd name="T6" fmla="*/ 228 w 228"/>
                <a:gd name="T7" fmla="*/ 168 h 168"/>
                <a:gd name="T8" fmla="*/ 228 w 228"/>
                <a:gd name="T9" fmla="*/ 16 h 168"/>
                <a:gd name="T10" fmla="*/ 212 w 228"/>
                <a:gd name="T11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168">
                  <a:moveTo>
                    <a:pt x="212" y="0"/>
                  </a:moveTo>
                  <a:cubicBezTo>
                    <a:pt x="168" y="0"/>
                    <a:pt x="168" y="0"/>
                    <a:pt x="168" y="0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228" y="168"/>
                    <a:pt x="228" y="168"/>
                    <a:pt x="228" y="168"/>
                  </a:cubicBezTo>
                  <a:cubicBezTo>
                    <a:pt x="228" y="16"/>
                    <a:pt x="228" y="16"/>
                    <a:pt x="228" y="16"/>
                  </a:cubicBezTo>
                  <a:cubicBezTo>
                    <a:pt x="228" y="7"/>
                    <a:pt x="221" y="0"/>
                    <a:pt x="212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Freeform 203">
              <a:extLst>
                <a:ext uri="{FF2B5EF4-FFF2-40B4-BE49-F238E27FC236}">
                  <a16:creationId xmlns:a16="http://schemas.microsoft.com/office/drawing/2014/main" id="{860232DB-CD1E-41E3-88AF-76ED17E86E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458625" y="2324100"/>
              <a:ext cx="538163" cy="30163"/>
            </a:xfrm>
            <a:custGeom>
              <a:avLst/>
              <a:gdLst>
                <a:gd name="T0" fmla="*/ 322 w 341"/>
                <a:gd name="T1" fmla="*/ 19 h 19"/>
                <a:gd name="T2" fmla="*/ 19 w 341"/>
                <a:gd name="T3" fmla="*/ 19 h 19"/>
                <a:gd name="T4" fmla="*/ 0 w 341"/>
                <a:gd name="T5" fmla="*/ 0 h 19"/>
                <a:gd name="T6" fmla="*/ 0 w 341"/>
                <a:gd name="T7" fmla="*/ 0 h 19"/>
                <a:gd name="T8" fmla="*/ 341 w 341"/>
                <a:gd name="T9" fmla="*/ 0 h 19"/>
                <a:gd name="T10" fmla="*/ 341 w 341"/>
                <a:gd name="T11" fmla="*/ 0 h 19"/>
                <a:gd name="T12" fmla="*/ 322 w 341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1" h="19">
                  <a:moveTo>
                    <a:pt x="322" y="19"/>
                  </a:moveTo>
                  <a:cubicBezTo>
                    <a:pt x="19" y="19"/>
                    <a:pt x="19" y="19"/>
                    <a:pt x="19" y="19"/>
                  </a:cubicBezTo>
                  <a:cubicBezTo>
                    <a:pt x="9" y="19"/>
                    <a:pt x="0" y="1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1" y="0"/>
                    <a:pt x="341" y="0"/>
                    <a:pt x="341" y="0"/>
                  </a:cubicBezTo>
                  <a:cubicBezTo>
                    <a:pt x="341" y="0"/>
                    <a:pt x="341" y="0"/>
                    <a:pt x="341" y="0"/>
                  </a:cubicBezTo>
                  <a:cubicBezTo>
                    <a:pt x="341" y="11"/>
                    <a:pt x="333" y="19"/>
                    <a:pt x="322" y="19"/>
                  </a:cubicBez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Oval 204">
              <a:extLst>
                <a:ext uri="{FF2B5EF4-FFF2-40B4-BE49-F238E27FC236}">
                  <a16:creationId xmlns:a16="http://schemas.microsoft.com/office/drawing/2014/main" id="{1EDEDA06-744D-41D0-A425-1F28F0BD71B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371312" y="3035300"/>
              <a:ext cx="300038" cy="298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6" name="Freeform 205">
              <a:extLst>
                <a:ext uri="{FF2B5EF4-FFF2-40B4-BE49-F238E27FC236}">
                  <a16:creationId xmlns:a16="http://schemas.microsoft.com/office/drawing/2014/main" id="{94798FC9-953A-43E7-AF5E-5DD4F025903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22125" y="3074987"/>
              <a:ext cx="49213" cy="160338"/>
            </a:xfrm>
            <a:custGeom>
              <a:avLst/>
              <a:gdLst>
                <a:gd name="T0" fmla="*/ 0 w 31"/>
                <a:gd name="T1" fmla="*/ 0 h 101"/>
                <a:gd name="T2" fmla="*/ 0 w 31"/>
                <a:gd name="T3" fmla="*/ 69 h 101"/>
                <a:gd name="T4" fmla="*/ 31 w 31"/>
                <a:gd name="T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101">
                  <a:moveTo>
                    <a:pt x="0" y="0"/>
                  </a:moveTo>
                  <a:lnTo>
                    <a:pt x="0" y="69"/>
                  </a:lnTo>
                  <a:lnTo>
                    <a:pt x="31" y="101"/>
                  </a:lnTo>
                </a:path>
              </a:pathLst>
            </a:custGeom>
            <a:noFill/>
            <a:ln w="30163" cap="flat">
              <a:solidFill>
                <a:srgbClr val="D2D2D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Freeform 206">
              <a:extLst>
                <a:ext uri="{FF2B5EF4-FFF2-40B4-BE49-F238E27FC236}">
                  <a16:creationId xmlns:a16="http://schemas.microsoft.com/office/drawing/2014/main" id="{94B6F6FF-D80D-4B7E-B6B3-F92FD60A575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26950" y="2162175"/>
              <a:ext cx="111125" cy="206375"/>
            </a:xfrm>
            <a:custGeom>
              <a:avLst/>
              <a:gdLst>
                <a:gd name="T0" fmla="*/ 35 w 70"/>
                <a:gd name="T1" fmla="*/ 0 h 131"/>
                <a:gd name="T2" fmla="*/ 0 w 70"/>
                <a:gd name="T3" fmla="*/ 35 h 131"/>
                <a:gd name="T4" fmla="*/ 0 w 70"/>
                <a:gd name="T5" fmla="*/ 61 h 131"/>
                <a:gd name="T6" fmla="*/ 70 w 70"/>
                <a:gd name="T7" fmla="*/ 131 h 131"/>
                <a:gd name="T8" fmla="*/ 70 w 70"/>
                <a:gd name="T9" fmla="*/ 131 h 131"/>
                <a:gd name="T10" fmla="*/ 70 w 70"/>
                <a:gd name="T11" fmla="*/ 35 h 131"/>
                <a:gd name="T12" fmla="*/ 35 w 70"/>
                <a:gd name="T13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31">
                  <a:moveTo>
                    <a:pt x="35" y="0"/>
                  </a:moveTo>
                  <a:cubicBezTo>
                    <a:pt x="15" y="0"/>
                    <a:pt x="0" y="16"/>
                    <a:pt x="0" y="35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99"/>
                    <a:pt x="31" y="131"/>
                    <a:pt x="70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0" y="16"/>
                    <a:pt x="54" y="0"/>
                    <a:pt x="35" y="0"/>
                  </a:cubicBezTo>
                  <a:close/>
                </a:path>
              </a:pathLst>
            </a:custGeom>
            <a:solidFill>
              <a:srgbClr val="B48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Freeform 207">
              <a:extLst>
                <a:ext uri="{FF2B5EF4-FFF2-40B4-BE49-F238E27FC236}">
                  <a16:creationId xmlns:a16="http://schemas.microsoft.com/office/drawing/2014/main" id="{BBF7CCF1-018E-4B6C-B0B0-C45A02C0A4D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25375" y="1781175"/>
              <a:ext cx="677863" cy="852488"/>
            </a:xfrm>
            <a:custGeom>
              <a:avLst/>
              <a:gdLst>
                <a:gd name="T0" fmla="*/ 215 w 430"/>
                <a:gd name="T1" fmla="*/ 540 h 540"/>
                <a:gd name="T2" fmla="*/ 215 w 430"/>
                <a:gd name="T3" fmla="*/ 540 h 540"/>
                <a:gd name="T4" fmla="*/ 0 w 430"/>
                <a:gd name="T5" fmla="*/ 325 h 540"/>
                <a:gd name="T6" fmla="*/ 0 w 430"/>
                <a:gd name="T7" fmla="*/ 214 h 540"/>
                <a:gd name="T8" fmla="*/ 215 w 430"/>
                <a:gd name="T9" fmla="*/ 0 h 540"/>
                <a:gd name="T10" fmla="*/ 215 w 430"/>
                <a:gd name="T11" fmla="*/ 0 h 540"/>
                <a:gd name="T12" fmla="*/ 430 w 430"/>
                <a:gd name="T13" fmla="*/ 214 h 540"/>
                <a:gd name="T14" fmla="*/ 430 w 430"/>
                <a:gd name="T15" fmla="*/ 325 h 540"/>
                <a:gd name="T16" fmla="*/ 215 w 430"/>
                <a:gd name="T17" fmla="*/ 54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0" h="540">
                  <a:moveTo>
                    <a:pt x="215" y="540"/>
                  </a:moveTo>
                  <a:cubicBezTo>
                    <a:pt x="215" y="540"/>
                    <a:pt x="215" y="540"/>
                    <a:pt x="215" y="540"/>
                  </a:cubicBezTo>
                  <a:cubicBezTo>
                    <a:pt x="96" y="540"/>
                    <a:pt x="0" y="444"/>
                    <a:pt x="0" y="325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96"/>
                    <a:pt x="96" y="0"/>
                    <a:pt x="215" y="0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334" y="0"/>
                    <a:pt x="430" y="96"/>
                    <a:pt x="430" y="214"/>
                  </a:cubicBezTo>
                  <a:cubicBezTo>
                    <a:pt x="430" y="325"/>
                    <a:pt x="430" y="325"/>
                    <a:pt x="430" y="325"/>
                  </a:cubicBezTo>
                  <a:cubicBezTo>
                    <a:pt x="430" y="444"/>
                    <a:pt x="334" y="540"/>
                    <a:pt x="215" y="540"/>
                  </a:cubicBezTo>
                  <a:close/>
                </a:path>
              </a:pathLst>
            </a:custGeom>
            <a:solidFill>
              <a:srgbClr val="B48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Freeform 208">
              <a:extLst>
                <a:ext uri="{FF2B5EF4-FFF2-40B4-BE49-F238E27FC236}">
                  <a16:creationId xmlns:a16="http://schemas.microsoft.com/office/drawing/2014/main" id="{2DB4A7C7-9DA9-48E4-8DC1-1FCD984341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50762" y="1825625"/>
              <a:ext cx="850900" cy="1120775"/>
            </a:xfrm>
            <a:custGeom>
              <a:avLst/>
              <a:gdLst>
                <a:gd name="T0" fmla="*/ 507 w 539"/>
                <a:gd name="T1" fmla="*/ 213 h 710"/>
                <a:gd name="T2" fmla="*/ 477 w 539"/>
                <a:gd name="T3" fmla="*/ 227 h 710"/>
                <a:gd name="T4" fmla="*/ 477 w 539"/>
                <a:gd name="T5" fmla="*/ 186 h 710"/>
                <a:gd name="T6" fmla="*/ 368 w 539"/>
                <a:gd name="T7" fmla="*/ 0 h 710"/>
                <a:gd name="T8" fmla="*/ 368 w 539"/>
                <a:gd name="T9" fmla="*/ 0 h 710"/>
                <a:gd name="T10" fmla="*/ 405 w 539"/>
                <a:gd name="T11" fmla="*/ 99 h 710"/>
                <a:gd name="T12" fmla="*/ 405 w 539"/>
                <a:gd name="T13" fmla="*/ 114 h 710"/>
                <a:gd name="T14" fmla="*/ 336 w 539"/>
                <a:gd name="T15" fmla="*/ 120 h 710"/>
                <a:gd name="T16" fmla="*/ 280 w 539"/>
                <a:gd name="T17" fmla="*/ 138 h 710"/>
                <a:gd name="T18" fmla="*/ 279 w 539"/>
                <a:gd name="T19" fmla="*/ 138 h 710"/>
                <a:gd name="T20" fmla="*/ 270 w 539"/>
                <a:gd name="T21" fmla="*/ 151 h 710"/>
                <a:gd name="T22" fmla="*/ 270 w 539"/>
                <a:gd name="T23" fmla="*/ 211 h 710"/>
                <a:gd name="T24" fmla="*/ 281 w 539"/>
                <a:gd name="T25" fmla="*/ 225 h 710"/>
                <a:gd name="T26" fmla="*/ 298 w 539"/>
                <a:gd name="T27" fmla="*/ 211 h 710"/>
                <a:gd name="T28" fmla="*/ 298 w 539"/>
                <a:gd name="T29" fmla="*/ 191 h 710"/>
                <a:gd name="T30" fmla="*/ 345 w 539"/>
                <a:gd name="T31" fmla="*/ 211 h 710"/>
                <a:gd name="T32" fmla="*/ 380 w 539"/>
                <a:gd name="T33" fmla="*/ 264 h 710"/>
                <a:gd name="T34" fmla="*/ 380 w 539"/>
                <a:gd name="T35" fmla="*/ 339 h 710"/>
                <a:gd name="T36" fmla="*/ 285 w 539"/>
                <a:gd name="T37" fmla="*/ 444 h 710"/>
                <a:gd name="T38" fmla="*/ 244 w 539"/>
                <a:gd name="T39" fmla="*/ 444 h 710"/>
                <a:gd name="T40" fmla="*/ 167 w 539"/>
                <a:gd name="T41" fmla="*/ 425 h 710"/>
                <a:gd name="T42" fmla="*/ 59 w 539"/>
                <a:gd name="T43" fmla="*/ 366 h 710"/>
                <a:gd name="T44" fmla="*/ 59 w 539"/>
                <a:gd name="T45" fmla="*/ 366 h 710"/>
                <a:gd name="T46" fmla="*/ 140 w 539"/>
                <a:gd name="T47" fmla="*/ 474 h 710"/>
                <a:gd name="T48" fmla="*/ 140 w 539"/>
                <a:gd name="T49" fmla="*/ 524 h 710"/>
                <a:gd name="T50" fmla="*/ 118 w 539"/>
                <a:gd name="T51" fmla="*/ 559 h 710"/>
                <a:gd name="T52" fmla="*/ 0 w 539"/>
                <a:gd name="T53" fmla="*/ 618 h 710"/>
                <a:gd name="T54" fmla="*/ 73 w 539"/>
                <a:gd name="T55" fmla="*/ 653 h 710"/>
                <a:gd name="T56" fmla="*/ 442 w 539"/>
                <a:gd name="T57" fmla="*/ 653 h 710"/>
                <a:gd name="T58" fmla="*/ 514 w 539"/>
                <a:gd name="T59" fmla="*/ 618 h 710"/>
                <a:gd name="T60" fmla="*/ 396 w 539"/>
                <a:gd name="T61" fmla="*/ 559 h 710"/>
                <a:gd name="T62" fmla="*/ 374 w 539"/>
                <a:gd name="T63" fmla="*/ 524 h 710"/>
                <a:gd name="T64" fmla="*/ 374 w 539"/>
                <a:gd name="T65" fmla="*/ 480 h 710"/>
                <a:gd name="T66" fmla="*/ 472 w 539"/>
                <a:gd name="T67" fmla="*/ 343 h 710"/>
                <a:gd name="T68" fmla="*/ 539 w 539"/>
                <a:gd name="T69" fmla="*/ 274 h 710"/>
                <a:gd name="T70" fmla="*/ 539 w 539"/>
                <a:gd name="T71" fmla="*/ 249 h 710"/>
                <a:gd name="T72" fmla="*/ 507 w 539"/>
                <a:gd name="T73" fmla="*/ 213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39" h="710">
                  <a:moveTo>
                    <a:pt x="507" y="213"/>
                  </a:moveTo>
                  <a:cubicBezTo>
                    <a:pt x="495" y="212"/>
                    <a:pt x="484" y="218"/>
                    <a:pt x="477" y="227"/>
                  </a:cubicBezTo>
                  <a:cubicBezTo>
                    <a:pt x="477" y="186"/>
                    <a:pt x="477" y="186"/>
                    <a:pt x="477" y="186"/>
                  </a:cubicBezTo>
                  <a:cubicBezTo>
                    <a:pt x="477" y="107"/>
                    <a:pt x="433" y="37"/>
                    <a:pt x="368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92" y="28"/>
                    <a:pt x="405" y="63"/>
                    <a:pt x="405" y="99"/>
                  </a:cubicBezTo>
                  <a:cubicBezTo>
                    <a:pt x="405" y="114"/>
                    <a:pt x="405" y="114"/>
                    <a:pt x="405" y="114"/>
                  </a:cubicBezTo>
                  <a:cubicBezTo>
                    <a:pt x="405" y="114"/>
                    <a:pt x="358" y="109"/>
                    <a:pt x="336" y="120"/>
                  </a:cubicBezTo>
                  <a:cubicBezTo>
                    <a:pt x="280" y="138"/>
                    <a:pt x="280" y="138"/>
                    <a:pt x="280" y="138"/>
                  </a:cubicBezTo>
                  <a:cubicBezTo>
                    <a:pt x="279" y="138"/>
                    <a:pt x="279" y="138"/>
                    <a:pt x="279" y="138"/>
                  </a:cubicBezTo>
                  <a:cubicBezTo>
                    <a:pt x="274" y="140"/>
                    <a:pt x="270" y="145"/>
                    <a:pt x="270" y="151"/>
                  </a:cubicBezTo>
                  <a:cubicBezTo>
                    <a:pt x="270" y="211"/>
                    <a:pt x="270" y="211"/>
                    <a:pt x="270" y="211"/>
                  </a:cubicBezTo>
                  <a:cubicBezTo>
                    <a:pt x="270" y="217"/>
                    <a:pt x="274" y="224"/>
                    <a:pt x="281" y="225"/>
                  </a:cubicBezTo>
                  <a:cubicBezTo>
                    <a:pt x="290" y="227"/>
                    <a:pt x="298" y="220"/>
                    <a:pt x="298" y="211"/>
                  </a:cubicBezTo>
                  <a:cubicBezTo>
                    <a:pt x="298" y="191"/>
                    <a:pt x="298" y="191"/>
                    <a:pt x="298" y="191"/>
                  </a:cubicBezTo>
                  <a:cubicBezTo>
                    <a:pt x="345" y="211"/>
                    <a:pt x="345" y="211"/>
                    <a:pt x="345" y="211"/>
                  </a:cubicBezTo>
                  <a:cubicBezTo>
                    <a:pt x="366" y="219"/>
                    <a:pt x="380" y="240"/>
                    <a:pt x="380" y="264"/>
                  </a:cubicBezTo>
                  <a:cubicBezTo>
                    <a:pt x="380" y="339"/>
                    <a:pt x="380" y="339"/>
                    <a:pt x="380" y="339"/>
                  </a:cubicBezTo>
                  <a:cubicBezTo>
                    <a:pt x="380" y="420"/>
                    <a:pt x="313" y="444"/>
                    <a:pt x="285" y="444"/>
                  </a:cubicBezTo>
                  <a:cubicBezTo>
                    <a:pt x="244" y="444"/>
                    <a:pt x="244" y="444"/>
                    <a:pt x="244" y="444"/>
                  </a:cubicBezTo>
                  <a:cubicBezTo>
                    <a:pt x="217" y="444"/>
                    <a:pt x="191" y="437"/>
                    <a:pt x="167" y="425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74" y="410"/>
                    <a:pt x="103" y="448"/>
                    <a:pt x="140" y="474"/>
                  </a:cubicBezTo>
                  <a:cubicBezTo>
                    <a:pt x="140" y="524"/>
                    <a:pt x="140" y="524"/>
                    <a:pt x="140" y="524"/>
                  </a:cubicBezTo>
                  <a:cubicBezTo>
                    <a:pt x="140" y="539"/>
                    <a:pt x="132" y="552"/>
                    <a:pt x="118" y="559"/>
                  </a:cubicBezTo>
                  <a:cubicBezTo>
                    <a:pt x="0" y="618"/>
                    <a:pt x="0" y="618"/>
                    <a:pt x="0" y="618"/>
                  </a:cubicBezTo>
                  <a:cubicBezTo>
                    <a:pt x="73" y="653"/>
                    <a:pt x="73" y="653"/>
                    <a:pt x="73" y="653"/>
                  </a:cubicBezTo>
                  <a:cubicBezTo>
                    <a:pt x="189" y="710"/>
                    <a:pt x="325" y="710"/>
                    <a:pt x="442" y="653"/>
                  </a:cubicBezTo>
                  <a:cubicBezTo>
                    <a:pt x="514" y="618"/>
                    <a:pt x="514" y="618"/>
                    <a:pt x="514" y="618"/>
                  </a:cubicBezTo>
                  <a:cubicBezTo>
                    <a:pt x="396" y="559"/>
                    <a:pt x="396" y="559"/>
                    <a:pt x="396" y="559"/>
                  </a:cubicBezTo>
                  <a:cubicBezTo>
                    <a:pt x="382" y="552"/>
                    <a:pt x="374" y="539"/>
                    <a:pt x="374" y="524"/>
                  </a:cubicBezTo>
                  <a:cubicBezTo>
                    <a:pt x="374" y="480"/>
                    <a:pt x="374" y="480"/>
                    <a:pt x="374" y="480"/>
                  </a:cubicBezTo>
                  <a:cubicBezTo>
                    <a:pt x="423" y="450"/>
                    <a:pt x="459" y="401"/>
                    <a:pt x="472" y="343"/>
                  </a:cubicBezTo>
                  <a:cubicBezTo>
                    <a:pt x="509" y="342"/>
                    <a:pt x="539" y="311"/>
                    <a:pt x="539" y="274"/>
                  </a:cubicBezTo>
                  <a:cubicBezTo>
                    <a:pt x="539" y="249"/>
                    <a:pt x="539" y="249"/>
                    <a:pt x="539" y="249"/>
                  </a:cubicBezTo>
                  <a:cubicBezTo>
                    <a:pt x="539" y="231"/>
                    <a:pt x="525" y="214"/>
                    <a:pt x="507" y="213"/>
                  </a:cubicBezTo>
                  <a:close/>
                </a:path>
              </a:pathLst>
            </a:custGeom>
            <a:solidFill>
              <a:srgbClr val="AB84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Freeform 209">
              <a:extLst>
                <a:ext uri="{FF2B5EF4-FFF2-40B4-BE49-F238E27FC236}">
                  <a16:creationId xmlns:a16="http://schemas.microsoft.com/office/drawing/2014/main" id="{72E7955F-4A8A-46BC-A584-DB1E9942A7E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77750" y="2573337"/>
              <a:ext cx="490538" cy="382588"/>
            </a:xfrm>
            <a:custGeom>
              <a:avLst/>
              <a:gdLst>
                <a:gd name="T0" fmla="*/ 1 w 311"/>
                <a:gd name="T1" fmla="*/ 153 h 242"/>
                <a:gd name="T2" fmla="*/ 135 w 311"/>
                <a:gd name="T3" fmla="*/ 218 h 242"/>
                <a:gd name="T4" fmla="*/ 253 w 311"/>
                <a:gd name="T5" fmla="*/ 242 h 242"/>
                <a:gd name="T6" fmla="*/ 311 w 311"/>
                <a:gd name="T7" fmla="*/ 158 h 242"/>
                <a:gd name="T8" fmla="*/ 289 w 311"/>
                <a:gd name="T9" fmla="*/ 105 h 242"/>
                <a:gd name="T10" fmla="*/ 232 w 311"/>
                <a:gd name="T11" fmla="*/ 47 h 242"/>
                <a:gd name="T12" fmla="*/ 123 w 311"/>
                <a:gd name="T13" fmla="*/ 0 h 242"/>
                <a:gd name="T14" fmla="*/ 123 w 311"/>
                <a:gd name="T15" fmla="*/ 50 h 242"/>
                <a:gd name="T16" fmla="*/ 101 w 311"/>
                <a:gd name="T17" fmla="*/ 85 h 242"/>
                <a:gd name="T18" fmla="*/ 0 w 311"/>
                <a:gd name="T19" fmla="*/ 136 h 242"/>
                <a:gd name="T20" fmla="*/ 1 w 311"/>
                <a:gd name="T21" fmla="*/ 153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1" h="242">
                  <a:moveTo>
                    <a:pt x="1" y="153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253" y="242"/>
                    <a:pt x="253" y="242"/>
                    <a:pt x="253" y="242"/>
                  </a:cubicBezTo>
                  <a:cubicBezTo>
                    <a:pt x="311" y="158"/>
                    <a:pt x="311" y="158"/>
                    <a:pt x="311" y="158"/>
                  </a:cubicBezTo>
                  <a:cubicBezTo>
                    <a:pt x="289" y="105"/>
                    <a:pt x="289" y="105"/>
                    <a:pt x="289" y="105"/>
                  </a:cubicBezTo>
                  <a:cubicBezTo>
                    <a:pt x="278" y="79"/>
                    <a:pt x="258" y="59"/>
                    <a:pt x="232" y="47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3" y="65"/>
                    <a:pt x="115" y="78"/>
                    <a:pt x="101" y="85"/>
                  </a:cubicBezTo>
                  <a:cubicBezTo>
                    <a:pt x="0" y="136"/>
                    <a:pt x="0" y="136"/>
                    <a:pt x="0" y="136"/>
                  </a:cubicBezTo>
                  <a:lnTo>
                    <a:pt x="1" y="153"/>
                  </a:lnTo>
                  <a:close/>
                </a:path>
              </a:pathLst>
            </a:custGeom>
            <a:solidFill>
              <a:srgbClr val="B48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Oval 210">
              <a:extLst>
                <a:ext uri="{FF2B5EF4-FFF2-40B4-BE49-F238E27FC236}">
                  <a16:creationId xmlns:a16="http://schemas.microsoft.com/office/drawing/2014/main" id="{74CE9FCF-09FD-4419-ADB5-E474227DBEA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252375" y="2095500"/>
              <a:ext cx="74613" cy="74613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Oval 211">
              <a:extLst>
                <a:ext uri="{FF2B5EF4-FFF2-40B4-BE49-F238E27FC236}">
                  <a16:creationId xmlns:a16="http://schemas.microsoft.com/office/drawing/2014/main" id="{7502693C-1734-4266-B12C-0342F853310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619087" y="2095500"/>
              <a:ext cx="74613" cy="74613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Freeform 212">
              <a:extLst>
                <a:ext uri="{FF2B5EF4-FFF2-40B4-BE49-F238E27FC236}">
                  <a16:creationId xmlns:a16="http://schemas.microsoft.com/office/drawing/2014/main" id="{9680DAEB-3D39-4B39-9242-60D905F465E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96837" y="2197100"/>
              <a:ext cx="127000" cy="68263"/>
            </a:xfrm>
            <a:custGeom>
              <a:avLst/>
              <a:gdLst>
                <a:gd name="T0" fmla="*/ 20 w 81"/>
                <a:gd name="T1" fmla="*/ 14 h 43"/>
                <a:gd name="T2" fmla="*/ 4 w 81"/>
                <a:gd name="T3" fmla="*/ 30 h 43"/>
                <a:gd name="T4" fmla="*/ 10 w 81"/>
                <a:gd name="T5" fmla="*/ 43 h 43"/>
                <a:gd name="T6" fmla="*/ 71 w 81"/>
                <a:gd name="T7" fmla="*/ 43 h 43"/>
                <a:gd name="T8" fmla="*/ 77 w 81"/>
                <a:gd name="T9" fmla="*/ 31 h 43"/>
                <a:gd name="T10" fmla="*/ 64 w 81"/>
                <a:gd name="T11" fmla="*/ 15 h 43"/>
                <a:gd name="T12" fmla="*/ 20 w 81"/>
                <a:gd name="T13" fmla="*/ 1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3">
                  <a:moveTo>
                    <a:pt x="20" y="14"/>
                  </a:moveTo>
                  <a:cubicBezTo>
                    <a:pt x="4" y="30"/>
                    <a:pt x="4" y="30"/>
                    <a:pt x="4" y="30"/>
                  </a:cubicBezTo>
                  <a:cubicBezTo>
                    <a:pt x="0" y="35"/>
                    <a:pt x="3" y="43"/>
                    <a:pt x="10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7" y="43"/>
                    <a:pt x="81" y="36"/>
                    <a:pt x="77" y="31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53" y="1"/>
                    <a:pt x="32" y="0"/>
                    <a:pt x="20" y="14"/>
                  </a:cubicBezTo>
                  <a:close/>
                </a:path>
              </a:pathLst>
            </a:custGeom>
            <a:solidFill>
              <a:srgbClr val="9370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9" name="Freeform 213">
              <a:extLst>
                <a:ext uri="{FF2B5EF4-FFF2-40B4-BE49-F238E27FC236}">
                  <a16:creationId xmlns:a16="http://schemas.microsoft.com/office/drawing/2014/main" id="{072A83BE-2845-4BEA-852B-7A54FC1B481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26987" y="2314575"/>
              <a:ext cx="250825" cy="38100"/>
            </a:xfrm>
            <a:custGeom>
              <a:avLst/>
              <a:gdLst>
                <a:gd name="T0" fmla="*/ 159 w 159"/>
                <a:gd name="T1" fmla="*/ 24 h 24"/>
                <a:gd name="T2" fmla="*/ 0 w 159"/>
                <a:gd name="T3" fmla="*/ 24 h 24"/>
                <a:gd name="T4" fmla="*/ 30 w 159"/>
                <a:gd name="T5" fmla="*/ 9 h 24"/>
                <a:gd name="T6" fmla="*/ 65 w 159"/>
                <a:gd name="T7" fmla="*/ 0 h 24"/>
                <a:gd name="T8" fmla="*/ 100 w 159"/>
                <a:gd name="T9" fmla="*/ 0 h 24"/>
                <a:gd name="T10" fmla="*/ 141 w 159"/>
                <a:gd name="T11" fmla="*/ 13 h 24"/>
                <a:gd name="T12" fmla="*/ 159 w 159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4">
                  <a:moveTo>
                    <a:pt x="159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41" y="3"/>
                    <a:pt x="53" y="0"/>
                    <a:pt x="65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15" y="0"/>
                    <a:pt x="129" y="5"/>
                    <a:pt x="141" y="13"/>
                  </a:cubicBezTo>
                  <a:lnTo>
                    <a:pt x="159" y="24"/>
                  </a:lnTo>
                  <a:close/>
                </a:path>
              </a:pathLst>
            </a:custGeom>
            <a:solidFill>
              <a:srgbClr val="9370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Freeform 214">
              <a:extLst>
                <a:ext uri="{FF2B5EF4-FFF2-40B4-BE49-F238E27FC236}">
                  <a16:creationId xmlns:a16="http://schemas.microsoft.com/office/drawing/2014/main" id="{58AE76D6-0A7D-4B3D-B948-775A5587C51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71437" y="2373312"/>
              <a:ext cx="166688" cy="52388"/>
            </a:xfrm>
            <a:custGeom>
              <a:avLst/>
              <a:gdLst>
                <a:gd name="T0" fmla="*/ 106 w 106"/>
                <a:gd name="T1" fmla="*/ 33 h 33"/>
                <a:gd name="T2" fmla="*/ 53 w 106"/>
                <a:gd name="T3" fmla="*/ 0 h 33"/>
                <a:gd name="T4" fmla="*/ 0 w 106"/>
                <a:gd name="T5" fmla="*/ 33 h 33"/>
                <a:gd name="T6" fmla="*/ 106 w 106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6" h="33">
                  <a:moveTo>
                    <a:pt x="106" y="33"/>
                  </a:moveTo>
                  <a:cubicBezTo>
                    <a:pt x="97" y="13"/>
                    <a:pt x="77" y="0"/>
                    <a:pt x="53" y="0"/>
                  </a:cubicBezTo>
                  <a:cubicBezTo>
                    <a:pt x="30" y="0"/>
                    <a:pt x="10" y="13"/>
                    <a:pt x="0" y="33"/>
                  </a:cubicBezTo>
                  <a:lnTo>
                    <a:pt x="106" y="33"/>
                  </a:lnTo>
                  <a:close/>
                </a:path>
              </a:pathLst>
            </a:custGeom>
            <a:solidFill>
              <a:srgbClr val="9370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1" name="Freeform 215">
              <a:extLst>
                <a:ext uri="{FF2B5EF4-FFF2-40B4-BE49-F238E27FC236}">
                  <a16:creationId xmlns:a16="http://schemas.microsoft.com/office/drawing/2014/main" id="{B9A54DD0-7E49-4F4C-83C2-1BBB014C8E0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99987" y="2017712"/>
              <a:ext cx="171450" cy="57150"/>
            </a:xfrm>
            <a:custGeom>
              <a:avLst/>
              <a:gdLst>
                <a:gd name="T0" fmla="*/ 7 w 108"/>
                <a:gd name="T1" fmla="*/ 36 h 36"/>
                <a:gd name="T2" fmla="*/ 2 w 108"/>
                <a:gd name="T3" fmla="*/ 33 h 36"/>
                <a:gd name="T4" fmla="*/ 4 w 108"/>
                <a:gd name="T5" fmla="*/ 24 h 36"/>
                <a:gd name="T6" fmla="*/ 7 w 108"/>
                <a:gd name="T7" fmla="*/ 22 h 36"/>
                <a:gd name="T8" fmla="*/ 104 w 108"/>
                <a:gd name="T9" fmla="*/ 15 h 36"/>
                <a:gd name="T10" fmla="*/ 107 w 108"/>
                <a:gd name="T11" fmla="*/ 24 h 36"/>
                <a:gd name="T12" fmla="*/ 98 w 108"/>
                <a:gd name="T13" fmla="*/ 27 h 36"/>
                <a:gd name="T14" fmla="*/ 14 w 108"/>
                <a:gd name="T15" fmla="*/ 32 h 36"/>
                <a:gd name="T16" fmla="*/ 11 w 108"/>
                <a:gd name="T17" fmla="*/ 35 h 36"/>
                <a:gd name="T18" fmla="*/ 7 w 108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36">
                  <a:moveTo>
                    <a:pt x="7" y="36"/>
                  </a:moveTo>
                  <a:cubicBezTo>
                    <a:pt x="5" y="36"/>
                    <a:pt x="3" y="35"/>
                    <a:pt x="2" y="33"/>
                  </a:cubicBezTo>
                  <a:cubicBezTo>
                    <a:pt x="0" y="30"/>
                    <a:pt x="1" y="26"/>
                    <a:pt x="4" y="24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36" y="2"/>
                    <a:pt x="73" y="0"/>
                    <a:pt x="104" y="15"/>
                  </a:cubicBezTo>
                  <a:cubicBezTo>
                    <a:pt x="107" y="17"/>
                    <a:pt x="108" y="21"/>
                    <a:pt x="107" y="24"/>
                  </a:cubicBezTo>
                  <a:cubicBezTo>
                    <a:pt x="105" y="27"/>
                    <a:pt x="101" y="28"/>
                    <a:pt x="98" y="27"/>
                  </a:cubicBezTo>
                  <a:cubicBezTo>
                    <a:pt x="71" y="13"/>
                    <a:pt x="39" y="15"/>
                    <a:pt x="14" y="32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0" y="35"/>
                    <a:pt x="9" y="36"/>
                    <a:pt x="7" y="36"/>
                  </a:cubicBezTo>
                  <a:close/>
                </a:path>
              </a:pathLst>
            </a:custGeom>
            <a:solidFill>
              <a:srgbClr val="472D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Freeform 216">
              <a:extLst>
                <a:ext uri="{FF2B5EF4-FFF2-40B4-BE49-F238E27FC236}">
                  <a16:creationId xmlns:a16="http://schemas.microsoft.com/office/drawing/2014/main" id="{5981A11D-EB85-469E-9186-1D0DF6CA15C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566700" y="1984375"/>
              <a:ext cx="169863" cy="58738"/>
            </a:xfrm>
            <a:custGeom>
              <a:avLst/>
              <a:gdLst>
                <a:gd name="T0" fmla="*/ 100 w 107"/>
                <a:gd name="T1" fmla="*/ 37 h 37"/>
                <a:gd name="T2" fmla="*/ 96 w 107"/>
                <a:gd name="T3" fmla="*/ 36 h 37"/>
                <a:gd name="T4" fmla="*/ 93 w 107"/>
                <a:gd name="T5" fmla="*/ 34 h 37"/>
                <a:gd name="T6" fmla="*/ 11 w 107"/>
                <a:gd name="T7" fmla="*/ 26 h 37"/>
                <a:gd name="T8" fmla="*/ 2 w 107"/>
                <a:gd name="T9" fmla="*/ 23 h 37"/>
                <a:gd name="T10" fmla="*/ 2 w 107"/>
                <a:gd name="T11" fmla="*/ 23 h 37"/>
                <a:gd name="T12" fmla="*/ 5 w 107"/>
                <a:gd name="T13" fmla="*/ 13 h 37"/>
                <a:gd name="T14" fmla="*/ 100 w 107"/>
                <a:gd name="T15" fmla="*/ 23 h 37"/>
                <a:gd name="T16" fmla="*/ 104 w 107"/>
                <a:gd name="T17" fmla="*/ 25 h 37"/>
                <a:gd name="T18" fmla="*/ 105 w 107"/>
                <a:gd name="T19" fmla="*/ 35 h 37"/>
                <a:gd name="T20" fmla="*/ 100 w 107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7" h="37">
                  <a:moveTo>
                    <a:pt x="100" y="37"/>
                  </a:moveTo>
                  <a:cubicBezTo>
                    <a:pt x="98" y="37"/>
                    <a:pt x="97" y="37"/>
                    <a:pt x="96" y="36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68" y="17"/>
                    <a:pt x="37" y="14"/>
                    <a:pt x="11" y="26"/>
                  </a:cubicBezTo>
                  <a:cubicBezTo>
                    <a:pt x="7" y="27"/>
                    <a:pt x="3" y="26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19"/>
                    <a:pt x="2" y="15"/>
                    <a:pt x="5" y="13"/>
                  </a:cubicBezTo>
                  <a:cubicBezTo>
                    <a:pt x="36" y="0"/>
                    <a:pt x="72" y="4"/>
                    <a:pt x="100" y="23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7" y="27"/>
                    <a:pt x="107" y="31"/>
                    <a:pt x="105" y="35"/>
                  </a:cubicBezTo>
                  <a:cubicBezTo>
                    <a:pt x="104" y="36"/>
                    <a:pt x="102" y="37"/>
                    <a:pt x="100" y="37"/>
                  </a:cubicBezTo>
                  <a:close/>
                </a:path>
              </a:pathLst>
            </a:custGeom>
            <a:solidFill>
              <a:srgbClr val="472D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3" name="Freeform 217">
              <a:extLst>
                <a:ext uri="{FF2B5EF4-FFF2-40B4-BE49-F238E27FC236}">
                  <a16:creationId xmlns:a16="http://schemas.microsoft.com/office/drawing/2014/main" id="{AF1DCC9A-DA27-4BC0-8A6D-34D6566F13A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085687" y="1651000"/>
              <a:ext cx="741363" cy="573088"/>
            </a:xfrm>
            <a:custGeom>
              <a:avLst/>
              <a:gdLst>
                <a:gd name="T0" fmla="*/ 442 w 470"/>
                <a:gd name="T1" fmla="*/ 144 h 363"/>
                <a:gd name="T2" fmla="*/ 379 w 470"/>
                <a:gd name="T3" fmla="*/ 72 h 363"/>
                <a:gd name="T4" fmla="*/ 379 w 470"/>
                <a:gd name="T5" fmla="*/ 72 h 363"/>
                <a:gd name="T6" fmla="*/ 364 w 470"/>
                <a:gd name="T7" fmla="*/ 25 h 363"/>
                <a:gd name="T8" fmla="*/ 300 w 470"/>
                <a:gd name="T9" fmla="*/ 42 h 363"/>
                <a:gd name="T10" fmla="*/ 307 w 470"/>
                <a:gd name="T11" fmla="*/ 0 h 363"/>
                <a:gd name="T12" fmla="*/ 183 w 470"/>
                <a:gd name="T13" fmla="*/ 53 h 363"/>
                <a:gd name="T14" fmla="*/ 209 w 470"/>
                <a:gd name="T15" fmla="*/ 10 h 363"/>
                <a:gd name="T16" fmla="*/ 28 w 470"/>
                <a:gd name="T17" fmla="*/ 144 h 363"/>
                <a:gd name="T18" fmla="*/ 5 w 470"/>
                <a:gd name="T19" fmla="*/ 265 h 363"/>
                <a:gd name="T20" fmla="*/ 16 w 470"/>
                <a:gd name="T21" fmla="*/ 363 h 363"/>
                <a:gd name="T22" fmla="*/ 33 w 470"/>
                <a:gd name="T23" fmla="*/ 363 h 363"/>
                <a:gd name="T24" fmla="*/ 33 w 470"/>
                <a:gd name="T25" fmla="*/ 260 h 363"/>
                <a:gd name="T26" fmla="*/ 45 w 470"/>
                <a:gd name="T27" fmla="*/ 225 h 363"/>
                <a:gd name="T28" fmla="*/ 97 w 470"/>
                <a:gd name="T29" fmla="*/ 158 h 363"/>
                <a:gd name="T30" fmla="*/ 177 w 470"/>
                <a:gd name="T31" fmla="*/ 135 h 363"/>
                <a:gd name="T32" fmla="*/ 205 w 470"/>
                <a:gd name="T33" fmla="*/ 144 h 363"/>
                <a:gd name="T34" fmla="*/ 265 w 470"/>
                <a:gd name="T35" fmla="*/ 144 h 363"/>
                <a:gd name="T36" fmla="*/ 293 w 470"/>
                <a:gd name="T37" fmla="*/ 135 h 363"/>
                <a:gd name="T38" fmla="*/ 373 w 470"/>
                <a:gd name="T39" fmla="*/ 158 h 363"/>
                <a:gd name="T40" fmla="*/ 425 w 470"/>
                <a:gd name="T41" fmla="*/ 225 h 363"/>
                <a:gd name="T42" fmla="*/ 437 w 470"/>
                <a:gd name="T43" fmla="*/ 260 h 363"/>
                <a:gd name="T44" fmla="*/ 437 w 470"/>
                <a:gd name="T45" fmla="*/ 363 h 363"/>
                <a:gd name="T46" fmla="*/ 454 w 470"/>
                <a:gd name="T47" fmla="*/ 363 h 363"/>
                <a:gd name="T48" fmla="*/ 465 w 470"/>
                <a:gd name="T49" fmla="*/ 265 h 363"/>
                <a:gd name="T50" fmla="*/ 442 w 470"/>
                <a:gd name="T51" fmla="*/ 144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70" h="363">
                  <a:moveTo>
                    <a:pt x="442" y="144"/>
                  </a:moveTo>
                  <a:cubicBezTo>
                    <a:pt x="427" y="116"/>
                    <a:pt x="405" y="91"/>
                    <a:pt x="379" y="72"/>
                  </a:cubicBezTo>
                  <a:cubicBezTo>
                    <a:pt x="379" y="72"/>
                    <a:pt x="379" y="72"/>
                    <a:pt x="379" y="72"/>
                  </a:cubicBezTo>
                  <a:cubicBezTo>
                    <a:pt x="361" y="58"/>
                    <a:pt x="351" y="40"/>
                    <a:pt x="364" y="25"/>
                  </a:cubicBezTo>
                  <a:cubicBezTo>
                    <a:pt x="336" y="23"/>
                    <a:pt x="315" y="32"/>
                    <a:pt x="300" y="42"/>
                  </a:cubicBezTo>
                  <a:cubicBezTo>
                    <a:pt x="297" y="34"/>
                    <a:pt x="296" y="21"/>
                    <a:pt x="307" y="0"/>
                  </a:cubicBezTo>
                  <a:cubicBezTo>
                    <a:pt x="207" y="15"/>
                    <a:pt x="183" y="53"/>
                    <a:pt x="183" y="53"/>
                  </a:cubicBezTo>
                  <a:cubicBezTo>
                    <a:pt x="183" y="53"/>
                    <a:pt x="188" y="32"/>
                    <a:pt x="209" y="10"/>
                  </a:cubicBezTo>
                  <a:cubicBezTo>
                    <a:pt x="148" y="14"/>
                    <a:pt x="57" y="93"/>
                    <a:pt x="28" y="144"/>
                  </a:cubicBezTo>
                  <a:cubicBezTo>
                    <a:pt x="7" y="180"/>
                    <a:pt x="0" y="223"/>
                    <a:pt x="5" y="265"/>
                  </a:cubicBezTo>
                  <a:cubicBezTo>
                    <a:pt x="16" y="363"/>
                    <a:pt x="16" y="363"/>
                    <a:pt x="16" y="363"/>
                  </a:cubicBezTo>
                  <a:cubicBezTo>
                    <a:pt x="33" y="363"/>
                    <a:pt x="33" y="363"/>
                    <a:pt x="33" y="363"/>
                  </a:cubicBezTo>
                  <a:cubicBezTo>
                    <a:pt x="33" y="260"/>
                    <a:pt x="33" y="260"/>
                    <a:pt x="33" y="260"/>
                  </a:cubicBezTo>
                  <a:cubicBezTo>
                    <a:pt x="33" y="247"/>
                    <a:pt x="37" y="235"/>
                    <a:pt x="45" y="225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116" y="134"/>
                    <a:pt x="148" y="125"/>
                    <a:pt x="177" y="135"/>
                  </a:cubicBezTo>
                  <a:cubicBezTo>
                    <a:pt x="205" y="144"/>
                    <a:pt x="205" y="144"/>
                    <a:pt x="205" y="144"/>
                  </a:cubicBezTo>
                  <a:cubicBezTo>
                    <a:pt x="225" y="151"/>
                    <a:pt x="246" y="151"/>
                    <a:pt x="265" y="144"/>
                  </a:cubicBezTo>
                  <a:cubicBezTo>
                    <a:pt x="293" y="135"/>
                    <a:pt x="293" y="135"/>
                    <a:pt x="293" y="135"/>
                  </a:cubicBezTo>
                  <a:cubicBezTo>
                    <a:pt x="322" y="125"/>
                    <a:pt x="354" y="134"/>
                    <a:pt x="373" y="158"/>
                  </a:cubicBezTo>
                  <a:cubicBezTo>
                    <a:pt x="425" y="225"/>
                    <a:pt x="425" y="225"/>
                    <a:pt x="425" y="225"/>
                  </a:cubicBezTo>
                  <a:cubicBezTo>
                    <a:pt x="433" y="235"/>
                    <a:pt x="437" y="247"/>
                    <a:pt x="437" y="260"/>
                  </a:cubicBezTo>
                  <a:cubicBezTo>
                    <a:pt x="437" y="363"/>
                    <a:pt x="437" y="363"/>
                    <a:pt x="437" y="363"/>
                  </a:cubicBezTo>
                  <a:cubicBezTo>
                    <a:pt x="454" y="363"/>
                    <a:pt x="454" y="363"/>
                    <a:pt x="454" y="363"/>
                  </a:cubicBezTo>
                  <a:cubicBezTo>
                    <a:pt x="465" y="265"/>
                    <a:pt x="465" y="265"/>
                    <a:pt x="465" y="265"/>
                  </a:cubicBezTo>
                  <a:cubicBezTo>
                    <a:pt x="470" y="223"/>
                    <a:pt x="462" y="181"/>
                    <a:pt x="442" y="144"/>
                  </a:cubicBezTo>
                  <a:close/>
                </a:path>
              </a:pathLst>
            </a:custGeom>
            <a:solidFill>
              <a:srgbClr val="472D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Freeform 218">
              <a:extLst>
                <a:ext uri="{FF2B5EF4-FFF2-40B4-BE49-F238E27FC236}">
                  <a16:creationId xmlns:a16="http://schemas.microsoft.com/office/drawing/2014/main" id="{681DEF5B-7C62-4673-9573-EA2D25DC8E2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2487" y="2682875"/>
              <a:ext cx="1169988" cy="293688"/>
            </a:xfrm>
            <a:custGeom>
              <a:avLst/>
              <a:gdLst>
                <a:gd name="T0" fmla="*/ 522 w 740"/>
                <a:gd name="T1" fmla="*/ 0 h 186"/>
                <a:gd name="T2" fmla="*/ 439 w 740"/>
                <a:gd name="T3" fmla="*/ 77 h 186"/>
                <a:gd name="T4" fmla="*/ 291 w 740"/>
                <a:gd name="T5" fmla="*/ 78 h 186"/>
                <a:gd name="T6" fmla="*/ 204 w 740"/>
                <a:gd name="T7" fmla="*/ 0 h 186"/>
                <a:gd name="T8" fmla="*/ 0 w 740"/>
                <a:gd name="T9" fmla="*/ 93 h 186"/>
                <a:gd name="T10" fmla="*/ 343 w 740"/>
                <a:gd name="T11" fmla="*/ 185 h 186"/>
                <a:gd name="T12" fmla="*/ 368 w 740"/>
                <a:gd name="T13" fmla="*/ 186 h 186"/>
                <a:gd name="T14" fmla="*/ 740 w 740"/>
                <a:gd name="T15" fmla="*/ 86 h 186"/>
                <a:gd name="T16" fmla="*/ 522 w 740"/>
                <a:gd name="T1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0" h="186">
                  <a:moveTo>
                    <a:pt x="522" y="0"/>
                  </a:moveTo>
                  <a:cubicBezTo>
                    <a:pt x="439" y="77"/>
                    <a:pt x="439" y="77"/>
                    <a:pt x="439" y="77"/>
                  </a:cubicBezTo>
                  <a:cubicBezTo>
                    <a:pt x="397" y="115"/>
                    <a:pt x="333" y="116"/>
                    <a:pt x="291" y="78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103" y="147"/>
                    <a:pt x="220" y="182"/>
                    <a:pt x="343" y="185"/>
                  </a:cubicBezTo>
                  <a:cubicBezTo>
                    <a:pt x="352" y="186"/>
                    <a:pt x="360" y="186"/>
                    <a:pt x="368" y="186"/>
                  </a:cubicBezTo>
                  <a:cubicBezTo>
                    <a:pt x="504" y="186"/>
                    <a:pt x="628" y="147"/>
                    <a:pt x="740" y="86"/>
                  </a:cubicBezTo>
                  <a:lnTo>
                    <a:pt x="522" y="0"/>
                  </a:lnTo>
                  <a:close/>
                </a:path>
              </a:pathLst>
            </a:custGeom>
            <a:solidFill>
              <a:srgbClr val="1DB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5" name="Freeform 219">
              <a:extLst>
                <a:ext uri="{FF2B5EF4-FFF2-40B4-BE49-F238E27FC236}">
                  <a16:creationId xmlns:a16="http://schemas.microsoft.com/office/drawing/2014/main" id="{FBFCC80E-5DBE-4B3B-802B-B21DE768C1F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092162" y="1525587"/>
              <a:ext cx="261938" cy="220663"/>
            </a:xfrm>
            <a:custGeom>
              <a:avLst/>
              <a:gdLst>
                <a:gd name="T0" fmla="*/ 122 w 165"/>
                <a:gd name="T1" fmla="*/ 0 h 140"/>
                <a:gd name="T2" fmla="*/ 44 w 165"/>
                <a:gd name="T3" fmla="*/ 0 h 140"/>
                <a:gd name="T4" fmla="*/ 0 w 165"/>
                <a:gd name="T5" fmla="*/ 43 h 140"/>
                <a:gd name="T6" fmla="*/ 0 w 165"/>
                <a:gd name="T7" fmla="*/ 66 h 140"/>
                <a:gd name="T8" fmla="*/ 44 w 165"/>
                <a:gd name="T9" fmla="*/ 110 h 140"/>
                <a:gd name="T10" fmla="*/ 63 w 165"/>
                <a:gd name="T11" fmla="*/ 110 h 140"/>
                <a:gd name="T12" fmla="*/ 63 w 165"/>
                <a:gd name="T13" fmla="*/ 140 h 140"/>
                <a:gd name="T14" fmla="*/ 93 w 165"/>
                <a:gd name="T15" fmla="*/ 110 h 140"/>
                <a:gd name="T16" fmla="*/ 122 w 165"/>
                <a:gd name="T17" fmla="*/ 110 h 140"/>
                <a:gd name="T18" fmla="*/ 165 w 165"/>
                <a:gd name="T19" fmla="*/ 66 h 140"/>
                <a:gd name="T20" fmla="*/ 165 w 165"/>
                <a:gd name="T21" fmla="*/ 43 h 140"/>
                <a:gd name="T22" fmla="*/ 122 w 165"/>
                <a:gd name="T2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5" h="140">
                  <a:moveTo>
                    <a:pt x="122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90"/>
                    <a:pt x="20" y="110"/>
                    <a:pt x="44" y="110"/>
                  </a:cubicBezTo>
                  <a:cubicBezTo>
                    <a:pt x="63" y="110"/>
                    <a:pt x="63" y="110"/>
                    <a:pt x="63" y="110"/>
                  </a:cubicBezTo>
                  <a:cubicBezTo>
                    <a:pt x="63" y="140"/>
                    <a:pt x="63" y="140"/>
                    <a:pt x="63" y="140"/>
                  </a:cubicBezTo>
                  <a:cubicBezTo>
                    <a:pt x="93" y="110"/>
                    <a:pt x="93" y="110"/>
                    <a:pt x="93" y="110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45" y="110"/>
                    <a:pt x="165" y="90"/>
                    <a:pt x="165" y="66"/>
                  </a:cubicBezTo>
                  <a:cubicBezTo>
                    <a:pt x="165" y="43"/>
                    <a:pt x="165" y="43"/>
                    <a:pt x="165" y="43"/>
                  </a:cubicBezTo>
                  <a:cubicBezTo>
                    <a:pt x="165" y="19"/>
                    <a:pt x="145" y="0"/>
                    <a:pt x="122" y="0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Oval 220">
              <a:extLst>
                <a:ext uri="{FF2B5EF4-FFF2-40B4-BE49-F238E27FC236}">
                  <a16:creationId xmlns:a16="http://schemas.microsoft.com/office/drawing/2014/main" id="{89D01C50-527F-444A-9DAF-CBD4D3B09F2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204875" y="1593850"/>
              <a:ext cx="38100" cy="365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7" name="Oval 221">
              <a:extLst>
                <a:ext uri="{FF2B5EF4-FFF2-40B4-BE49-F238E27FC236}">
                  <a16:creationId xmlns:a16="http://schemas.microsoft.com/office/drawing/2014/main" id="{04183C61-8EF8-4D25-AB5A-031DCE95ABD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39787" y="1593850"/>
              <a:ext cx="39688" cy="365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Oval 222">
              <a:extLst>
                <a:ext uri="{FF2B5EF4-FFF2-40B4-BE49-F238E27FC236}">
                  <a16:creationId xmlns:a16="http://schemas.microsoft.com/office/drawing/2014/main" id="{FCEBF415-3533-4F97-AF45-9D638F47BA8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268375" y="1593850"/>
              <a:ext cx="38100" cy="365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Line 223">
              <a:extLst>
                <a:ext uri="{FF2B5EF4-FFF2-40B4-BE49-F238E27FC236}">
                  <a16:creationId xmlns:a16="http://schemas.microsoft.com/office/drawing/2014/main" id="{168DDB42-0499-4473-AE15-1839E09A2FD4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 flipV="1">
              <a:off x="8968337" y="1157287"/>
              <a:ext cx="0" cy="66675"/>
            </a:xfrm>
            <a:prstGeom prst="line">
              <a:avLst/>
            </a:pr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Line 224">
              <a:extLst>
                <a:ext uri="{FF2B5EF4-FFF2-40B4-BE49-F238E27FC236}">
                  <a16:creationId xmlns:a16="http://schemas.microsoft.com/office/drawing/2014/main" id="{3591C98B-1F4A-49DF-A9CC-6F8FBA25A9FD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 flipV="1">
              <a:off x="9050887" y="1081087"/>
              <a:ext cx="0" cy="142875"/>
            </a:xfrm>
            <a:prstGeom prst="line">
              <a:avLst/>
            </a:pr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Line 225">
              <a:extLst>
                <a:ext uri="{FF2B5EF4-FFF2-40B4-BE49-F238E27FC236}">
                  <a16:creationId xmlns:a16="http://schemas.microsoft.com/office/drawing/2014/main" id="{5ABE1DED-5837-4812-8A8A-FE77BA0C3E2D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 flipV="1">
              <a:off x="9131850" y="989012"/>
              <a:ext cx="0" cy="234950"/>
            </a:xfrm>
            <a:prstGeom prst="line">
              <a:avLst/>
            </a:pr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Freeform 226">
              <a:extLst>
                <a:ext uri="{FF2B5EF4-FFF2-40B4-BE49-F238E27FC236}">
                  <a16:creationId xmlns:a16="http://schemas.microsoft.com/office/drawing/2014/main" id="{FA99D010-6A15-4F9E-A3AD-74D27E635D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06350" y="1136650"/>
              <a:ext cx="274638" cy="331788"/>
            </a:xfrm>
            <a:custGeom>
              <a:avLst/>
              <a:gdLst>
                <a:gd name="T0" fmla="*/ 174 w 174"/>
                <a:gd name="T1" fmla="*/ 89 h 210"/>
                <a:gd name="T2" fmla="*/ 81 w 174"/>
                <a:gd name="T3" fmla="*/ 3 h 210"/>
                <a:gd name="T4" fmla="*/ 2 w 174"/>
                <a:gd name="T5" fmla="*/ 85 h 210"/>
                <a:gd name="T6" fmla="*/ 28 w 174"/>
                <a:gd name="T7" fmla="*/ 151 h 210"/>
                <a:gd name="T8" fmla="*/ 51 w 174"/>
                <a:gd name="T9" fmla="*/ 208 h 210"/>
                <a:gd name="T10" fmla="*/ 51 w 174"/>
                <a:gd name="T11" fmla="*/ 210 h 210"/>
                <a:gd name="T12" fmla="*/ 124 w 174"/>
                <a:gd name="T13" fmla="*/ 210 h 210"/>
                <a:gd name="T14" fmla="*/ 124 w 174"/>
                <a:gd name="T15" fmla="*/ 208 h 210"/>
                <a:gd name="T16" fmla="*/ 149 w 174"/>
                <a:gd name="T17" fmla="*/ 150 h 210"/>
                <a:gd name="T18" fmla="*/ 174 w 174"/>
                <a:gd name="T19" fmla="*/ 8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210">
                  <a:moveTo>
                    <a:pt x="174" y="89"/>
                  </a:moveTo>
                  <a:cubicBezTo>
                    <a:pt x="174" y="39"/>
                    <a:pt x="132" y="0"/>
                    <a:pt x="81" y="3"/>
                  </a:cubicBezTo>
                  <a:cubicBezTo>
                    <a:pt x="38" y="7"/>
                    <a:pt x="4" y="42"/>
                    <a:pt x="2" y="85"/>
                  </a:cubicBezTo>
                  <a:cubicBezTo>
                    <a:pt x="0" y="111"/>
                    <a:pt x="11" y="135"/>
                    <a:pt x="28" y="151"/>
                  </a:cubicBezTo>
                  <a:cubicBezTo>
                    <a:pt x="43" y="166"/>
                    <a:pt x="51" y="187"/>
                    <a:pt x="51" y="208"/>
                  </a:cubicBezTo>
                  <a:cubicBezTo>
                    <a:pt x="51" y="210"/>
                    <a:pt x="51" y="210"/>
                    <a:pt x="51" y="210"/>
                  </a:cubicBezTo>
                  <a:cubicBezTo>
                    <a:pt x="124" y="210"/>
                    <a:pt x="124" y="210"/>
                    <a:pt x="124" y="210"/>
                  </a:cubicBezTo>
                  <a:cubicBezTo>
                    <a:pt x="124" y="208"/>
                    <a:pt x="124" y="208"/>
                    <a:pt x="124" y="208"/>
                  </a:cubicBezTo>
                  <a:cubicBezTo>
                    <a:pt x="124" y="186"/>
                    <a:pt x="133" y="166"/>
                    <a:pt x="149" y="150"/>
                  </a:cubicBezTo>
                  <a:cubicBezTo>
                    <a:pt x="164" y="135"/>
                    <a:pt x="174" y="113"/>
                    <a:pt x="174" y="8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Freeform 227">
              <a:extLst>
                <a:ext uri="{FF2B5EF4-FFF2-40B4-BE49-F238E27FC236}">
                  <a16:creationId xmlns:a16="http://schemas.microsoft.com/office/drawing/2014/main" id="{E01A884B-FB8B-4B29-BE8A-7C27F96FE4B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8374612" y="1246187"/>
              <a:ext cx="60325" cy="255588"/>
            </a:xfrm>
            <a:custGeom>
              <a:avLst/>
              <a:gdLst>
                <a:gd name="T0" fmla="*/ 33 w 38"/>
                <a:gd name="T1" fmla="*/ 39 h 162"/>
                <a:gd name="T2" fmla="*/ 33 w 38"/>
                <a:gd name="T3" fmla="*/ 32 h 162"/>
                <a:gd name="T4" fmla="*/ 33 w 38"/>
                <a:gd name="T5" fmla="*/ 32 h 162"/>
                <a:gd name="T6" fmla="*/ 33 w 38"/>
                <a:gd name="T7" fmla="*/ 16 h 162"/>
                <a:gd name="T8" fmla="*/ 16 w 38"/>
                <a:gd name="T9" fmla="*/ 0 h 162"/>
                <a:gd name="T10" fmla="*/ 0 w 38"/>
                <a:gd name="T11" fmla="*/ 16 h 162"/>
                <a:gd name="T12" fmla="*/ 0 w 38"/>
                <a:gd name="T13" fmla="*/ 17 h 162"/>
                <a:gd name="T14" fmla="*/ 10 w 38"/>
                <a:gd name="T15" fmla="*/ 32 h 162"/>
                <a:gd name="T16" fmla="*/ 10 w 38"/>
                <a:gd name="T17" fmla="*/ 32 h 162"/>
                <a:gd name="T18" fmla="*/ 27 w 38"/>
                <a:gd name="T19" fmla="*/ 37 h 162"/>
                <a:gd name="T20" fmla="*/ 31 w 38"/>
                <a:gd name="T21" fmla="*/ 162 h 162"/>
                <a:gd name="T22" fmla="*/ 38 w 38"/>
                <a:gd name="T23" fmla="*/ 162 h 162"/>
                <a:gd name="T24" fmla="*/ 33 w 38"/>
                <a:gd name="T25" fmla="*/ 39 h 162"/>
                <a:gd name="T26" fmla="*/ 33 w 38"/>
                <a:gd name="T27" fmla="*/ 39 h 162"/>
                <a:gd name="T28" fmla="*/ 13 w 38"/>
                <a:gd name="T29" fmla="*/ 26 h 162"/>
                <a:gd name="T30" fmla="*/ 12 w 38"/>
                <a:gd name="T31" fmla="*/ 26 h 162"/>
                <a:gd name="T32" fmla="*/ 6 w 38"/>
                <a:gd name="T33" fmla="*/ 17 h 162"/>
                <a:gd name="T34" fmla="*/ 6 w 38"/>
                <a:gd name="T35" fmla="*/ 16 h 162"/>
                <a:gd name="T36" fmla="*/ 16 w 38"/>
                <a:gd name="T37" fmla="*/ 6 h 162"/>
                <a:gd name="T38" fmla="*/ 26 w 38"/>
                <a:gd name="T39" fmla="*/ 16 h 162"/>
                <a:gd name="T40" fmla="*/ 26 w 38"/>
                <a:gd name="T41" fmla="*/ 31 h 162"/>
                <a:gd name="T42" fmla="*/ 13 w 38"/>
                <a:gd name="T43" fmla="*/ 2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162">
                  <a:moveTo>
                    <a:pt x="33" y="39"/>
                  </a:move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4"/>
                    <a:pt x="4" y="30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6" y="35"/>
                    <a:pt x="21" y="36"/>
                    <a:pt x="27" y="37"/>
                  </a:cubicBezTo>
                  <a:cubicBezTo>
                    <a:pt x="31" y="162"/>
                    <a:pt x="31" y="162"/>
                    <a:pt x="31" y="162"/>
                  </a:cubicBezTo>
                  <a:cubicBezTo>
                    <a:pt x="38" y="162"/>
                    <a:pt x="38" y="162"/>
                    <a:pt x="38" y="162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39"/>
                    <a:pt x="33" y="39"/>
                    <a:pt x="33" y="39"/>
                  </a:cubicBezTo>
                  <a:close/>
                  <a:moveTo>
                    <a:pt x="13" y="26"/>
                  </a:moveTo>
                  <a:cubicBezTo>
                    <a:pt x="12" y="26"/>
                    <a:pt x="12" y="26"/>
                    <a:pt x="12" y="26"/>
                  </a:cubicBezTo>
                  <a:cubicBezTo>
                    <a:pt x="9" y="25"/>
                    <a:pt x="6" y="21"/>
                    <a:pt x="6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1"/>
                    <a:pt x="11" y="6"/>
                    <a:pt x="16" y="6"/>
                  </a:cubicBezTo>
                  <a:cubicBezTo>
                    <a:pt x="22" y="6"/>
                    <a:pt x="26" y="11"/>
                    <a:pt x="26" y="16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0"/>
                    <a:pt x="17" y="28"/>
                    <a:pt x="13" y="26"/>
                  </a:cubicBez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Freeform 228">
              <a:extLst>
                <a:ext uri="{FF2B5EF4-FFF2-40B4-BE49-F238E27FC236}">
                  <a16:creationId xmlns:a16="http://schemas.microsoft.com/office/drawing/2014/main" id="{6B854BDE-CA8D-4B2D-A68E-E47535577BB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34937" y="1246187"/>
              <a:ext cx="80963" cy="255588"/>
            </a:xfrm>
            <a:custGeom>
              <a:avLst/>
              <a:gdLst>
                <a:gd name="T0" fmla="*/ 36 w 52"/>
                <a:gd name="T1" fmla="*/ 0 h 162"/>
                <a:gd name="T2" fmla="*/ 35 w 52"/>
                <a:gd name="T3" fmla="*/ 0 h 162"/>
                <a:gd name="T4" fmla="*/ 19 w 52"/>
                <a:gd name="T5" fmla="*/ 16 h 162"/>
                <a:gd name="T6" fmla="*/ 18 w 52"/>
                <a:gd name="T7" fmla="*/ 32 h 162"/>
                <a:gd name="T8" fmla="*/ 0 w 52"/>
                <a:gd name="T9" fmla="*/ 32 h 162"/>
                <a:gd name="T10" fmla="*/ 0 w 52"/>
                <a:gd name="T11" fmla="*/ 39 h 162"/>
                <a:gd name="T12" fmla="*/ 18 w 52"/>
                <a:gd name="T13" fmla="*/ 39 h 162"/>
                <a:gd name="T14" fmla="*/ 14 w 52"/>
                <a:gd name="T15" fmla="*/ 162 h 162"/>
                <a:gd name="T16" fmla="*/ 20 w 52"/>
                <a:gd name="T17" fmla="*/ 162 h 162"/>
                <a:gd name="T18" fmla="*/ 25 w 52"/>
                <a:gd name="T19" fmla="*/ 38 h 162"/>
                <a:gd name="T20" fmla="*/ 25 w 52"/>
                <a:gd name="T21" fmla="*/ 31 h 162"/>
                <a:gd name="T22" fmla="*/ 25 w 52"/>
                <a:gd name="T23" fmla="*/ 16 h 162"/>
                <a:gd name="T24" fmla="*/ 35 w 52"/>
                <a:gd name="T25" fmla="*/ 6 h 162"/>
                <a:gd name="T26" fmla="*/ 36 w 52"/>
                <a:gd name="T27" fmla="*/ 6 h 162"/>
                <a:gd name="T28" fmla="*/ 45 w 52"/>
                <a:gd name="T29" fmla="*/ 16 h 162"/>
                <a:gd name="T30" fmla="*/ 45 w 52"/>
                <a:gd name="T31" fmla="*/ 17 h 162"/>
                <a:gd name="T32" fmla="*/ 39 w 52"/>
                <a:gd name="T33" fmla="*/ 26 h 162"/>
                <a:gd name="T34" fmla="*/ 31 w 52"/>
                <a:gd name="T35" fmla="*/ 29 h 162"/>
                <a:gd name="T36" fmla="*/ 30 w 52"/>
                <a:gd name="T37" fmla="*/ 36 h 162"/>
                <a:gd name="T38" fmla="*/ 42 w 52"/>
                <a:gd name="T39" fmla="*/ 32 h 162"/>
                <a:gd name="T40" fmla="*/ 52 w 52"/>
                <a:gd name="T41" fmla="*/ 17 h 162"/>
                <a:gd name="T42" fmla="*/ 52 w 52"/>
                <a:gd name="T43" fmla="*/ 16 h 162"/>
                <a:gd name="T44" fmla="*/ 36 w 52"/>
                <a:gd name="T45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162">
                  <a:moveTo>
                    <a:pt x="36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26" y="0"/>
                    <a:pt x="19" y="7"/>
                    <a:pt x="19" y="16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2" y="33"/>
                    <a:pt x="6" y="33"/>
                    <a:pt x="0" y="32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6" y="39"/>
                    <a:pt x="12" y="39"/>
                    <a:pt x="18" y="39"/>
                  </a:cubicBezTo>
                  <a:cubicBezTo>
                    <a:pt x="14" y="162"/>
                    <a:pt x="14" y="162"/>
                    <a:pt x="14" y="162"/>
                  </a:cubicBezTo>
                  <a:cubicBezTo>
                    <a:pt x="20" y="162"/>
                    <a:pt x="20" y="162"/>
                    <a:pt x="20" y="162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1"/>
                    <a:pt x="30" y="6"/>
                    <a:pt x="35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41" y="6"/>
                    <a:pt x="45" y="11"/>
                    <a:pt x="45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21"/>
                    <a:pt x="43" y="25"/>
                    <a:pt x="39" y="26"/>
                  </a:cubicBezTo>
                  <a:cubicBezTo>
                    <a:pt x="37" y="27"/>
                    <a:pt x="34" y="28"/>
                    <a:pt x="31" y="29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4" y="35"/>
                    <a:pt x="38" y="34"/>
                    <a:pt x="42" y="32"/>
                  </a:cubicBezTo>
                  <a:cubicBezTo>
                    <a:pt x="48" y="30"/>
                    <a:pt x="52" y="24"/>
                    <a:pt x="52" y="17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7"/>
                    <a:pt x="45" y="0"/>
                    <a:pt x="36" y="0"/>
                  </a:cubicBez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Freeform 229">
              <a:extLst>
                <a:ext uri="{FF2B5EF4-FFF2-40B4-BE49-F238E27FC236}">
                  <a16:creationId xmlns:a16="http://schemas.microsoft.com/office/drawing/2014/main" id="{A887FBC1-3EAE-46A7-8AD3-CE1847B2E2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87312" y="1465262"/>
              <a:ext cx="115888" cy="98425"/>
            </a:xfrm>
            <a:custGeom>
              <a:avLst/>
              <a:gdLst>
                <a:gd name="T0" fmla="*/ 0 w 74"/>
                <a:gd name="T1" fmla="*/ 0 h 62"/>
                <a:gd name="T2" fmla="*/ 0 w 74"/>
                <a:gd name="T3" fmla="*/ 41 h 62"/>
                <a:gd name="T4" fmla="*/ 11 w 74"/>
                <a:gd name="T5" fmla="*/ 52 h 62"/>
                <a:gd name="T6" fmla="*/ 26 w 74"/>
                <a:gd name="T7" fmla="*/ 52 h 62"/>
                <a:gd name="T8" fmla="*/ 26 w 74"/>
                <a:gd name="T9" fmla="*/ 62 h 62"/>
                <a:gd name="T10" fmla="*/ 48 w 74"/>
                <a:gd name="T11" fmla="*/ 62 h 62"/>
                <a:gd name="T12" fmla="*/ 48 w 74"/>
                <a:gd name="T13" fmla="*/ 52 h 62"/>
                <a:gd name="T14" fmla="*/ 63 w 74"/>
                <a:gd name="T15" fmla="*/ 52 h 62"/>
                <a:gd name="T16" fmla="*/ 74 w 74"/>
                <a:gd name="T17" fmla="*/ 41 h 62"/>
                <a:gd name="T18" fmla="*/ 74 w 74"/>
                <a:gd name="T19" fmla="*/ 0 h 62"/>
                <a:gd name="T20" fmla="*/ 0 w 74"/>
                <a:gd name="T2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62">
                  <a:moveTo>
                    <a:pt x="0" y="0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47"/>
                    <a:pt x="5" y="52"/>
                    <a:pt x="11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62"/>
                    <a:pt x="26" y="62"/>
                    <a:pt x="26" y="62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9" y="52"/>
                    <a:pt x="74" y="47"/>
                    <a:pt x="74" y="41"/>
                  </a:cubicBezTo>
                  <a:cubicBezTo>
                    <a:pt x="74" y="0"/>
                    <a:pt x="74" y="0"/>
                    <a:pt x="7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Rectangle 230">
              <a:extLst>
                <a:ext uri="{FF2B5EF4-FFF2-40B4-BE49-F238E27FC236}">
                  <a16:creationId xmlns:a16="http://schemas.microsoft.com/office/drawing/2014/main" id="{E6EFEC59-7D56-4E4B-BA6F-3339153C39E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87312" y="1484312"/>
              <a:ext cx="90488" cy="12700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Rectangle 231">
              <a:extLst>
                <a:ext uri="{FF2B5EF4-FFF2-40B4-BE49-F238E27FC236}">
                  <a16:creationId xmlns:a16="http://schemas.microsoft.com/office/drawing/2014/main" id="{10BB6724-6943-40AF-A2A1-8E618744063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387312" y="1512887"/>
              <a:ext cx="90488" cy="12700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Line 232">
              <a:extLst>
                <a:ext uri="{FF2B5EF4-FFF2-40B4-BE49-F238E27FC236}">
                  <a16:creationId xmlns:a16="http://schemas.microsoft.com/office/drawing/2014/main" id="{6C91FDD3-6139-4C62-8F7D-0AE4B6EBB06D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8652425" y="1289050"/>
              <a:ext cx="87313" cy="0"/>
            </a:xfrm>
            <a:prstGeom prst="line">
              <a:avLst/>
            </a:pr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Line 233">
              <a:extLst>
                <a:ext uri="{FF2B5EF4-FFF2-40B4-BE49-F238E27FC236}">
                  <a16:creationId xmlns:a16="http://schemas.microsoft.com/office/drawing/2014/main" id="{BCB29F29-526B-4FFA-AE19-6CC2D43CEAEA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 flipH="1">
              <a:off x="8155537" y="1289050"/>
              <a:ext cx="87313" cy="0"/>
            </a:xfrm>
            <a:prstGeom prst="line">
              <a:avLst/>
            </a:pr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Line 234">
              <a:extLst>
                <a:ext uri="{FF2B5EF4-FFF2-40B4-BE49-F238E27FC236}">
                  <a16:creationId xmlns:a16="http://schemas.microsoft.com/office/drawing/2014/main" id="{36CC1069-78FA-4C7B-B586-1418D29CE423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 flipV="1">
              <a:off x="8592100" y="1082675"/>
              <a:ext cx="61913" cy="61913"/>
            </a:xfrm>
            <a:prstGeom prst="line">
              <a:avLst/>
            </a:pr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Line 235">
              <a:extLst>
                <a:ext uri="{FF2B5EF4-FFF2-40B4-BE49-F238E27FC236}">
                  <a16:creationId xmlns:a16="http://schemas.microsoft.com/office/drawing/2014/main" id="{6AE80BB4-F699-4A3F-801A-6C2248FC40E2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 flipH="1">
              <a:off x="8241262" y="1433512"/>
              <a:ext cx="61913" cy="61913"/>
            </a:xfrm>
            <a:prstGeom prst="line">
              <a:avLst/>
            </a:pr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Line 236">
              <a:extLst>
                <a:ext uri="{FF2B5EF4-FFF2-40B4-BE49-F238E27FC236}">
                  <a16:creationId xmlns:a16="http://schemas.microsoft.com/office/drawing/2014/main" id="{D1BC674A-22E6-4F05-BD0F-021AB9FF6080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8592100" y="1433512"/>
              <a:ext cx="61913" cy="61913"/>
            </a:xfrm>
            <a:prstGeom prst="line">
              <a:avLst/>
            </a:pr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Line 237">
              <a:extLst>
                <a:ext uri="{FF2B5EF4-FFF2-40B4-BE49-F238E27FC236}">
                  <a16:creationId xmlns:a16="http://schemas.microsoft.com/office/drawing/2014/main" id="{7859C80B-ECC6-4BF6-8902-852EFD731448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 flipH="1" flipV="1">
              <a:off x="8241262" y="1082675"/>
              <a:ext cx="61913" cy="61913"/>
            </a:xfrm>
            <a:prstGeom prst="line">
              <a:avLst/>
            </a:pr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Line 238">
              <a:extLst>
                <a:ext uri="{FF2B5EF4-FFF2-40B4-BE49-F238E27FC236}">
                  <a16:creationId xmlns:a16="http://schemas.microsoft.com/office/drawing/2014/main" id="{A8BF3663-BE27-4050-B90A-B807D66E3766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 flipV="1">
              <a:off x="8447637" y="998537"/>
              <a:ext cx="0" cy="85725"/>
            </a:xfrm>
            <a:prstGeom prst="line">
              <a:avLst/>
            </a:pr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5" name="Freeform 239">
              <a:extLst>
                <a:ext uri="{FF2B5EF4-FFF2-40B4-BE49-F238E27FC236}">
                  <a16:creationId xmlns:a16="http://schemas.microsoft.com/office/drawing/2014/main" id="{24ECD907-9330-454E-BDAD-80E3F863CF7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073112" y="2282825"/>
              <a:ext cx="206375" cy="101600"/>
            </a:xfrm>
            <a:custGeom>
              <a:avLst/>
              <a:gdLst>
                <a:gd name="T0" fmla="*/ 113 w 130"/>
                <a:gd name="T1" fmla="*/ 64 h 64"/>
                <a:gd name="T2" fmla="*/ 18 w 130"/>
                <a:gd name="T3" fmla="*/ 64 h 64"/>
                <a:gd name="T4" fmla="*/ 0 w 130"/>
                <a:gd name="T5" fmla="*/ 46 h 64"/>
                <a:gd name="T6" fmla="*/ 0 w 130"/>
                <a:gd name="T7" fmla="*/ 19 h 64"/>
                <a:gd name="T8" fmla="*/ 65 w 130"/>
                <a:gd name="T9" fmla="*/ 0 h 64"/>
                <a:gd name="T10" fmla="*/ 130 w 130"/>
                <a:gd name="T11" fmla="*/ 19 h 64"/>
                <a:gd name="T12" fmla="*/ 130 w 130"/>
                <a:gd name="T13" fmla="*/ 46 h 64"/>
                <a:gd name="T14" fmla="*/ 113 w 130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64">
                  <a:moveTo>
                    <a:pt x="113" y="64"/>
                  </a:moveTo>
                  <a:cubicBezTo>
                    <a:pt x="18" y="64"/>
                    <a:pt x="18" y="64"/>
                    <a:pt x="18" y="64"/>
                  </a:cubicBezTo>
                  <a:cubicBezTo>
                    <a:pt x="8" y="64"/>
                    <a:pt x="0" y="56"/>
                    <a:pt x="0" y="4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65" y="0"/>
                    <a:pt x="65" y="0"/>
                  </a:cubicBezTo>
                  <a:cubicBezTo>
                    <a:pt x="65" y="0"/>
                    <a:pt x="130" y="9"/>
                    <a:pt x="130" y="19"/>
                  </a:cubicBezTo>
                  <a:cubicBezTo>
                    <a:pt x="130" y="46"/>
                    <a:pt x="130" y="46"/>
                    <a:pt x="130" y="46"/>
                  </a:cubicBezTo>
                  <a:cubicBezTo>
                    <a:pt x="130" y="56"/>
                    <a:pt x="122" y="64"/>
                    <a:pt x="113" y="64"/>
                  </a:cubicBez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Freeform 240">
              <a:extLst>
                <a:ext uri="{FF2B5EF4-FFF2-40B4-BE49-F238E27FC236}">
                  <a16:creationId xmlns:a16="http://schemas.microsoft.com/office/drawing/2014/main" id="{80C5D8BE-C400-4BBC-81A0-0CCE902152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073112" y="2046287"/>
              <a:ext cx="206375" cy="266700"/>
            </a:xfrm>
            <a:custGeom>
              <a:avLst/>
              <a:gdLst>
                <a:gd name="T0" fmla="*/ 113 w 130"/>
                <a:gd name="T1" fmla="*/ 0 h 169"/>
                <a:gd name="T2" fmla="*/ 18 w 130"/>
                <a:gd name="T3" fmla="*/ 0 h 169"/>
                <a:gd name="T4" fmla="*/ 0 w 130"/>
                <a:gd name="T5" fmla="*/ 18 h 169"/>
                <a:gd name="T6" fmla="*/ 0 w 130"/>
                <a:gd name="T7" fmla="*/ 169 h 169"/>
                <a:gd name="T8" fmla="*/ 130 w 130"/>
                <a:gd name="T9" fmla="*/ 169 h 169"/>
                <a:gd name="T10" fmla="*/ 130 w 130"/>
                <a:gd name="T11" fmla="*/ 18 h 169"/>
                <a:gd name="T12" fmla="*/ 113 w 130"/>
                <a:gd name="T13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69">
                  <a:moveTo>
                    <a:pt x="113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130" y="169"/>
                    <a:pt x="130" y="169"/>
                    <a:pt x="130" y="169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0" y="8"/>
                    <a:pt x="122" y="0"/>
                    <a:pt x="1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Rectangle 241">
              <a:extLst>
                <a:ext uri="{FF2B5EF4-FFF2-40B4-BE49-F238E27FC236}">
                  <a16:creationId xmlns:a16="http://schemas.microsoft.com/office/drawing/2014/main" id="{7E4D5DBC-0D61-42EA-97B9-09EF8FA6309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165187" y="2335212"/>
              <a:ext cx="23813" cy="23813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Freeform 242">
              <a:extLst>
                <a:ext uri="{FF2B5EF4-FFF2-40B4-BE49-F238E27FC236}">
                  <a16:creationId xmlns:a16="http://schemas.microsoft.com/office/drawing/2014/main" id="{781ACA06-C585-4D43-AF7F-3FDF8869097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073112" y="2106612"/>
              <a:ext cx="206375" cy="206375"/>
            </a:xfrm>
            <a:custGeom>
              <a:avLst/>
              <a:gdLst>
                <a:gd name="T0" fmla="*/ 0 w 130"/>
                <a:gd name="T1" fmla="*/ 130 h 130"/>
                <a:gd name="T2" fmla="*/ 130 w 130"/>
                <a:gd name="T3" fmla="*/ 130 h 130"/>
                <a:gd name="T4" fmla="*/ 130 w 130"/>
                <a:gd name="T5" fmla="*/ 0 h 130"/>
                <a:gd name="T6" fmla="*/ 0 w 130"/>
                <a:gd name="T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0" h="130">
                  <a:moveTo>
                    <a:pt x="0" y="130"/>
                  </a:moveTo>
                  <a:lnTo>
                    <a:pt x="130" y="130"/>
                  </a:lnTo>
                  <a:lnTo>
                    <a:pt x="130" y="0"/>
                  </a:lnTo>
                  <a:lnTo>
                    <a:pt x="0" y="130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Freeform 243">
              <a:extLst>
                <a:ext uri="{FF2B5EF4-FFF2-40B4-BE49-F238E27FC236}">
                  <a16:creationId xmlns:a16="http://schemas.microsoft.com/office/drawing/2014/main" id="{8DC0EFD1-6A10-4CCC-A133-EF6A0FB00896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536412" y="1647825"/>
              <a:ext cx="206375" cy="106363"/>
            </a:xfrm>
            <a:custGeom>
              <a:avLst/>
              <a:gdLst>
                <a:gd name="T0" fmla="*/ 101 w 131"/>
                <a:gd name="T1" fmla="*/ 12 h 67"/>
                <a:gd name="T2" fmla="*/ 119 w 131"/>
                <a:gd name="T3" fmla="*/ 30 h 67"/>
                <a:gd name="T4" fmla="*/ 119 w 131"/>
                <a:gd name="T5" fmla="*/ 55 h 67"/>
                <a:gd name="T6" fmla="*/ 12 w 131"/>
                <a:gd name="T7" fmla="*/ 55 h 67"/>
                <a:gd name="T8" fmla="*/ 12 w 131"/>
                <a:gd name="T9" fmla="*/ 30 h 67"/>
                <a:gd name="T10" fmla="*/ 30 w 131"/>
                <a:gd name="T11" fmla="*/ 12 h 67"/>
                <a:gd name="T12" fmla="*/ 101 w 131"/>
                <a:gd name="T13" fmla="*/ 12 h 67"/>
                <a:gd name="T14" fmla="*/ 101 w 131"/>
                <a:gd name="T15" fmla="*/ 0 h 67"/>
                <a:gd name="T16" fmla="*/ 30 w 131"/>
                <a:gd name="T17" fmla="*/ 0 h 67"/>
                <a:gd name="T18" fmla="*/ 0 w 131"/>
                <a:gd name="T19" fmla="*/ 30 h 67"/>
                <a:gd name="T20" fmla="*/ 0 w 131"/>
                <a:gd name="T21" fmla="*/ 67 h 67"/>
                <a:gd name="T22" fmla="*/ 131 w 131"/>
                <a:gd name="T23" fmla="*/ 67 h 67"/>
                <a:gd name="T24" fmla="*/ 131 w 131"/>
                <a:gd name="T25" fmla="*/ 30 h 67"/>
                <a:gd name="T26" fmla="*/ 101 w 131"/>
                <a:gd name="T2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1" h="67">
                  <a:moveTo>
                    <a:pt x="101" y="12"/>
                  </a:moveTo>
                  <a:cubicBezTo>
                    <a:pt x="111" y="12"/>
                    <a:pt x="119" y="20"/>
                    <a:pt x="119" y="30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20"/>
                    <a:pt x="20" y="12"/>
                    <a:pt x="30" y="12"/>
                  </a:cubicBezTo>
                  <a:cubicBezTo>
                    <a:pt x="101" y="12"/>
                    <a:pt x="101" y="12"/>
                    <a:pt x="101" y="12"/>
                  </a:cubicBezTo>
                  <a:moveTo>
                    <a:pt x="10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13" y="0"/>
                    <a:pt x="0" y="14"/>
                    <a:pt x="0" y="3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1" y="14"/>
                    <a:pt x="118" y="0"/>
                    <a:pt x="10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Freeform 244">
              <a:extLst>
                <a:ext uri="{FF2B5EF4-FFF2-40B4-BE49-F238E27FC236}">
                  <a16:creationId xmlns:a16="http://schemas.microsoft.com/office/drawing/2014/main" id="{E1CAA560-D5F9-48AF-A25D-59198E2B76D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587212" y="1522412"/>
              <a:ext cx="103188" cy="101600"/>
            </a:xfrm>
            <a:custGeom>
              <a:avLst/>
              <a:gdLst>
                <a:gd name="T0" fmla="*/ 33 w 65"/>
                <a:gd name="T1" fmla="*/ 12 h 65"/>
                <a:gd name="T2" fmla="*/ 53 w 65"/>
                <a:gd name="T3" fmla="*/ 33 h 65"/>
                <a:gd name="T4" fmla="*/ 33 w 65"/>
                <a:gd name="T5" fmla="*/ 53 h 65"/>
                <a:gd name="T6" fmla="*/ 12 w 65"/>
                <a:gd name="T7" fmla="*/ 33 h 65"/>
                <a:gd name="T8" fmla="*/ 33 w 65"/>
                <a:gd name="T9" fmla="*/ 12 h 65"/>
                <a:gd name="T10" fmla="*/ 33 w 65"/>
                <a:gd name="T11" fmla="*/ 0 h 65"/>
                <a:gd name="T12" fmla="*/ 0 w 65"/>
                <a:gd name="T13" fmla="*/ 33 h 65"/>
                <a:gd name="T14" fmla="*/ 33 w 65"/>
                <a:gd name="T15" fmla="*/ 65 h 65"/>
                <a:gd name="T16" fmla="*/ 65 w 65"/>
                <a:gd name="T17" fmla="*/ 33 h 65"/>
                <a:gd name="T18" fmla="*/ 33 w 65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5">
                  <a:moveTo>
                    <a:pt x="33" y="12"/>
                  </a:moveTo>
                  <a:cubicBezTo>
                    <a:pt x="44" y="12"/>
                    <a:pt x="53" y="22"/>
                    <a:pt x="53" y="33"/>
                  </a:cubicBezTo>
                  <a:cubicBezTo>
                    <a:pt x="53" y="44"/>
                    <a:pt x="44" y="53"/>
                    <a:pt x="33" y="53"/>
                  </a:cubicBezTo>
                  <a:cubicBezTo>
                    <a:pt x="21" y="53"/>
                    <a:pt x="12" y="44"/>
                    <a:pt x="12" y="33"/>
                  </a:cubicBezTo>
                  <a:cubicBezTo>
                    <a:pt x="12" y="22"/>
                    <a:pt x="21" y="12"/>
                    <a:pt x="33" y="12"/>
                  </a:cubicBezTo>
                  <a:moveTo>
                    <a:pt x="33" y="0"/>
                  </a:move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ubicBezTo>
                    <a:pt x="51" y="65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" name="Freeform 245">
              <a:extLst>
                <a:ext uri="{FF2B5EF4-FFF2-40B4-BE49-F238E27FC236}">
                  <a16:creationId xmlns:a16="http://schemas.microsoft.com/office/drawing/2014/main" id="{56D9A08D-5069-44B5-9959-C494777F042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7717387" y="1050925"/>
              <a:ext cx="223838" cy="185738"/>
            </a:xfrm>
            <a:custGeom>
              <a:avLst/>
              <a:gdLst>
                <a:gd name="T0" fmla="*/ 104 w 142"/>
                <a:gd name="T1" fmla="*/ 12 h 118"/>
                <a:gd name="T2" fmla="*/ 130 w 142"/>
                <a:gd name="T3" fmla="*/ 38 h 118"/>
                <a:gd name="T4" fmla="*/ 122 w 142"/>
                <a:gd name="T5" fmla="*/ 57 h 118"/>
                <a:gd name="T6" fmla="*/ 122 w 142"/>
                <a:gd name="T7" fmla="*/ 58 h 118"/>
                <a:gd name="T8" fmla="*/ 121 w 142"/>
                <a:gd name="T9" fmla="*/ 58 h 118"/>
                <a:gd name="T10" fmla="*/ 121 w 142"/>
                <a:gd name="T11" fmla="*/ 58 h 118"/>
                <a:gd name="T12" fmla="*/ 121 w 142"/>
                <a:gd name="T13" fmla="*/ 59 h 118"/>
                <a:gd name="T14" fmla="*/ 120 w 142"/>
                <a:gd name="T15" fmla="*/ 59 h 118"/>
                <a:gd name="T16" fmla="*/ 71 w 142"/>
                <a:gd name="T17" fmla="*/ 102 h 118"/>
                <a:gd name="T18" fmla="*/ 21 w 142"/>
                <a:gd name="T19" fmla="*/ 58 h 118"/>
                <a:gd name="T20" fmla="*/ 20 w 142"/>
                <a:gd name="T21" fmla="*/ 57 h 118"/>
                <a:gd name="T22" fmla="*/ 12 w 142"/>
                <a:gd name="T23" fmla="*/ 38 h 118"/>
                <a:gd name="T24" fmla="*/ 38 w 142"/>
                <a:gd name="T25" fmla="*/ 12 h 118"/>
                <a:gd name="T26" fmla="*/ 61 w 142"/>
                <a:gd name="T27" fmla="*/ 25 h 118"/>
                <a:gd name="T28" fmla="*/ 71 w 142"/>
                <a:gd name="T29" fmla="*/ 42 h 118"/>
                <a:gd name="T30" fmla="*/ 82 w 142"/>
                <a:gd name="T31" fmla="*/ 25 h 118"/>
                <a:gd name="T32" fmla="*/ 104 w 142"/>
                <a:gd name="T33" fmla="*/ 12 h 118"/>
                <a:gd name="T34" fmla="*/ 104 w 142"/>
                <a:gd name="T35" fmla="*/ 0 h 118"/>
                <a:gd name="T36" fmla="*/ 71 w 142"/>
                <a:gd name="T37" fmla="*/ 18 h 118"/>
                <a:gd name="T38" fmla="*/ 38 w 142"/>
                <a:gd name="T39" fmla="*/ 0 h 118"/>
                <a:gd name="T40" fmla="*/ 0 w 142"/>
                <a:gd name="T41" fmla="*/ 38 h 118"/>
                <a:gd name="T42" fmla="*/ 12 w 142"/>
                <a:gd name="T43" fmla="*/ 66 h 118"/>
                <a:gd name="T44" fmla="*/ 12 w 142"/>
                <a:gd name="T45" fmla="*/ 66 h 118"/>
                <a:gd name="T46" fmla="*/ 71 w 142"/>
                <a:gd name="T47" fmla="*/ 118 h 118"/>
                <a:gd name="T48" fmla="*/ 128 w 142"/>
                <a:gd name="T49" fmla="*/ 68 h 118"/>
                <a:gd name="T50" fmla="*/ 129 w 142"/>
                <a:gd name="T51" fmla="*/ 67 h 118"/>
                <a:gd name="T52" fmla="*/ 130 w 142"/>
                <a:gd name="T53" fmla="*/ 66 h 118"/>
                <a:gd name="T54" fmla="*/ 130 w 142"/>
                <a:gd name="T55" fmla="*/ 66 h 118"/>
                <a:gd name="T56" fmla="*/ 142 w 142"/>
                <a:gd name="T57" fmla="*/ 38 h 118"/>
                <a:gd name="T58" fmla="*/ 104 w 142"/>
                <a:gd name="T5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2" h="118">
                  <a:moveTo>
                    <a:pt x="104" y="12"/>
                  </a:moveTo>
                  <a:cubicBezTo>
                    <a:pt x="119" y="12"/>
                    <a:pt x="130" y="24"/>
                    <a:pt x="130" y="38"/>
                  </a:cubicBezTo>
                  <a:cubicBezTo>
                    <a:pt x="130" y="45"/>
                    <a:pt x="128" y="52"/>
                    <a:pt x="122" y="57"/>
                  </a:cubicBezTo>
                  <a:cubicBezTo>
                    <a:pt x="122" y="58"/>
                    <a:pt x="122" y="58"/>
                    <a:pt x="122" y="58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15" y="52"/>
                    <a:pt x="12" y="45"/>
                    <a:pt x="12" y="38"/>
                  </a:cubicBezTo>
                  <a:cubicBezTo>
                    <a:pt x="12" y="24"/>
                    <a:pt x="24" y="12"/>
                    <a:pt x="38" y="12"/>
                  </a:cubicBezTo>
                  <a:cubicBezTo>
                    <a:pt x="48" y="12"/>
                    <a:pt x="56" y="17"/>
                    <a:pt x="61" y="25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6" y="17"/>
                    <a:pt x="95" y="12"/>
                    <a:pt x="104" y="12"/>
                  </a:cubicBezTo>
                  <a:moveTo>
                    <a:pt x="104" y="0"/>
                  </a:moveTo>
                  <a:cubicBezTo>
                    <a:pt x="90" y="0"/>
                    <a:pt x="78" y="7"/>
                    <a:pt x="71" y="18"/>
                  </a:cubicBezTo>
                  <a:cubicBezTo>
                    <a:pt x="65" y="7"/>
                    <a:pt x="52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49"/>
                    <a:pt x="5" y="59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71" y="118"/>
                    <a:pt x="71" y="118"/>
                    <a:pt x="71" y="11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8"/>
                    <a:pt x="129" y="67"/>
                    <a:pt x="129" y="67"/>
                  </a:cubicBezTo>
                  <a:cubicBezTo>
                    <a:pt x="130" y="66"/>
                    <a:pt x="130" y="66"/>
                    <a:pt x="130" y="66"/>
                  </a:cubicBezTo>
                  <a:cubicBezTo>
                    <a:pt x="130" y="66"/>
                    <a:pt x="130" y="66"/>
                    <a:pt x="130" y="66"/>
                  </a:cubicBezTo>
                  <a:cubicBezTo>
                    <a:pt x="138" y="59"/>
                    <a:pt x="142" y="49"/>
                    <a:pt x="142" y="38"/>
                  </a:cubicBezTo>
                  <a:cubicBezTo>
                    <a:pt x="142" y="17"/>
                    <a:pt x="125" y="0"/>
                    <a:pt x="10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" name="Freeform 246">
              <a:extLst>
                <a:ext uri="{FF2B5EF4-FFF2-40B4-BE49-F238E27FC236}">
                  <a16:creationId xmlns:a16="http://schemas.microsoft.com/office/drawing/2014/main" id="{6DA20B46-EF8C-4DBB-A81A-C06460063FF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15687" y="581025"/>
              <a:ext cx="446088" cy="233363"/>
            </a:xfrm>
            <a:custGeom>
              <a:avLst/>
              <a:gdLst>
                <a:gd name="T0" fmla="*/ 264 w 283"/>
                <a:gd name="T1" fmla="*/ 110 h 148"/>
                <a:gd name="T2" fmla="*/ 256 w 283"/>
                <a:gd name="T3" fmla="*/ 112 h 148"/>
                <a:gd name="T4" fmla="*/ 258 w 283"/>
                <a:gd name="T5" fmla="*/ 101 h 148"/>
                <a:gd name="T6" fmla="*/ 210 w 283"/>
                <a:gd name="T7" fmla="*/ 54 h 148"/>
                <a:gd name="T8" fmla="*/ 179 w 283"/>
                <a:gd name="T9" fmla="*/ 66 h 148"/>
                <a:gd name="T10" fmla="*/ 105 w 283"/>
                <a:gd name="T11" fmla="*/ 0 h 148"/>
                <a:gd name="T12" fmla="*/ 32 w 283"/>
                <a:gd name="T13" fmla="*/ 74 h 148"/>
                <a:gd name="T14" fmla="*/ 32 w 283"/>
                <a:gd name="T15" fmla="*/ 85 h 148"/>
                <a:gd name="T16" fmla="*/ 32 w 283"/>
                <a:gd name="T17" fmla="*/ 85 h 148"/>
                <a:gd name="T18" fmla="*/ 0 w 283"/>
                <a:gd name="T19" fmla="*/ 116 h 148"/>
                <a:gd name="T20" fmla="*/ 32 w 283"/>
                <a:gd name="T21" fmla="*/ 148 h 148"/>
                <a:gd name="T22" fmla="*/ 264 w 283"/>
                <a:gd name="T23" fmla="*/ 148 h 148"/>
                <a:gd name="T24" fmla="*/ 283 w 283"/>
                <a:gd name="T25" fmla="*/ 129 h 148"/>
                <a:gd name="T26" fmla="*/ 264 w 283"/>
                <a:gd name="T27" fmla="*/ 11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148">
                  <a:moveTo>
                    <a:pt x="264" y="110"/>
                  </a:moveTo>
                  <a:cubicBezTo>
                    <a:pt x="262" y="110"/>
                    <a:pt x="259" y="111"/>
                    <a:pt x="256" y="112"/>
                  </a:cubicBezTo>
                  <a:cubicBezTo>
                    <a:pt x="257" y="108"/>
                    <a:pt x="258" y="105"/>
                    <a:pt x="258" y="101"/>
                  </a:cubicBezTo>
                  <a:cubicBezTo>
                    <a:pt x="258" y="75"/>
                    <a:pt x="236" y="54"/>
                    <a:pt x="210" y="54"/>
                  </a:cubicBezTo>
                  <a:cubicBezTo>
                    <a:pt x="198" y="54"/>
                    <a:pt x="187" y="58"/>
                    <a:pt x="179" y="66"/>
                  </a:cubicBezTo>
                  <a:cubicBezTo>
                    <a:pt x="174" y="29"/>
                    <a:pt x="143" y="0"/>
                    <a:pt x="105" y="0"/>
                  </a:cubicBezTo>
                  <a:cubicBezTo>
                    <a:pt x="65" y="0"/>
                    <a:pt x="32" y="33"/>
                    <a:pt x="32" y="74"/>
                  </a:cubicBezTo>
                  <a:cubicBezTo>
                    <a:pt x="32" y="78"/>
                    <a:pt x="32" y="81"/>
                    <a:pt x="32" y="85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14" y="85"/>
                    <a:pt x="0" y="99"/>
                    <a:pt x="0" y="116"/>
                  </a:cubicBezTo>
                  <a:cubicBezTo>
                    <a:pt x="0" y="134"/>
                    <a:pt x="14" y="148"/>
                    <a:pt x="32" y="148"/>
                  </a:cubicBezTo>
                  <a:cubicBezTo>
                    <a:pt x="43" y="148"/>
                    <a:pt x="255" y="148"/>
                    <a:pt x="264" y="148"/>
                  </a:cubicBezTo>
                  <a:cubicBezTo>
                    <a:pt x="275" y="148"/>
                    <a:pt x="283" y="139"/>
                    <a:pt x="283" y="129"/>
                  </a:cubicBezTo>
                  <a:cubicBezTo>
                    <a:pt x="283" y="119"/>
                    <a:pt x="275" y="110"/>
                    <a:pt x="264" y="1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73" name="Group 472">
              <a:extLst>
                <a:ext uri="{FF2B5EF4-FFF2-40B4-BE49-F238E27FC236}">
                  <a16:creationId xmlns:a16="http://schemas.microsoft.com/office/drawing/2014/main" id="{85BD478A-8460-454D-9AEB-938217E8B959}"/>
                </a:ext>
              </a:extLst>
            </p:cNvPr>
            <p:cNvGrpSpPr/>
            <p:nvPr userDrawn="1"/>
          </p:nvGrpSpPr>
          <p:grpSpPr bwMode="gray">
            <a:xfrm>
              <a:off x="8561938" y="3757612"/>
              <a:ext cx="357188" cy="354013"/>
              <a:chOff x="8514312" y="3838575"/>
              <a:chExt cx="357188" cy="354013"/>
            </a:xfrm>
          </p:grpSpPr>
          <p:sp>
            <p:nvSpPr>
              <p:cNvPr id="474" name="Oval 247">
                <a:extLst>
                  <a:ext uri="{FF2B5EF4-FFF2-40B4-BE49-F238E27FC236}">
                    <a16:creationId xmlns:a16="http://schemas.microsoft.com/office/drawing/2014/main" id="{3E04EA3D-9F42-4351-91AA-1E0D9479ABD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514312" y="3838575"/>
                <a:ext cx="357188" cy="354013"/>
              </a:xfrm>
              <a:prstGeom prst="ellipse">
                <a:avLst/>
              </a:prstGeom>
              <a:noFill/>
              <a:ln w="269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248">
                <a:extLst>
                  <a:ext uri="{FF2B5EF4-FFF2-40B4-BE49-F238E27FC236}">
                    <a16:creationId xmlns:a16="http://schemas.microsoft.com/office/drawing/2014/main" id="{82F0F18A-CC29-44FA-A472-51860CB1E6F6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8525425" y="3846512"/>
                <a:ext cx="334963" cy="336550"/>
              </a:xfrm>
              <a:custGeom>
                <a:avLst/>
                <a:gdLst>
                  <a:gd name="T0" fmla="*/ 106 w 212"/>
                  <a:gd name="T1" fmla="*/ 213 h 213"/>
                  <a:gd name="T2" fmla="*/ 0 w 212"/>
                  <a:gd name="T3" fmla="*/ 107 h 213"/>
                  <a:gd name="T4" fmla="*/ 106 w 212"/>
                  <a:gd name="T5" fmla="*/ 0 h 213"/>
                  <a:gd name="T6" fmla="*/ 212 w 212"/>
                  <a:gd name="T7" fmla="*/ 107 h 213"/>
                  <a:gd name="T8" fmla="*/ 106 w 212"/>
                  <a:gd name="T9" fmla="*/ 213 h 213"/>
                  <a:gd name="T10" fmla="*/ 106 w 212"/>
                  <a:gd name="T11" fmla="*/ 24 h 213"/>
                  <a:gd name="T12" fmla="*/ 23 w 212"/>
                  <a:gd name="T13" fmla="*/ 107 h 213"/>
                  <a:gd name="T14" fmla="*/ 106 w 212"/>
                  <a:gd name="T15" fmla="*/ 190 h 213"/>
                  <a:gd name="T16" fmla="*/ 189 w 212"/>
                  <a:gd name="T17" fmla="*/ 107 h 213"/>
                  <a:gd name="T18" fmla="*/ 106 w 212"/>
                  <a:gd name="T19" fmla="*/ 2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2" h="213">
                    <a:moveTo>
                      <a:pt x="106" y="213"/>
                    </a:moveTo>
                    <a:cubicBezTo>
                      <a:pt x="47" y="213"/>
                      <a:pt x="0" y="165"/>
                      <a:pt x="0" y="107"/>
                    </a:cubicBezTo>
                    <a:cubicBezTo>
                      <a:pt x="0" y="48"/>
                      <a:pt x="47" y="0"/>
                      <a:pt x="106" y="0"/>
                    </a:cubicBezTo>
                    <a:cubicBezTo>
                      <a:pt x="165" y="0"/>
                      <a:pt x="212" y="48"/>
                      <a:pt x="212" y="107"/>
                    </a:cubicBezTo>
                    <a:cubicBezTo>
                      <a:pt x="212" y="165"/>
                      <a:pt x="165" y="213"/>
                      <a:pt x="106" y="213"/>
                    </a:cubicBezTo>
                    <a:close/>
                    <a:moveTo>
                      <a:pt x="106" y="24"/>
                    </a:moveTo>
                    <a:cubicBezTo>
                      <a:pt x="60" y="24"/>
                      <a:pt x="23" y="61"/>
                      <a:pt x="23" y="107"/>
                    </a:cubicBezTo>
                    <a:cubicBezTo>
                      <a:pt x="23" y="152"/>
                      <a:pt x="60" y="190"/>
                      <a:pt x="106" y="190"/>
                    </a:cubicBezTo>
                    <a:cubicBezTo>
                      <a:pt x="152" y="190"/>
                      <a:pt x="189" y="152"/>
                      <a:pt x="189" y="107"/>
                    </a:cubicBezTo>
                    <a:cubicBezTo>
                      <a:pt x="189" y="61"/>
                      <a:pt x="152" y="24"/>
                      <a:pt x="106" y="24"/>
                    </a:cubicBezTo>
                    <a:close/>
                  </a:path>
                </a:pathLst>
              </a:custGeom>
              <a:solidFill>
                <a:srgbClr val="0048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76" name="globe_2">
              <a:extLst>
                <a:ext uri="{FF2B5EF4-FFF2-40B4-BE49-F238E27FC236}">
                  <a16:creationId xmlns:a16="http://schemas.microsoft.com/office/drawing/2014/main" id="{77A4A297-F7BA-439C-82AB-343DEAF5DEC9}"/>
                </a:ext>
              </a:extLst>
            </p:cNvPr>
            <p:cNvSpPr>
              <a:spLocks noChangeAspect="1" noEditPoints="1"/>
            </p:cNvSpPr>
            <p:nvPr userDrawn="1"/>
          </p:nvSpPr>
          <p:spPr bwMode="gray">
            <a:xfrm>
              <a:off x="8657735" y="3055938"/>
              <a:ext cx="320676" cy="320676"/>
            </a:xfrm>
            <a:custGeom>
              <a:avLst/>
              <a:gdLst>
                <a:gd name="T0" fmla="*/ 0 w 335"/>
                <a:gd name="T1" fmla="*/ 168 h 335"/>
                <a:gd name="T2" fmla="*/ 168 w 335"/>
                <a:gd name="T3" fmla="*/ 0 h 335"/>
                <a:gd name="T4" fmla="*/ 335 w 335"/>
                <a:gd name="T5" fmla="*/ 168 h 335"/>
                <a:gd name="T6" fmla="*/ 168 w 335"/>
                <a:gd name="T7" fmla="*/ 335 h 335"/>
                <a:gd name="T8" fmla="*/ 0 w 335"/>
                <a:gd name="T9" fmla="*/ 168 h 335"/>
                <a:gd name="T10" fmla="*/ 168 w 335"/>
                <a:gd name="T11" fmla="*/ 335 h 335"/>
                <a:gd name="T12" fmla="*/ 253 w 335"/>
                <a:gd name="T13" fmla="*/ 168 h 335"/>
                <a:gd name="T14" fmla="*/ 168 w 335"/>
                <a:gd name="T15" fmla="*/ 0 h 335"/>
                <a:gd name="T16" fmla="*/ 82 w 335"/>
                <a:gd name="T17" fmla="*/ 168 h 335"/>
                <a:gd name="T18" fmla="*/ 168 w 335"/>
                <a:gd name="T19" fmla="*/ 335 h 335"/>
                <a:gd name="T20" fmla="*/ 8 w 335"/>
                <a:gd name="T21" fmla="*/ 116 h 335"/>
                <a:gd name="T22" fmla="*/ 327 w 335"/>
                <a:gd name="T23" fmla="*/ 116 h 335"/>
                <a:gd name="T24" fmla="*/ 9 w 335"/>
                <a:gd name="T25" fmla="*/ 221 h 335"/>
                <a:gd name="T26" fmla="*/ 326 w 335"/>
                <a:gd name="T27" fmla="*/ 221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5" h="335">
                  <a:moveTo>
                    <a:pt x="0" y="168"/>
                  </a:moveTo>
                  <a:cubicBezTo>
                    <a:pt x="0" y="75"/>
                    <a:pt x="75" y="0"/>
                    <a:pt x="168" y="0"/>
                  </a:cubicBezTo>
                  <a:cubicBezTo>
                    <a:pt x="260" y="0"/>
                    <a:pt x="335" y="75"/>
                    <a:pt x="335" y="168"/>
                  </a:cubicBezTo>
                  <a:cubicBezTo>
                    <a:pt x="335" y="260"/>
                    <a:pt x="260" y="335"/>
                    <a:pt x="168" y="335"/>
                  </a:cubicBezTo>
                  <a:cubicBezTo>
                    <a:pt x="75" y="335"/>
                    <a:pt x="0" y="260"/>
                    <a:pt x="0" y="168"/>
                  </a:cubicBezTo>
                  <a:close/>
                  <a:moveTo>
                    <a:pt x="168" y="335"/>
                  </a:moveTo>
                  <a:cubicBezTo>
                    <a:pt x="215" y="335"/>
                    <a:pt x="253" y="260"/>
                    <a:pt x="253" y="168"/>
                  </a:cubicBezTo>
                  <a:cubicBezTo>
                    <a:pt x="253" y="75"/>
                    <a:pt x="215" y="0"/>
                    <a:pt x="168" y="0"/>
                  </a:cubicBezTo>
                  <a:cubicBezTo>
                    <a:pt x="120" y="0"/>
                    <a:pt x="82" y="75"/>
                    <a:pt x="82" y="168"/>
                  </a:cubicBezTo>
                  <a:cubicBezTo>
                    <a:pt x="82" y="260"/>
                    <a:pt x="120" y="335"/>
                    <a:pt x="168" y="335"/>
                  </a:cubicBezTo>
                  <a:close/>
                  <a:moveTo>
                    <a:pt x="8" y="116"/>
                  </a:moveTo>
                  <a:cubicBezTo>
                    <a:pt x="327" y="116"/>
                    <a:pt x="327" y="116"/>
                    <a:pt x="327" y="116"/>
                  </a:cubicBezTo>
                  <a:moveTo>
                    <a:pt x="9" y="221"/>
                  </a:moveTo>
                  <a:cubicBezTo>
                    <a:pt x="326" y="221"/>
                    <a:pt x="326" y="221"/>
                    <a:pt x="326" y="221"/>
                  </a:cubicBezTo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477" name="controller">
              <a:extLst>
                <a:ext uri="{FF2B5EF4-FFF2-40B4-BE49-F238E27FC236}">
                  <a16:creationId xmlns:a16="http://schemas.microsoft.com/office/drawing/2014/main" id="{6D79A54B-325C-47F3-A515-0C9E8846C082}"/>
                </a:ext>
              </a:extLst>
            </p:cNvPr>
            <p:cNvSpPr>
              <a:spLocks noChangeAspect="1" noEditPoints="1"/>
            </p:cNvSpPr>
            <p:nvPr userDrawn="1"/>
          </p:nvSpPr>
          <p:spPr bwMode="gray">
            <a:xfrm>
              <a:off x="7418961" y="4169923"/>
              <a:ext cx="422784" cy="266634"/>
            </a:xfrm>
            <a:custGeom>
              <a:avLst/>
              <a:gdLst>
                <a:gd name="T0" fmla="*/ 267 w 395"/>
                <a:gd name="T1" fmla="*/ 0 h 250"/>
                <a:gd name="T2" fmla="*/ 267 w 395"/>
                <a:gd name="T3" fmla="*/ 0 h 250"/>
                <a:gd name="T4" fmla="*/ 308 w 395"/>
                <a:gd name="T5" fmla="*/ 56 h 250"/>
                <a:gd name="T6" fmla="*/ 270 w 395"/>
                <a:gd name="T7" fmla="*/ 25 h 250"/>
                <a:gd name="T8" fmla="*/ 234 w 395"/>
                <a:gd name="T9" fmla="*/ 40 h 250"/>
                <a:gd name="T10" fmla="*/ 200 w 395"/>
                <a:gd name="T11" fmla="*/ 40 h 250"/>
                <a:gd name="T12" fmla="*/ 196 w 395"/>
                <a:gd name="T13" fmla="*/ 40 h 250"/>
                <a:gd name="T14" fmla="*/ 161 w 395"/>
                <a:gd name="T15" fmla="*/ 40 h 250"/>
                <a:gd name="T16" fmla="*/ 126 w 395"/>
                <a:gd name="T17" fmla="*/ 25 h 250"/>
                <a:gd name="T18" fmla="*/ 87 w 395"/>
                <a:gd name="T19" fmla="*/ 56 h 250"/>
                <a:gd name="T20" fmla="*/ 48 w 395"/>
                <a:gd name="T21" fmla="*/ 236 h 250"/>
                <a:gd name="T22" fmla="*/ 75 w 395"/>
                <a:gd name="T23" fmla="*/ 250 h 250"/>
                <a:gd name="T24" fmla="*/ 113 w 395"/>
                <a:gd name="T25" fmla="*/ 209 h 250"/>
                <a:gd name="T26" fmla="*/ 162 w 395"/>
                <a:gd name="T27" fmla="*/ 189 h 250"/>
                <a:gd name="T28" fmla="*/ 233 w 395"/>
                <a:gd name="T29" fmla="*/ 189 h 250"/>
                <a:gd name="T30" fmla="*/ 283 w 395"/>
                <a:gd name="T31" fmla="*/ 209 h 250"/>
                <a:gd name="T32" fmla="*/ 320 w 395"/>
                <a:gd name="T33" fmla="*/ 250 h 250"/>
                <a:gd name="T34" fmla="*/ 347 w 395"/>
                <a:gd name="T35" fmla="*/ 236 h 250"/>
                <a:gd name="T36" fmla="*/ 308 w 395"/>
                <a:gd name="T37" fmla="*/ 56 h 250"/>
                <a:gd name="T38" fmla="*/ 208 w 395"/>
                <a:gd name="T39" fmla="*/ 88 h 250"/>
                <a:gd name="T40" fmla="*/ 198 w 395"/>
                <a:gd name="T41" fmla="*/ 77 h 250"/>
                <a:gd name="T42" fmla="*/ 188 w 395"/>
                <a:gd name="T43" fmla="*/ 87 h 250"/>
                <a:gd name="T44" fmla="*/ 197 w 395"/>
                <a:gd name="T45" fmla="*/ 97 h 250"/>
                <a:gd name="T46" fmla="*/ 208 w 395"/>
                <a:gd name="T47" fmla="*/ 88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5" h="250">
                  <a:moveTo>
                    <a:pt x="267" y="0"/>
                  </a:moveTo>
                  <a:cubicBezTo>
                    <a:pt x="267" y="0"/>
                    <a:pt x="267" y="0"/>
                    <a:pt x="267" y="0"/>
                  </a:cubicBezTo>
                  <a:moveTo>
                    <a:pt x="308" y="56"/>
                  </a:moveTo>
                  <a:cubicBezTo>
                    <a:pt x="312" y="37"/>
                    <a:pt x="299" y="31"/>
                    <a:pt x="270" y="25"/>
                  </a:cubicBezTo>
                  <a:cubicBezTo>
                    <a:pt x="240" y="20"/>
                    <a:pt x="234" y="40"/>
                    <a:pt x="234" y="40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196" y="40"/>
                    <a:pt x="196" y="40"/>
                    <a:pt x="196" y="40"/>
                  </a:cubicBezTo>
                  <a:cubicBezTo>
                    <a:pt x="161" y="40"/>
                    <a:pt x="161" y="40"/>
                    <a:pt x="161" y="40"/>
                  </a:cubicBezTo>
                  <a:cubicBezTo>
                    <a:pt x="161" y="40"/>
                    <a:pt x="156" y="20"/>
                    <a:pt x="126" y="25"/>
                  </a:cubicBezTo>
                  <a:cubicBezTo>
                    <a:pt x="96" y="31"/>
                    <a:pt x="84" y="37"/>
                    <a:pt x="87" y="56"/>
                  </a:cubicBezTo>
                  <a:cubicBezTo>
                    <a:pt x="87" y="56"/>
                    <a:pt x="0" y="185"/>
                    <a:pt x="48" y="236"/>
                  </a:cubicBezTo>
                  <a:cubicBezTo>
                    <a:pt x="64" y="250"/>
                    <a:pt x="68" y="250"/>
                    <a:pt x="75" y="250"/>
                  </a:cubicBezTo>
                  <a:cubicBezTo>
                    <a:pt x="82" y="250"/>
                    <a:pt x="95" y="223"/>
                    <a:pt x="113" y="209"/>
                  </a:cubicBezTo>
                  <a:cubicBezTo>
                    <a:pt x="131" y="194"/>
                    <a:pt x="148" y="190"/>
                    <a:pt x="162" y="189"/>
                  </a:cubicBezTo>
                  <a:cubicBezTo>
                    <a:pt x="173" y="189"/>
                    <a:pt x="223" y="189"/>
                    <a:pt x="233" y="189"/>
                  </a:cubicBezTo>
                  <a:cubicBezTo>
                    <a:pt x="248" y="190"/>
                    <a:pt x="265" y="194"/>
                    <a:pt x="283" y="209"/>
                  </a:cubicBezTo>
                  <a:cubicBezTo>
                    <a:pt x="301" y="223"/>
                    <a:pt x="313" y="250"/>
                    <a:pt x="320" y="250"/>
                  </a:cubicBezTo>
                  <a:cubicBezTo>
                    <a:pt x="327" y="250"/>
                    <a:pt x="332" y="250"/>
                    <a:pt x="347" y="236"/>
                  </a:cubicBezTo>
                  <a:cubicBezTo>
                    <a:pt x="395" y="185"/>
                    <a:pt x="308" y="56"/>
                    <a:pt x="308" y="56"/>
                  </a:cubicBezTo>
                  <a:close/>
                  <a:moveTo>
                    <a:pt x="208" y="88"/>
                  </a:moveTo>
                  <a:cubicBezTo>
                    <a:pt x="208" y="82"/>
                    <a:pt x="204" y="77"/>
                    <a:pt x="198" y="77"/>
                  </a:cubicBezTo>
                  <a:cubicBezTo>
                    <a:pt x="193" y="77"/>
                    <a:pt x="188" y="81"/>
                    <a:pt x="188" y="87"/>
                  </a:cubicBezTo>
                  <a:cubicBezTo>
                    <a:pt x="188" y="92"/>
                    <a:pt x="192" y="97"/>
                    <a:pt x="197" y="97"/>
                  </a:cubicBezTo>
                  <a:cubicBezTo>
                    <a:pt x="203" y="97"/>
                    <a:pt x="207" y="93"/>
                    <a:pt x="208" y="88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478" name="Rectangle 477">
              <a:extLst>
                <a:ext uri="{FF2B5EF4-FFF2-40B4-BE49-F238E27FC236}">
                  <a16:creationId xmlns:a16="http://schemas.microsoft.com/office/drawing/2014/main" id="{FFA17ED0-C2E1-439D-AAE0-11E521C8B782}"/>
                </a:ext>
              </a:extLst>
            </p:cNvPr>
            <p:cNvSpPr/>
            <p:nvPr userDrawn="1"/>
          </p:nvSpPr>
          <p:spPr bwMode="gray">
            <a:xfrm>
              <a:off x="8278012" y="4197080"/>
              <a:ext cx="558799" cy="277812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ED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17021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y 2 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92" name="MS logo gray - EMF">
            <a:extLst>
              <a:ext uri="{FF2B5EF4-FFF2-40B4-BE49-F238E27FC236}">
                <a16:creationId xmlns:a16="http://schemas.microsoft.com/office/drawing/2014/main" id="{D4FA9053-A170-4BCC-8D9A-D8F925B6C3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1" cy="292608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292A468-FAB0-4731-8D20-E2E5C23C30A5}"/>
              </a:ext>
            </a:extLst>
          </p:cNvPr>
          <p:cNvGrpSpPr/>
          <p:nvPr userDrawn="1"/>
        </p:nvGrpSpPr>
        <p:grpSpPr>
          <a:xfrm>
            <a:off x="6573187" y="808031"/>
            <a:ext cx="5044688" cy="5466426"/>
            <a:chOff x="6573187" y="808031"/>
            <a:chExt cx="5044688" cy="5466426"/>
          </a:xfrm>
        </p:grpSpPr>
        <p:sp>
          <p:nvSpPr>
            <p:cNvPr id="272" name="Oval 271">
              <a:extLst>
                <a:ext uri="{FF2B5EF4-FFF2-40B4-BE49-F238E27FC236}">
                  <a16:creationId xmlns:a16="http://schemas.microsoft.com/office/drawing/2014/main" id="{9142B5F0-E93B-4973-B732-F268F7CDED20}"/>
                </a:ext>
              </a:extLst>
            </p:cNvPr>
            <p:cNvSpPr/>
            <p:nvPr userDrawn="1"/>
          </p:nvSpPr>
          <p:spPr bwMode="gray">
            <a:xfrm>
              <a:off x="7590595" y="808031"/>
              <a:ext cx="2208062" cy="2208062"/>
            </a:xfrm>
            <a:prstGeom prst="ellipse">
              <a:avLst/>
            </a:prstGeom>
            <a:solidFill>
              <a:srgbClr val="D2D2D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3" name="Freeform 92">
              <a:extLst>
                <a:ext uri="{FF2B5EF4-FFF2-40B4-BE49-F238E27FC236}">
                  <a16:creationId xmlns:a16="http://schemas.microsoft.com/office/drawing/2014/main" id="{88719DDF-18BE-4191-A4DB-9A85BDD949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48568" y="2311720"/>
              <a:ext cx="2869010" cy="2869010"/>
            </a:xfrm>
            <a:custGeom>
              <a:avLst/>
              <a:gdLst>
                <a:gd name="T0" fmla="*/ 979 w 1959"/>
                <a:gd name="T1" fmla="*/ 0 h 1960"/>
                <a:gd name="T2" fmla="*/ 861 w 1959"/>
                <a:gd name="T3" fmla="*/ 8 h 1960"/>
                <a:gd name="T4" fmla="*/ 165 w 1959"/>
                <a:gd name="T5" fmla="*/ 473 h 1960"/>
                <a:gd name="T6" fmla="*/ 141 w 1959"/>
                <a:gd name="T7" fmla="*/ 473 h 1960"/>
                <a:gd name="T8" fmla="*/ 0 w 1959"/>
                <a:gd name="T9" fmla="*/ 980 h 1960"/>
                <a:gd name="T10" fmla="*/ 0 w 1959"/>
                <a:gd name="T11" fmla="*/ 1007 h 1960"/>
                <a:gd name="T12" fmla="*/ 633 w 1959"/>
                <a:gd name="T13" fmla="*/ 1841 h 1960"/>
                <a:gd name="T14" fmla="*/ 631 w 1959"/>
                <a:gd name="T15" fmla="*/ 1896 h 1960"/>
                <a:gd name="T16" fmla="*/ 979 w 1959"/>
                <a:gd name="T17" fmla="*/ 1960 h 1960"/>
                <a:gd name="T18" fmla="*/ 1959 w 1959"/>
                <a:gd name="T19" fmla="*/ 980 h 1960"/>
                <a:gd name="T20" fmla="*/ 979 w 1959"/>
                <a:gd name="T21" fmla="*/ 0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9" h="1960">
                  <a:moveTo>
                    <a:pt x="979" y="0"/>
                  </a:moveTo>
                  <a:cubicBezTo>
                    <a:pt x="939" y="0"/>
                    <a:pt x="900" y="3"/>
                    <a:pt x="861" y="8"/>
                  </a:cubicBezTo>
                  <a:cubicBezTo>
                    <a:pt x="748" y="281"/>
                    <a:pt x="479" y="473"/>
                    <a:pt x="165" y="473"/>
                  </a:cubicBezTo>
                  <a:cubicBezTo>
                    <a:pt x="157" y="473"/>
                    <a:pt x="149" y="473"/>
                    <a:pt x="141" y="473"/>
                  </a:cubicBezTo>
                  <a:cubicBezTo>
                    <a:pt x="51" y="621"/>
                    <a:pt x="0" y="794"/>
                    <a:pt x="0" y="980"/>
                  </a:cubicBezTo>
                  <a:cubicBezTo>
                    <a:pt x="0" y="989"/>
                    <a:pt x="0" y="998"/>
                    <a:pt x="0" y="1007"/>
                  </a:cubicBezTo>
                  <a:cubicBezTo>
                    <a:pt x="365" y="1109"/>
                    <a:pt x="633" y="1444"/>
                    <a:pt x="633" y="1841"/>
                  </a:cubicBezTo>
                  <a:cubicBezTo>
                    <a:pt x="633" y="1860"/>
                    <a:pt x="632" y="1878"/>
                    <a:pt x="631" y="1896"/>
                  </a:cubicBezTo>
                  <a:cubicBezTo>
                    <a:pt x="739" y="1937"/>
                    <a:pt x="857" y="1960"/>
                    <a:pt x="979" y="1960"/>
                  </a:cubicBezTo>
                  <a:cubicBezTo>
                    <a:pt x="1521" y="1960"/>
                    <a:pt x="1959" y="1521"/>
                    <a:pt x="1959" y="980"/>
                  </a:cubicBezTo>
                  <a:cubicBezTo>
                    <a:pt x="1959" y="439"/>
                    <a:pt x="1521" y="0"/>
                    <a:pt x="979" y="0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94">
              <a:extLst>
                <a:ext uri="{FF2B5EF4-FFF2-40B4-BE49-F238E27FC236}">
                  <a16:creationId xmlns:a16="http://schemas.microsoft.com/office/drawing/2014/main" id="{582C1FCF-4CA1-4ADF-9AC0-9B405D0EF32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787643" y="1768537"/>
              <a:ext cx="830232" cy="831704"/>
            </a:xfrm>
            <a:custGeom>
              <a:avLst/>
              <a:gdLst>
                <a:gd name="T0" fmla="*/ 277 w 567"/>
                <a:gd name="T1" fmla="*/ 564 h 568"/>
                <a:gd name="T2" fmla="*/ 4 w 567"/>
                <a:gd name="T3" fmla="*/ 277 h 568"/>
                <a:gd name="T4" fmla="*/ 291 w 567"/>
                <a:gd name="T5" fmla="*/ 4 h 568"/>
                <a:gd name="T6" fmla="*/ 564 w 567"/>
                <a:gd name="T7" fmla="*/ 291 h 568"/>
                <a:gd name="T8" fmla="*/ 277 w 567"/>
                <a:gd name="T9" fmla="*/ 56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7" h="568">
                  <a:moveTo>
                    <a:pt x="277" y="564"/>
                  </a:moveTo>
                  <a:cubicBezTo>
                    <a:pt x="122" y="560"/>
                    <a:pt x="0" y="432"/>
                    <a:pt x="4" y="277"/>
                  </a:cubicBezTo>
                  <a:cubicBezTo>
                    <a:pt x="8" y="122"/>
                    <a:pt x="136" y="0"/>
                    <a:pt x="291" y="4"/>
                  </a:cubicBezTo>
                  <a:cubicBezTo>
                    <a:pt x="445" y="8"/>
                    <a:pt x="567" y="136"/>
                    <a:pt x="564" y="291"/>
                  </a:cubicBezTo>
                  <a:cubicBezTo>
                    <a:pt x="560" y="445"/>
                    <a:pt x="431" y="568"/>
                    <a:pt x="277" y="564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95">
              <a:extLst>
                <a:ext uri="{FF2B5EF4-FFF2-40B4-BE49-F238E27FC236}">
                  <a16:creationId xmlns:a16="http://schemas.microsoft.com/office/drawing/2014/main" id="{A1F8E901-4003-460B-8F38-EE9B42987E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94410" y="2174821"/>
              <a:ext cx="999517" cy="858201"/>
            </a:xfrm>
            <a:custGeom>
              <a:avLst/>
              <a:gdLst>
                <a:gd name="T0" fmla="*/ 0 w 682"/>
                <a:gd name="T1" fmla="*/ 202 h 586"/>
                <a:gd name="T2" fmla="*/ 310 w 682"/>
                <a:gd name="T3" fmla="*/ 245 h 586"/>
                <a:gd name="T4" fmla="*/ 323 w 682"/>
                <a:gd name="T5" fmla="*/ 254 h 586"/>
                <a:gd name="T6" fmla="*/ 367 w 682"/>
                <a:gd name="T7" fmla="*/ 258 h 586"/>
                <a:gd name="T8" fmla="*/ 404 w 682"/>
                <a:gd name="T9" fmla="*/ 205 h 586"/>
                <a:gd name="T10" fmla="*/ 409 w 682"/>
                <a:gd name="T11" fmla="*/ 0 h 586"/>
                <a:gd name="T12" fmla="*/ 682 w 682"/>
                <a:gd name="T13" fmla="*/ 287 h 586"/>
                <a:gd name="T14" fmla="*/ 518 w 682"/>
                <a:gd name="T15" fmla="*/ 283 h 586"/>
                <a:gd name="T16" fmla="*/ 469 w 682"/>
                <a:gd name="T17" fmla="*/ 369 h 586"/>
                <a:gd name="T18" fmla="*/ 497 w 682"/>
                <a:gd name="T19" fmla="*/ 399 h 586"/>
                <a:gd name="T20" fmla="*/ 600 w 682"/>
                <a:gd name="T21" fmla="*/ 586 h 586"/>
                <a:gd name="T22" fmla="*/ 66 w 682"/>
                <a:gd name="T23" fmla="*/ 435 h 586"/>
                <a:gd name="T24" fmla="*/ 0 w 682"/>
                <a:gd name="T25" fmla="*/ 202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2" h="586">
                  <a:moveTo>
                    <a:pt x="0" y="202"/>
                  </a:moveTo>
                  <a:cubicBezTo>
                    <a:pt x="310" y="245"/>
                    <a:pt x="310" y="245"/>
                    <a:pt x="310" y="245"/>
                  </a:cubicBezTo>
                  <a:cubicBezTo>
                    <a:pt x="323" y="254"/>
                    <a:pt x="323" y="254"/>
                    <a:pt x="323" y="254"/>
                  </a:cubicBezTo>
                  <a:cubicBezTo>
                    <a:pt x="336" y="262"/>
                    <a:pt x="353" y="264"/>
                    <a:pt x="367" y="258"/>
                  </a:cubicBezTo>
                  <a:cubicBezTo>
                    <a:pt x="388" y="249"/>
                    <a:pt x="403" y="228"/>
                    <a:pt x="404" y="205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682" y="287"/>
                    <a:pt x="682" y="287"/>
                    <a:pt x="682" y="287"/>
                  </a:cubicBezTo>
                  <a:cubicBezTo>
                    <a:pt x="518" y="283"/>
                    <a:pt x="518" y="283"/>
                    <a:pt x="518" y="283"/>
                  </a:cubicBezTo>
                  <a:cubicBezTo>
                    <a:pt x="474" y="282"/>
                    <a:pt x="445" y="331"/>
                    <a:pt x="469" y="369"/>
                  </a:cubicBezTo>
                  <a:cubicBezTo>
                    <a:pt x="497" y="399"/>
                    <a:pt x="497" y="399"/>
                    <a:pt x="497" y="399"/>
                  </a:cubicBezTo>
                  <a:cubicBezTo>
                    <a:pt x="600" y="586"/>
                    <a:pt x="600" y="586"/>
                    <a:pt x="600" y="586"/>
                  </a:cubicBezTo>
                  <a:cubicBezTo>
                    <a:pt x="66" y="435"/>
                    <a:pt x="66" y="435"/>
                    <a:pt x="66" y="435"/>
                  </a:cubicBezTo>
                  <a:lnTo>
                    <a:pt x="0" y="202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98">
              <a:extLst>
                <a:ext uri="{FF2B5EF4-FFF2-40B4-BE49-F238E27FC236}">
                  <a16:creationId xmlns:a16="http://schemas.microsoft.com/office/drawing/2014/main" id="{1FC27512-CB3F-4AFE-9499-7F779A5B960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531508" y="3187586"/>
              <a:ext cx="191365" cy="67714"/>
            </a:xfrm>
            <a:custGeom>
              <a:avLst/>
              <a:gdLst>
                <a:gd name="T0" fmla="*/ 131 w 131"/>
                <a:gd name="T1" fmla="*/ 0 h 46"/>
                <a:gd name="T2" fmla="*/ 131 w 131"/>
                <a:gd name="T3" fmla="*/ 28 h 46"/>
                <a:gd name="T4" fmla="*/ 113 w 131"/>
                <a:gd name="T5" fmla="*/ 46 h 46"/>
                <a:gd name="T6" fmla="*/ 18 w 131"/>
                <a:gd name="T7" fmla="*/ 46 h 46"/>
                <a:gd name="T8" fmla="*/ 0 w 131"/>
                <a:gd name="T9" fmla="*/ 28 h 46"/>
                <a:gd name="T10" fmla="*/ 0 w 131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46">
                  <a:moveTo>
                    <a:pt x="131" y="0"/>
                  </a:moveTo>
                  <a:cubicBezTo>
                    <a:pt x="131" y="28"/>
                    <a:pt x="131" y="28"/>
                    <a:pt x="131" y="28"/>
                  </a:cubicBezTo>
                  <a:cubicBezTo>
                    <a:pt x="131" y="38"/>
                    <a:pt x="123" y="46"/>
                    <a:pt x="113" y="46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8" y="46"/>
                    <a:pt x="0" y="3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99">
              <a:extLst>
                <a:ext uri="{FF2B5EF4-FFF2-40B4-BE49-F238E27FC236}">
                  <a16:creationId xmlns:a16="http://schemas.microsoft.com/office/drawing/2014/main" id="{E44BFDF6-9F7F-4D99-B263-6632F396529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531508" y="2941754"/>
              <a:ext cx="191365" cy="245831"/>
            </a:xfrm>
            <a:custGeom>
              <a:avLst/>
              <a:gdLst>
                <a:gd name="T0" fmla="*/ 113 w 131"/>
                <a:gd name="T1" fmla="*/ 0 h 168"/>
                <a:gd name="T2" fmla="*/ 18 w 131"/>
                <a:gd name="T3" fmla="*/ 0 h 168"/>
                <a:gd name="T4" fmla="*/ 0 w 131"/>
                <a:gd name="T5" fmla="*/ 18 h 168"/>
                <a:gd name="T6" fmla="*/ 0 w 131"/>
                <a:gd name="T7" fmla="*/ 168 h 168"/>
                <a:gd name="T8" fmla="*/ 131 w 131"/>
                <a:gd name="T9" fmla="*/ 168 h 168"/>
                <a:gd name="T10" fmla="*/ 131 w 131"/>
                <a:gd name="T11" fmla="*/ 18 h 168"/>
                <a:gd name="T12" fmla="*/ 113 w 131"/>
                <a:gd name="T1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68">
                  <a:moveTo>
                    <a:pt x="113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131" y="168"/>
                    <a:pt x="131" y="168"/>
                    <a:pt x="131" y="168"/>
                  </a:cubicBezTo>
                  <a:cubicBezTo>
                    <a:pt x="131" y="18"/>
                    <a:pt x="131" y="18"/>
                    <a:pt x="131" y="18"/>
                  </a:cubicBezTo>
                  <a:cubicBezTo>
                    <a:pt x="131" y="8"/>
                    <a:pt x="123" y="0"/>
                    <a:pt x="113" y="0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Rectangle 100">
              <a:extLst>
                <a:ext uri="{FF2B5EF4-FFF2-40B4-BE49-F238E27FC236}">
                  <a16:creationId xmlns:a16="http://schemas.microsoft.com/office/drawing/2014/main" id="{7AFF48A9-8540-4F31-B31A-DAD95454B8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0616887" y="3211138"/>
              <a:ext cx="20609" cy="2208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101">
              <a:extLst>
                <a:ext uri="{FF2B5EF4-FFF2-40B4-BE49-F238E27FC236}">
                  <a16:creationId xmlns:a16="http://schemas.microsoft.com/office/drawing/2014/main" id="{00BEF50A-5FE0-4A9F-A216-98D167BCD33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44043" y="3739601"/>
              <a:ext cx="2533385" cy="2534856"/>
            </a:xfrm>
            <a:custGeom>
              <a:avLst/>
              <a:gdLst>
                <a:gd name="T0" fmla="*/ 1099 w 1730"/>
                <a:gd name="T1" fmla="*/ 32 h 1732"/>
                <a:gd name="T2" fmla="*/ 866 w 1730"/>
                <a:gd name="T3" fmla="*/ 0 h 1732"/>
                <a:gd name="T4" fmla="*/ 0 w 1730"/>
                <a:gd name="T5" fmla="*/ 866 h 1732"/>
                <a:gd name="T6" fmla="*/ 866 w 1730"/>
                <a:gd name="T7" fmla="*/ 1732 h 1732"/>
                <a:gd name="T8" fmla="*/ 1730 w 1730"/>
                <a:gd name="T9" fmla="*/ 921 h 1732"/>
                <a:gd name="T10" fmla="*/ 1099 w 1730"/>
                <a:gd name="T11" fmla="*/ 32 h 1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0" h="1732">
                  <a:moveTo>
                    <a:pt x="1099" y="32"/>
                  </a:moveTo>
                  <a:cubicBezTo>
                    <a:pt x="1025" y="11"/>
                    <a:pt x="947" y="0"/>
                    <a:pt x="866" y="0"/>
                  </a:cubicBezTo>
                  <a:cubicBezTo>
                    <a:pt x="388" y="0"/>
                    <a:pt x="0" y="388"/>
                    <a:pt x="0" y="866"/>
                  </a:cubicBezTo>
                  <a:cubicBezTo>
                    <a:pt x="0" y="1344"/>
                    <a:pt x="388" y="1732"/>
                    <a:pt x="866" y="1732"/>
                  </a:cubicBezTo>
                  <a:cubicBezTo>
                    <a:pt x="1326" y="1732"/>
                    <a:pt x="1702" y="1374"/>
                    <a:pt x="1730" y="921"/>
                  </a:cubicBezTo>
                  <a:cubicBezTo>
                    <a:pt x="1369" y="784"/>
                    <a:pt x="1110" y="439"/>
                    <a:pt x="1099" y="32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02">
              <a:extLst>
                <a:ext uri="{FF2B5EF4-FFF2-40B4-BE49-F238E27FC236}">
                  <a16:creationId xmlns:a16="http://schemas.microsoft.com/office/drawing/2014/main" id="{FA0083B9-53A2-455A-8A80-E9AB8492D5F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50041" y="3785235"/>
              <a:ext cx="927386" cy="1301285"/>
            </a:xfrm>
            <a:custGeom>
              <a:avLst/>
              <a:gdLst>
                <a:gd name="T0" fmla="*/ 0 w 633"/>
                <a:gd name="T1" fmla="*/ 0 h 889"/>
                <a:gd name="T2" fmla="*/ 631 w 633"/>
                <a:gd name="T3" fmla="*/ 889 h 889"/>
                <a:gd name="T4" fmla="*/ 633 w 633"/>
                <a:gd name="T5" fmla="*/ 834 h 889"/>
                <a:gd name="T6" fmla="*/ 0 w 633"/>
                <a:gd name="T7" fmla="*/ 0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3" h="889">
                  <a:moveTo>
                    <a:pt x="0" y="0"/>
                  </a:moveTo>
                  <a:cubicBezTo>
                    <a:pt x="11" y="407"/>
                    <a:pt x="270" y="752"/>
                    <a:pt x="631" y="889"/>
                  </a:cubicBezTo>
                  <a:cubicBezTo>
                    <a:pt x="632" y="871"/>
                    <a:pt x="633" y="853"/>
                    <a:pt x="633" y="834"/>
                  </a:cubicBezTo>
                  <a:cubicBezTo>
                    <a:pt x="633" y="437"/>
                    <a:pt x="365" y="102"/>
                    <a:pt x="0" y="0"/>
                  </a:cubicBez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103">
              <a:extLst>
                <a:ext uri="{FF2B5EF4-FFF2-40B4-BE49-F238E27FC236}">
                  <a16:creationId xmlns:a16="http://schemas.microsoft.com/office/drawing/2014/main" id="{1061F93B-DCE9-464F-85E4-BEB81362E7E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44043" y="4634602"/>
              <a:ext cx="978908" cy="1248292"/>
            </a:xfrm>
            <a:custGeom>
              <a:avLst/>
              <a:gdLst>
                <a:gd name="T0" fmla="*/ 621 w 668"/>
                <a:gd name="T1" fmla="*/ 341 h 852"/>
                <a:gd name="T2" fmla="*/ 594 w 668"/>
                <a:gd name="T3" fmla="*/ 285 h 852"/>
                <a:gd name="T4" fmla="*/ 592 w 668"/>
                <a:gd name="T5" fmla="*/ 272 h 852"/>
                <a:gd name="T6" fmla="*/ 591 w 668"/>
                <a:gd name="T7" fmla="*/ 270 h 852"/>
                <a:gd name="T8" fmla="*/ 591 w 668"/>
                <a:gd name="T9" fmla="*/ 271 h 852"/>
                <a:gd name="T10" fmla="*/ 282 w 668"/>
                <a:gd name="T11" fmla="*/ 0 h 852"/>
                <a:gd name="T12" fmla="*/ 282 w 668"/>
                <a:gd name="T13" fmla="*/ 0 h 852"/>
                <a:gd name="T14" fmla="*/ 4 w 668"/>
                <a:gd name="T15" fmla="*/ 172 h 852"/>
                <a:gd name="T16" fmla="*/ 0 w 668"/>
                <a:gd name="T17" fmla="*/ 256 h 852"/>
                <a:gd name="T18" fmla="*/ 237 w 668"/>
                <a:gd name="T19" fmla="*/ 852 h 852"/>
                <a:gd name="T20" fmla="*/ 236 w 668"/>
                <a:gd name="T21" fmla="*/ 837 h 852"/>
                <a:gd name="T22" fmla="*/ 296 w 668"/>
                <a:gd name="T23" fmla="*/ 692 h 852"/>
                <a:gd name="T24" fmla="*/ 350 w 668"/>
                <a:gd name="T25" fmla="*/ 650 h 852"/>
                <a:gd name="T26" fmla="*/ 426 w 668"/>
                <a:gd name="T27" fmla="*/ 623 h 852"/>
                <a:gd name="T28" fmla="*/ 513 w 668"/>
                <a:gd name="T29" fmla="*/ 635 h 852"/>
                <a:gd name="T30" fmla="*/ 513 w 668"/>
                <a:gd name="T31" fmla="*/ 635 h 852"/>
                <a:gd name="T32" fmla="*/ 526 w 668"/>
                <a:gd name="T33" fmla="*/ 635 h 852"/>
                <a:gd name="T34" fmla="*/ 578 w 668"/>
                <a:gd name="T35" fmla="*/ 612 h 852"/>
                <a:gd name="T36" fmla="*/ 580 w 668"/>
                <a:gd name="T37" fmla="*/ 559 h 852"/>
                <a:gd name="T38" fmla="*/ 583 w 668"/>
                <a:gd name="T39" fmla="*/ 539 h 852"/>
                <a:gd name="T40" fmla="*/ 591 w 668"/>
                <a:gd name="T41" fmla="*/ 532 h 852"/>
                <a:gd name="T42" fmla="*/ 555 w 668"/>
                <a:gd name="T43" fmla="*/ 513 h 852"/>
                <a:gd name="T44" fmla="*/ 607 w 668"/>
                <a:gd name="T45" fmla="*/ 480 h 852"/>
                <a:gd name="T46" fmla="*/ 594 w 668"/>
                <a:gd name="T47" fmla="*/ 442 h 852"/>
                <a:gd name="T48" fmla="*/ 603 w 668"/>
                <a:gd name="T49" fmla="*/ 431 h 852"/>
                <a:gd name="T50" fmla="*/ 648 w 668"/>
                <a:gd name="T51" fmla="*/ 423 h 852"/>
                <a:gd name="T52" fmla="*/ 666 w 668"/>
                <a:gd name="T53" fmla="*/ 405 h 852"/>
                <a:gd name="T54" fmla="*/ 660 w 668"/>
                <a:gd name="T55" fmla="*/ 385 h 852"/>
                <a:gd name="T56" fmla="*/ 621 w 668"/>
                <a:gd name="T57" fmla="*/ 341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68" h="852">
                  <a:moveTo>
                    <a:pt x="621" y="341"/>
                  </a:moveTo>
                  <a:cubicBezTo>
                    <a:pt x="606" y="325"/>
                    <a:pt x="597" y="306"/>
                    <a:pt x="594" y="285"/>
                  </a:cubicBezTo>
                  <a:cubicBezTo>
                    <a:pt x="593" y="277"/>
                    <a:pt x="593" y="280"/>
                    <a:pt x="592" y="272"/>
                  </a:cubicBezTo>
                  <a:cubicBezTo>
                    <a:pt x="591" y="270"/>
                    <a:pt x="591" y="270"/>
                    <a:pt x="591" y="270"/>
                  </a:cubicBezTo>
                  <a:cubicBezTo>
                    <a:pt x="591" y="271"/>
                    <a:pt x="591" y="271"/>
                    <a:pt x="591" y="271"/>
                  </a:cubicBezTo>
                  <a:cubicBezTo>
                    <a:pt x="571" y="118"/>
                    <a:pt x="440" y="0"/>
                    <a:pt x="282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161" y="0"/>
                    <a:pt x="55" y="70"/>
                    <a:pt x="4" y="172"/>
                  </a:cubicBezTo>
                  <a:cubicBezTo>
                    <a:pt x="1" y="200"/>
                    <a:pt x="0" y="228"/>
                    <a:pt x="0" y="256"/>
                  </a:cubicBezTo>
                  <a:cubicBezTo>
                    <a:pt x="0" y="487"/>
                    <a:pt x="90" y="697"/>
                    <a:pt x="237" y="852"/>
                  </a:cubicBezTo>
                  <a:cubicBezTo>
                    <a:pt x="236" y="837"/>
                    <a:pt x="236" y="837"/>
                    <a:pt x="236" y="837"/>
                  </a:cubicBezTo>
                  <a:cubicBezTo>
                    <a:pt x="230" y="781"/>
                    <a:pt x="253" y="726"/>
                    <a:pt x="296" y="692"/>
                  </a:cubicBezTo>
                  <a:cubicBezTo>
                    <a:pt x="350" y="650"/>
                    <a:pt x="350" y="650"/>
                    <a:pt x="350" y="650"/>
                  </a:cubicBezTo>
                  <a:cubicBezTo>
                    <a:pt x="371" y="633"/>
                    <a:pt x="398" y="623"/>
                    <a:pt x="426" y="623"/>
                  </a:cubicBezTo>
                  <a:cubicBezTo>
                    <a:pt x="513" y="635"/>
                    <a:pt x="513" y="635"/>
                    <a:pt x="513" y="635"/>
                  </a:cubicBezTo>
                  <a:cubicBezTo>
                    <a:pt x="513" y="635"/>
                    <a:pt x="513" y="635"/>
                    <a:pt x="513" y="635"/>
                  </a:cubicBezTo>
                  <a:cubicBezTo>
                    <a:pt x="526" y="635"/>
                    <a:pt x="526" y="635"/>
                    <a:pt x="526" y="635"/>
                  </a:cubicBezTo>
                  <a:cubicBezTo>
                    <a:pt x="545" y="635"/>
                    <a:pt x="564" y="627"/>
                    <a:pt x="578" y="612"/>
                  </a:cubicBezTo>
                  <a:cubicBezTo>
                    <a:pt x="589" y="600"/>
                    <a:pt x="590" y="572"/>
                    <a:pt x="580" y="559"/>
                  </a:cubicBezTo>
                  <a:cubicBezTo>
                    <a:pt x="576" y="552"/>
                    <a:pt x="577" y="544"/>
                    <a:pt x="583" y="539"/>
                  </a:cubicBezTo>
                  <a:cubicBezTo>
                    <a:pt x="591" y="532"/>
                    <a:pt x="591" y="532"/>
                    <a:pt x="591" y="532"/>
                  </a:cubicBezTo>
                  <a:cubicBezTo>
                    <a:pt x="589" y="512"/>
                    <a:pt x="555" y="513"/>
                    <a:pt x="555" y="513"/>
                  </a:cubicBezTo>
                  <a:cubicBezTo>
                    <a:pt x="555" y="513"/>
                    <a:pt x="599" y="505"/>
                    <a:pt x="607" y="480"/>
                  </a:cubicBezTo>
                  <a:cubicBezTo>
                    <a:pt x="596" y="469"/>
                    <a:pt x="594" y="453"/>
                    <a:pt x="594" y="442"/>
                  </a:cubicBezTo>
                  <a:cubicBezTo>
                    <a:pt x="594" y="437"/>
                    <a:pt x="598" y="432"/>
                    <a:pt x="603" y="431"/>
                  </a:cubicBezTo>
                  <a:cubicBezTo>
                    <a:pt x="648" y="423"/>
                    <a:pt x="648" y="423"/>
                    <a:pt x="648" y="423"/>
                  </a:cubicBezTo>
                  <a:cubicBezTo>
                    <a:pt x="657" y="421"/>
                    <a:pt x="664" y="415"/>
                    <a:pt x="666" y="405"/>
                  </a:cubicBezTo>
                  <a:cubicBezTo>
                    <a:pt x="668" y="398"/>
                    <a:pt x="665" y="390"/>
                    <a:pt x="660" y="385"/>
                  </a:cubicBezTo>
                  <a:lnTo>
                    <a:pt x="621" y="341"/>
                  </a:lnTo>
                  <a:close/>
                </a:path>
              </a:pathLst>
            </a:custGeom>
            <a:solidFill>
              <a:srgbClr val="BCBCB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Oval 104">
              <a:extLst>
                <a:ext uri="{FF2B5EF4-FFF2-40B4-BE49-F238E27FC236}">
                  <a16:creationId xmlns:a16="http://schemas.microsoft.com/office/drawing/2014/main" id="{2A99B6D5-BA62-4A0D-8497-FBA2DBB764E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562399" y="5099768"/>
              <a:ext cx="54466" cy="54466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05">
              <a:extLst>
                <a:ext uri="{FF2B5EF4-FFF2-40B4-BE49-F238E27FC236}">
                  <a16:creationId xmlns:a16="http://schemas.microsoft.com/office/drawing/2014/main" id="{4AEF9E31-3008-41E2-96CB-66FA8FD792C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77801" y="4606634"/>
              <a:ext cx="800791" cy="872921"/>
            </a:xfrm>
            <a:custGeom>
              <a:avLst/>
              <a:gdLst>
                <a:gd name="T0" fmla="*/ 73 w 547"/>
                <a:gd name="T1" fmla="*/ 596 h 596"/>
                <a:gd name="T2" fmla="*/ 73 w 547"/>
                <a:gd name="T3" fmla="*/ 596 h 596"/>
                <a:gd name="T4" fmla="*/ 271 w 547"/>
                <a:gd name="T5" fmla="*/ 465 h 596"/>
                <a:gd name="T6" fmla="*/ 314 w 547"/>
                <a:gd name="T7" fmla="*/ 398 h 596"/>
                <a:gd name="T8" fmla="*/ 460 w 547"/>
                <a:gd name="T9" fmla="*/ 97 h 596"/>
                <a:gd name="T10" fmla="*/ 547 w 547"/>
                <a:gd name="T11" fmla="*/ 95 h 596"/>
                <a:gd name="T12" fmla="*/ 303 w 547"/>
                <a:gd name="T13" fmla="*/ 0 h 596"/>
                <a:gd name="T14" fmla="*/ 0 w 547"/>
                <a:gd name="T15" fmla="*/ 298 h 596"/>
                <a:gd name="T16" fmla="*/ 73 w 547"/>
                <a:gd name="T17" fmla="*/ 596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596">
                  <a:moveTo>
                    <a:pt x="73" y="596"/>
                  </a:moveTo>
                  <a:cubicBezTo>
                    <a:pt x="73" y="596"/>
                    <a:pt x="73" y="596"/>
                    <a:pt x="73" y="596"/>
                  </a:cubicBezTo>
                  <a:cubicBezTo>
                    <a:pt x="155" y="583"/>
                    <a:pt x="227" y="535"/>
                    <a:pt x="271" y="465"/>
                  </a:cubicBezTo>
                  <a:cubicBezTo>
                    <a:pt x="314" y="398"/>
                    <a:pt x="314" y="398"/>
                    <a:pt x="314" y="398"/>
                  </a:cubicBezTo>
                  <a:cubicBezTo>
                    <a:pt x="404" y="324"/>
                    <a:pt x="457" y="214"/>
                    <a:pt x="460" y="97"/>
                  </a:cubicBezTo>
                  <a:cubicBezTo>
                    <a:pt x="547" y="95"/>
                    <a:pt x="547" y="95"/>
                    <a:pt x="547" y="95"/>
                  </a:cubicBezTo>
                  <a:cubicBezTo>
                    <a:pt x="547" y="95"/>
                    <a:pt x="498" y="0"/>
                    <a:pt x="303" y="0"/>
                  </a:cubicBezTo>
                  <a:cubicBezTo>
                    <a:pt x="186" y="0"/>
                    <a:pt x="0" y="106"/>
                    <a:pt x="0" y="298"/>
                  </a:cubicBezTo>
                  <a:cubicBezTo>
                    <a:pt x="0" y="489"/>
                    <a:pt x="73" y="596"/>
                    <a:pt x="73" y="596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Oval 106">
              <a:extLst>
                <a:ext uri="{FF2B5EF4-FFF2-40B4-BE49-F238E27FC236}">
                  <a16:creationId xmlns:a16="http://schemas.microsoft.com/office/drawing/2014/main" id="{A28EB40F-A955-4886-8A30-A54A6523549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573187" y="4809776"/>
              <a:ext cx="312073" cy="312073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107">
              <a:extLst>
                <a:ext uri="{FF2B5EF4-FFF2-40B4-BE49-F238E27FC236}">
                  <a16:creationId xmlns:a16="http://schemas.microsoft.com/office/drawing/2014/main" id="{6D06F4B0-F598-4EE6-82CD-6F03E35969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23928" y="4742062"/>
              <a:ext cx="188421" cy="500494"/>
            </a:xfrm>
            <a:custGeom>
              <a:avLst/>
              <a:gdLst>
                <a:gd name="T0" fmla="*/ 87 w 128"/>
                <a:gd name="T1" fmla="*/ 0 h 342"/>
                <a:gd name="T2" fmla="*/ 0 w 128"/>
                <a:gd name="T3" fmla="*/ 342 h 342"/>
                <a:gd name="T4" fmla="*/ 87 w 128"/>
                <a:gd name="T5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8" h="342">
                  <a:moveTo>
                    <a:pt x="87" y="0"/>
                  </a:moveTo>
                  <a:cubicBezTo>
                    <a:pt x="0" y="342"/>
                    <a:pt x="0" y="342"/>
                    <a:pt x="0" y="342"/>
                  </a:cubicBezTo>
                  <a:cubicBezTo>
                    <a:pt x="0" y="342"/>
                    <a:pt x="128" y="214"/>
                    <a:pt x="87" y="0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108">
              <a:extLst>
                <a:ext uri="{FF2B5EF4-FFF2-40B4-BE49-F238E27FC236}">
                  <a16:creationId xmlns:a16="http://schemas.microsoft.com/office/drawing/2014/main" id="{E3148CF3-3B13-4878-91A1-F832D243DA4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01650" y="5004085"/>
              <a:ext cx="181062" cy="291464"/>
            </a:xfrm>
            <a:custGeom>
              <a:avLst/>
              <a:gdLst>
                <a:gd name="T0" fmla="*/ 124 w 124"/>
                <a:gd name="T1" fmla="*/ 119 h 199"/>
                <a:gd name="T2" fmla="*/ 109 w 124"/>
                <a:gd name="T3" fmla="*/ 44 h 199"/>
                <a:gd name="T4" fmla="*/ 55 w 124"/>
                <a:gd name="T5" fmla="*/ 0 h 199"/>
                <a:gd name="T6" fmla="*/ 55 w 124"/>
                <a:gd name="T7" fmla="*/ 0 h 199"/>
                <a:gd name="T8" fmla="*/ 0 w 124"/>
                <a:gd name="T9" fmla="*/ 55 h 199"/>
                <a:gd name="T10" fmla="*/ 0 w 124"/>
                <a:gd name="T11" fmla="*/ 107 h 199"/>
                <a:gd name="T12" fmla="*/ 43 w 124"/>
                <a:gd name="T13" fmla="*/ 187 h 199"/>
                <a:gd name="T14" fmla="*/ 62 w 124"/>
                <a:gd name="T15" fmla="*/ 199 h 199"/>
                <a:gd name="T16" fmla="*/ 124 w 124"/>
                <a:gd name="T17" fmla="*/ 11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199">
                  <a:moveTo>
                    <a:pt x="124" y="119"/>
                  </a:moveTo>
                  <a:cubicBezTo>
                    <a:pt x="109" y="44"/>
                    <a:pt x="109" y="44"/>
                    <a:pt x="109" y="44"/>
                  </a:cubicBezTo>
                  <a:cubicBezTo>
                    <a:pt x="104" y="19"/>
                    <a:pt x="81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24" y="0"/>
                    <a:pt x="0" y="25"/>
                    <a:pt x="0" y="55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39"/>
                    <a:pt x="16" y="169"/>
                    <a:pt x="43" y="187"/>
                  </a:cubicBezTo>
                  <a:cubicBezTo>
                    <a:pt x="62" y="199"/>
                    <a:pt x="62" y="199"/>
                    <a:pt x="62" y="199"/>
                  </a:cubicBezTo>
                  <a:lnTo>
                    <a:pt x="124" y="119"/>
                  </a:lnTo>
                  <a:close/>
                </a:path>
              </a:pathLst>
            </a:custGeom>
            <a:solidFill>
              <a:srgbClr val="BCBCB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109">
              <a:extLst>
                <a:ext uri="{FF2B5EF4-FFF2-40B4-BE49-F238E27FC236}">
                  <a16:creationId xmlns:a16="http://schemas.microsoft.com/office/drawing/2014/main" id="{91A03ABC-6B6B-464E-A134-83C30E50DD9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73780" y="5324990"/>
              <a:ext cx="55938" cy="114819"/>
            </a:xfrm>
            <a:custGeom>
              <a:avLst/>
              <a:gdLst>
                <a:gd name="T0" fmla="*/ 24 w 38"/>
                <a:gd name="T1" fmla="*/ 78 h 78"/>
                <a:gd name="T2" fmla="*/ 38 w 38"/>
                <a:gd name="T3" fmla="*/ 0 h 78"/>
                <a:gd name="T4" fmla="*/ 0 w 38"/>
                <a:gd name="T5" fmla="*/ 0 h 78"/>
                <a:gd name="T6" fmla="*/ 14 w 38"/>
                <a:gd name="T7" fmla="*/ 78 h 78"/>
                <a:gd name="T8" fmla="*/ 24 w 38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78">
                  <a:moveTo>
                    <a:pt x="24" y="78"/>
                  </a:moveTo>
                  <a:lnTo>
                    <a:pt x="38" y="0"/>
                  </a:lnTo>
                  <a:lnTo>
                    <a:pt x="0" y="0"/>
                  </a:lnTo>
                  <a:lnTo>
                    <a:pt x="14" y="78"/>
                  </a:lnTo>
                  <a:lnTo>
                    <a:pt x="24" y="78"/>
                  </a:lnTo>
                  <a:close/>
                </a:path>
              </a:pathLst>
            </a:custGeom>
            <a:solidFill>
              <a:srgbClr val="A9A9A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110">
              <a:extLst>
                <a:ext uri="{FF2B5EF4-FFF2-40B4-BE49-F238E27FC236}">
                  <a16:creationId xmlns:a16="http://schemas.microsoft.com/office/drawing/2014/main" id="{13FAEE8E-6CD1-43AC-92FB-532657DA77C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497629" y="4995253"/>
              <a:ext cx="153092" cy="91267"/>
            </a:xfrm>
            <a:custGeom>
              <a:avLst/>
              <a:gdLst>
                <a:gd name="T0" fmla="*/ 9 w 105"/>
                <a:gd name="T1" fmla="*/ 62 h 62"/>
                <a:gd name="T2" fmla="*/ 4 w 105"/>
                <a:gd name="T3" fmla="*/ 61 h 62"/>
                <a:gd name="T4" fmla="*/ 2 w 105"/>
                <a:gd name="T5" fmla="*/ 50 h 62"/>
                <a:gd name="T6" fmla="*/ 99 w 105"/>
                <a:gd name="T7" fmla="*/ 24 h 62"/>
                <a:gd name="T8" fmla="*/ 104 w 105"/>
                <a:gd name="T9" fmla="*/ 34 h 62"/>
                <a:gd name="T10" fmla="*/ 94 w 105"/>
                <a:gd name="T11" fmla="*/ 39 h 62"/>
                <a:gd name="T12" fmla="*/ 15 w 105"/>
                <a:gd name="T13" fmla="*/ 59 h 62"/>
                <a:gd name="T14" fmla="*/ 9 w 105"/>
                <a:gd name="T1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62">
                  <a:moveTo>
                    <a:pt x="9" y="62"/>
                  </a:moveTo>
                  <a:cubicBezTo>
                    <a:pt x="7" y="62"/>
                    <a:pt x="6" y="61"/>
                    <a:pt x="4" y="61"/>
                  </a:cubicBezTo>
                  <a:cubicBezTo>
                    <a:pt x="1" y="58"/>
                    <a:pt x="0" y="53"/>
                    <a:pt x="2" y="50"/>
                  </a:cubicBezTo>
                  <a:cubicBezTo>
                    <a:pt x="3" y="49"/>
                    <a:pt x="38" y="0"/>
                    <a:pt x="99" y="24"/>
                  </a:cubicBezTo>
                  <a:cubicBezTo>
                    <a:pt x="103" y="26"/>
                    <a:pt x="105" y="30"/>
                    <a:pt x="104" y="34"/>
                  </a:cubicBezTo>
                  <a:cubicBezTo>
                    <a:pt x="102" y="38"/>
                    <a:pt x="98" y="40"/>
                    <a:pt x="94" y="39"/>
                  </a:cubicBezTo>
                  <a:cubicBezTo>
                    <a:pt x="44" y="19"/>
                    <a:pt x="16" y="57"/>
                    <a:pt x="15" y="59"/>
                  </a:cubicBezTo>
                  <a:cubicBezTo>
                    <a:pt x="13" y="61"/>
                    <a:pt x="11" y="62"/>
                    <a:pt x="9" y="62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111">
              <a:extLst>
                <a:ext uri="{FF2B5EF4-FFF2-40B4-BE49-F238E27FC236}">
                  <a16:creationId xmlns:a16="http://schemas.microsoft.com/office/drawing/2014/main" id="{BBB2F9C8-59AD-4CC5-B5F7-D535BDF4D2A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39924" y="5043830"/>
              <a:ext cx="98627" cy="194310"/>
            </a:xfrm>
            <a:custGeom>
              <a:avLst/>
              <a:gdLst>
                <a:gd name="T0" fmla="*/ 53 w 67"/>
                <a:gd name="T1" fmla="*/ 115 h 133"/>
                <a:gd name="T2" fmla="*/ 53 w 67"/>
                <a:gd name="T3" fmla="*/ 115 h 133"/>
                <a:gd name="T4" fmla="*/ 56 w 67"/>
                <a:gd name="T5" fmla="*/ 82 h 133"/>
                <a:gd name="T6" fmla="*/ 56 w 67"/>
                <a:gd name="T7" fmla="*/ 82 h 133"/>
                <a:gd name="T8" fmla="*/ 65 w 67"/>
                <a:gd name="T9" fmla="*/ 58 h 133"/>
                <a:gd name="T10" fmla="*/ 54 w 67"/>
                <a:gd name="T11" fmla="*/ 20 h 133"/>
                <a:gd name="T12" fmla="*/ 28 w 67"/>
                <a:gd name="T13" fmla="*/ 0 h 133"/>
                <a:gd name="T14" fmla="*/ 28 w 67"/>
                <a:gd name="T15" fmla="*/ 0 h 133"/>
                <a:gd name="T16" fmla="*/ 0 w 67"/>
                <a:gd name="T17" fmla="*/ 27 h 133"/>
                <a:gd name="T18" fmla="*/ 0 w 67"/>
                <a:gd name="T19" fmla="*/ 74 h 133"/>
                <a:gd name="T20" fmla="*/ 18 w 67"/>
                <a:gd name="T21" fmla="*/ 113 h 133"/>
                <a:gd name="T22" fmla="*/ 36 w 67"/>
                <a:gd name="T23" fmla="*/ 129 h 133"/>
                <a:gd name="T24" fmla="*/ 50 w 67"/>
                <a:gd name="T25" fmla="*/ 130 h 133"/>
                <a:gd name="T26" fmla="*/ 52 w 67"/>
                <a:gd name="T27" fmla="*/ 129 h 133"/>
                <a:gd name="T28" fmla="*/ 53 w 67"/>
                <a:gd name="T29" fmla="*/ 11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133">
                  <a:moveTo>
                    <a:pt x="53" y="115"/>
                  </a:moveTo>
                  <a:cubicBezTo>
                    <a:pt x="53" y="115"/>
                    <a:pt x="53" y="115"/>
                    <a:pt x="53" y="115"/>
                  </a:cubicBezTo>
                  <a:cubicBezTo>
                    <a:pt x="44" y="105"/>
                    <a:pt x="45" y="89"/>
                    <a:pt x="56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64" y="76"/>
                    <a:pt x="67" y="67"/>
                    <a:pt x="65" y="58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1" y="8"/>
                    <a:pt x="40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89"/>
                    <a:pt x="7" y="103"/>
                    <a:pt x="18" y="113"/>
                  </a:cubicBezTo>
                  <a:cubicBezTo>
                    <a:pt x="36" y="129"/>
                    <a:pt x="36" y="129"/>
                    <a:pt x="36" y="129"/>
                  </a:cubicBezTo>
                  <a:cubicBezTo>
                    <a:pt x="40" y="133"/>
                    <a:pt x="46" y="133"/>
                    <a:pt x="50" y="130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56" y="125"/>
                    <a:pt x="57" y="119"/>
                    <a:pt x="53" y="115"/>
                  </a:cubicBezTo>
                  <a:close/>
                </a:path>
              </a:pathLst>
            </a:custGeom>
            <a:solidFill>
              <a:srgbClr val="A9A9A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112">
              <a:extLst>
                <a:ext uri="{FF2B5EF4-FFF2-40B4-BE49-F238E27FC236}">
                  <a16:creationId xmlns:a16="http://schemas.microsoft.com/office/drawing/2014/main" id="{C7DF51E9-BA96-4300-B21F-B630570D513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53172" y="5062967"/>
              <a:ext cx="58882" cy="150148"/>
            </a:xfrm>
            <a:custGeom>
              <a:avLst/>
              <a:gdLst>
                <a:gd name="T0" fmla="*/ 28 w 40"/>
                <a:gd name="T1" fmla="*/ 17 h 103"/>
                <a:gd name="T2" fmla="*/ 27 w 40"/>
                <a:gd name="T3" fmla="*/ 14 h 103"/>
                <a:gd name="T4" fmla="*/ 0 w 40"/>
                <a:gd name="T5" fmla="*/ 19 h 103"/>
                <a:gd name="T6" fmla="*/ 0 w 40"/>
                <a:gd name="T7" fmla="*/ 103 h 103"/>
                <a:gd name="T8" fmla="*/ 1 w 40"/>
                <a:gd name="T9" fmla="*/ 103 h 103"/>
                <a:gd name="T10" fmla="*/ 28 w 40"/>
                <a:gd name="T11" fmla="*/ 1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103">
                  <a:moveTo>
                    <a:pt x="28" y="17"/>
                  </a:moveTo>
                  <a:cubicBezTo>
                    <a:pt x="27" y="14"/>
                    <a:pt x="27" y="14"/>
                    <a:pt x="27" y="14"/>
                  </a:cubicBezTo>
                  <a:cubicBezTo>
                    <a:pt x="21" y="0"/>
                    <a:pt x="0" y="4"/>
                    <a:pt x="0" y="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29" y="84"/>
                    <a:pt x="40" y="49"/>
                    <a:pt x="28" y="17"/>
                  </a:cubicBezTo>
                  <a:close/>
                </a:path>
              </a:pathLst>
            </a:custGeom>
            <a:solidFill>
              <a:srgbClr val="BCBCB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113">
              <a:extLst>
                <a:ext uri="{FF2B5EF4-FFF2-40B4-BE49-F238E27FC236}">
                  <a16:creationId xmlns:a16="http://schemas.microsoft.com/office/drawing/2014/main" id="{0F0C0A74-F199-4025-9B5E-F8360013DF6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56017" y="4951092"/>
              <a:ext cx="194310" cy="266440"/>
            </a:xfrm>
            <a:custGeom>
              <a:avLst/>
              <a:gdLst>
                <a:gd name="T0" fmla="*/ 132 w 132"/>
                <a:gd name="T1" fmla="*/ 0 h 182"/>
                <a:gd name="T2" fmla="*/ 0 w 132"/>
                <a:gd name="T3" fmla="*/ 182 h 182"/>
                <a:gd name="T4" fmla="*/ 132 w 132"/>
                <a:gd name="T5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2" h="182">
                  <a:moveTo>
                    <a:pt x="132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0" y="182"/>
                    <a:pt x="107" y="152"/>
                    <a:pt x="132" y="0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141">
              <a:extLst>
                <a:ext uri="{FF2B5EF4-FFF2-40B4-BE49-F238E27FC236}">
                  <a16:creationId xmlns:a16="http://schemas.microsoft.com/office/drawing/2014/main" id="{33D210F2-0A94-42FB-92B3-CBBEC35AF1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788126" y="4307809"/>
              <a:ext cx="438668" cy="198726"/>
            </a:xfrm>
            <a:custGeom>
              <a:avLst/>
              <a:gdLst>
                <a:gd name="T0" fmla="*/ 5 w 300"/>
                <a:gd name="T1" fmla="*/ 28 h 136"/>
                <a:gd name="T2" fmla="*/ 45 w 300"/>
                <a:gd name="T3" fmla="*/ 3 h 136"/>
                <a:gd name="T4" fmla="*/ 206 w 300"/>
                <a:gd name="T5" fmla="*/ 31 h 136"/>
                <a:gd name="T6" fmla="*/ 206 w 300"/>
                <a:gd name="T7" fmla="*/ 31 h 136"/>
                <a:gd name="T8" fmla="*/ 241 w 300"/>
                <a:gd name="T9" fmla="*/ 43 h 136"/>
                <a:gd name="T10" fmla="*/ 300 w 300"/>
                <a:gd name="T11" fmla="*/ 75 h 136"/>
                <a:gd name="T12" fmla="*/ 138 w 300"/>
                <a:gd name="T13" fmla="*/ 136 h 136"/>
                <a:gd name="T14" fmla="*/ 66 w 300"/>
                <a:gd name="T15" fmla="*/ 129 h 136"/>
                <a:gd name="T16" fmla="*/ 93 w 300"/>
                <a:gd name="T17" fmla="*/ 92 h 136"/>
                <a:gd name="T18" fmla="*/ 26 w 300"/>
                <a:gd name="T19" fmla="*/ 70 h 136"/>
                <a:gd name="T20" fmla="*/ 5 w 300"/>
                <a:gd name="T2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0" h="136">
                  <a:moveTo>
                    <a:pt x="5" y="28"/>
                  </a:moveTo>
                  <a:cubicBezTo>
                    <a:pt x="9" y="11"/>
                    <a:pt x="27" y="0"/>
                    <a:pt x="45" y="3"/>
                  </a:cubicBezTo>
                  <a:cubicBezTo>
                    <a:pt x="206" y="31"/>
                    <a:pt x="206" y="31"/>
                    <a:pt x="206" y="31"/>
                  </a:cubicBezTo>
                  <a:cubicBezTo>
                    <a:pt x="206" y="31"/>
                    <a:pt x="206" y="31"/>
                    <a:pt x="206" y="31"/>
                  </a:cubicBezTo>
                  <a:cubicBezTo>
                    <a:pt x="218" y="33"/>
                    <a:pt x="230" y="37"/>
                    <a:pt x="241" y="43"/>
                  </a:cubicBezTo>
                  <a:cubicBezTo>
                    <a:pt x="300" y="75"/>
                    <a:pt x="300" y="75"/>
                    <a:pt x="300" y="75"/>
                  </a:cubicBezTo>
                  <a:cubicBezTo>
                    <a:pt x="138" y="136"/>
                    <a:pt x="138" y="136"/>
                    <a:pt x="138" y="136"/>
                  </a:cubicBezTo>
                  <a:cubicBezTo>
                    <a:pt x="66" y="129"/>
                    <a:pt x="66" y="129"/>
                    <a:pt x="66" y="129"/>
                  </a:cubicBezTo>
                  <a:cubicBezTo>
                    <a:pt x="93" y="92"/>
                    <a:pt x="93" y="92"/>
                    <a:pt x="93" y="92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9" y="63"/>
                    <a:pt x="0" y="46"/>
                    <a:pt x="5" y="28"/>
                  </a:cubicBezTo>
                  <a:close/>
                </a:path>
              </a:pathLst>
            </a:custGeom>
            <a:solidFill>
              <a:srgbClr val="E3C6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142">
              <a:extLst>
                <a:ext uri="{FF2B5EF4-FFF2-40B4-BE49-F238E27FC236}">
                  <a16:creationId xmlns:a16="http://schemas.microsoft.com/office/drawing/2014/main" id="{CB322FF7-4D68-402B-9735-7DAC8FF8F4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300881" y="4244512"/>
              <a:ext cx="351818" cy="387147"/>
            </a:xfrm>
            <a:custGeom>
              <a:avLst/>
              <a:gdLst>
                <a:gd name="T0" fmla="*/ 8 w 240"/>
                <a:gd name="T1" fmla="*/ 1 h 265"/>
                <a:gd name="T2" fmla="*/ 0 w 240"/>
                <a:gd name="T3" fmla="*/ 1 h 265"/>
                <a:gd name="T4" fmla="*/ 13 w 240"/>
                <a:gd name="T5" fmla="*/ 124 h 265"/>
                <a:gd name="T6" fmla="*/ 22 w 240"/>
                <a:gd name="T7" fmla="*/ 140 h 265"/>
                <a:gd name="T8" fmla="*/ 147 w 240"/>
                <a:gd name="T9" fmla="*/ 257 h 265"/>
                <a:gd name="T10" fmla="*/ 168 w 240"/>
                <a:gd name="T11" fmla="*/ 265 h 265"/>
                <a:gd name="T12" fmla="*/ 233 w 240"/>
                <a:gd name="T13" fmla="*/ 260 h 265"/>
                <a:gd name="T14" fmla="*/ 240 w 240"/>
                <a:gd name="T15" fmla="*/ 184 h 265"/>
                <a:gd name="T16" fmla="*/ 92 w 240"/>
                <a:gd name="T17" fmla="*/ 105 h 265"/>
                <a:gd name="T18" fmla="*/ 86 w 240"/>
                <a:gd name="T19" fmla="*/ 68 h 265"/>
                <a:gd name="T20" fmla="*/ 8 w 240"/>
                <a:gd name="T21" fmla="*/ 1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" h="265">
                  <a:moveTo>
                    <a:pt x="8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0"/>
                    <a:pt x="17" y="136"/>
                    <a:pt x="22" y="140"/>
                  </a:cubicBezTo>
                  <a:cubicBezTo>
                    <a:pt x="147" y="257"/>
                    <a:pt x="147" y="257"/>
                    <a:pt x="147" y="257"/>
                  </a:cubicBezTo>
                  <a:cubicBezTo>
                    <a:pt x="153" y="263"/>
                    <a:pt x="160" y="265"/>
                    <a:pt x="168" y="265"/>
                  </a:cubicBezTo>
                  <a:cubicBezTo>
                    <a:pt x="233" y="260"/>
                    <a:pt x="233" y="260"/>
                    <a:pt x="233" y="260"/>
                  </a:cubicBezTo>
                  <a:cubicBezTo>
                    <a:pt x="240" y="184"/>
                    <a:pt x="240" y="184"/>
                    <a:pt x="240" y="184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1" y="29"/>
                    <a:pt x="47" y="0"/>
                    <a:pt x="8" y="1"/>
                  </a:cubicBezTo>
                  <a:close/>
                </a:path>
              </a:pathLst>
            </a:custGeom>
            <a:solidFill>
              <a:srgbClr val="E3C6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143">
              <a:extLst>
                <a:ext uri="{FF2B5EF4-FFF2-40B4-BE49-F238E27FC236}">
                  <a16:creationId xmlns:a16="http://schemas.microsoft.com/office/drawing/2014/main" id="{86083E80-715C-41A3-BACE-05B381B5726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483414" y="4266592"/>
              <a:ext cx="1212963" cy="591761"/>
            </a:xfrm>
            <a:custGeom>
              <a:avLst/>
              <a:gdLst>
                <a:gd name="T0" fmla="*/ 573 w 829"/>
                <a:gd name="T1" fmla="*/ 405 h 405"/>
                <a:gd name="T2" fmla="*/ 552 w 829"/>
                <a:gd name="T3" fmla="*/ 362 h 405"/>
                <a:gd name="T4" fmla="*/ 501 w 829"/>
                <a:gd name="T5" fmla="*/ 325 h 405"/>
                <a:gd name="T6" fmla="*/ 146 w 829"/>
                <a:gd name="T7" fmla="*/ 283 h 405"/>
                <a:gd name="T8" fmla="*/ 130 w 829"/>
                <a:gd name="T9" fmla="*/ 276 h 405"/>
                <a:gd name="T10" fmla="*/ 14 w 829"/>
                <a:gd name="T11" fmla="*/ 177 h 405"/>
                <a:gd name="T12" fmla="*/ 4 w 829"/>
                <a:gd name="T13" fmla="*/ 158 h 405"/>
                <a:gd name="T14" fmla="*/ 0 w 829"/>
                <a:gd name="T15" fmla="*/ 0 h 405"/>
                <a:gd name="T16" fmla="*/ 11 w 829"/>
                <a:gd name="T17" fmla="*/ 1 h 405"/>
                <a:gd name="T18" fmla="*/ 82 w 829"/>
                <a:gd name="T19" fmla="*/ 66 h 405"/>
                <a:gd name="T20" fmla="*/ 92 w 829"/>
                <a:gd name="T21" fmla="*/ 132 h 405"/>
                <a:gd name="T22" fmla="*/ 92 w 829"/>
                <a:gd name="T23" fmla="*/ 132 h 405"/>
                <a:gd name="T24" fmla="*/ 195 w 829"/>
                <a:gd name="T25" fmla="*/ 168 h 405"/>
                <a:gd name="T26" fmla="*/ 201 w 829"/>
                <a:gd name="T27" fmla="*/ 173 h 405"/>
                <a:gd name="T28" fmla="*/ 501 w 829"/>
                <a:gd name="T29" fmla="*/ 105 h 405"/>
                <a:gd name="T30" fmla="*/ 709 w 829"/>
                <a:gd name="T31" fmla="*/ 169 h 405"/>
                <a:gd name="T32" fmla="*/ 829 w 829"/>
                <a:gd name="T33" fmla="*/ 300 h 405"/>
                <a:gd name="T34" fmla="*/ 708 w 829"/>
                <a:gd name="T35" fmla="*/ 402 h 405"/>
                <a:gd name="T36" fmla="*/ 573 w 829"/>
                <a:gd name="T37" fmla="*/ 40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9" h="405">
                  <a:moveTo>
                    <a:pt x="573" y="405"/>
                  </a:moveTo>
                  <a:cubicBezTo>
                    <a:pt x="552" y="362"/>
                    <a:pt x="552" y="362"/>
                    <a:pt x="552" y="362"/>
                  </a:cubicBezTo>
                  <a:cubicBezTo>
                    <a:pt x="542" y="342"/>
                    <a:pt x="523" y="328"/>
                    <a:pt x="501" y="325"/>
                  </a:cubicBezTo>
                  <a:cubicBezTo>
                    <a:pt x="146" y="283"/>
                    <a:pt x="146" y="283"/>
                    <a:pt x="146" y="283"/>
                  </a:cubicBezTo>
                  <a:cubicBezTo>
                    <a:pt x="140" y="282"/>
                    <a:pt x="135" y="280"/>
                    <a:pt x="130" y="276"/>
                  </a:cubicBezTo>
                  <a:cubicBezTo>
                    <a:pt x="14" y="177"/>
                    <a:pt x="14" y="177"/>
                    <a:pt x="14" y="177"/>
                  </a:cubicBezTo>
                  <a:cubicBezTo>
                    <a:pt x="8" y="172"/>
                    <a:pt x="5" y="165"/>
                    <a:pt x="4" y="15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47" y="3"/>
                    <a:pt x="76" y="30"/>
                    <a:pt x="82" y="66"/>
                  </a:cubicBezTo>
                  <a:cubicBezTo>
                    <a:pt x="92" y="132"/>
                    <a:pt x="92" y="132"/>
                    <a:pt x="92" y="132"/>
                  </a:cubicBezTo>
                  <a:cubicBezTo>
                    <a:pt x="92" y="132"/>
                    <a:pt x="92" y="132"/>
                    <a:pt x="92" y="132"/>
                  </a:cubicBezTo>
                  <a:cubicBezTo>
                    <a:pt x="129" y="133"/>
                    <a:pt x="165" y="146"/>
                    <a:pt x="195" y="168"/>
                  </a:cubicBezTo>
                  <a:cubicBezTo>
                    <a:pt x="201" y="173"/>
                    <a:pt x="201" y="173"/>
                    <a:pt x="201" y="173"/>
                  </a:cubicBezTo>
                  <a:cubicBezTo>
                    <a:pt x="501" y="105"/>
                    <a:pt x="501" y="105"/>
                    <a:pt x="501" y="105"/>
                  </a:cubicBezTo>
                  <a:cubicBezTo>
                    <a:pt x="577" y="87"/>
                    <a:pt x="656" y="112"/>
                    <a:pt x="709" y="169"/>
                  </a:cubicBezTo>
                  <a:cubicBezTo>
                    <a:pt x="829" y="300"/>
                    <a:pt x="829" y="300"/>
                    <a:pt x="829" y="300"/>
                  </a:cubicBezTo>
                  <a:cubicBezTo>
                    <a:pt x="708" y="402"/>
                    <a:pt x="708" y="402"/>
                    <a:pt x="708" y="402"/>
                  </a:cubicBezTo>
                  <a:lnTo>
                    <a:pt x="573" y="405"/>
                  </a:lnTo>
                  <a:close/>
                </a:path>
              </a:pathLst>
            </a:custGeom>
            <a:solidFill>
              <a:srgbClr val="F8D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144">
              <a:extLst>
                <a:ext uri="{FF2B5EF4-FFF2-40B4-BE49-F238E27FC236}">
                  <a16:creationId xmlns:a16="http://schemas.microsoft.com/office/drawing/2014/main" id="{1068C774-6F8A-46AE-A3BF-292C6D1EC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94509" y="4696428"/>
              <a:ext cx="526991" cy="382731"/>
            </a:xfrm>
            <a:custGeom>
              <a:avLst/>
              <a:gdLst>
                <a:gd name="T0" fmla="*/ 291 w 360"/>
                <a:gd name="T1" fmla="*/ 0 h 261"/>
                <a:gd name="T2" fmla="*/ 0 w 360"/>
                <a:gd name="T3" fmla="*/ 107 h 261"/>
                <a:gd name="T4" fmla="*/ 85 w 360"/>
                <a:gd name="T5" fmla="*/ 261 h 261"/>
                <a:gd name="T6" fmla="*/ 360 w 360"/>
                <a:gd name="T7" fmla="*/ 93 h 261"/>
                <a:gd name="T8" fmla="*/ 291 w 360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0" h="261">
                  <a:moveTo>
                    <a:pt x="291" y="0"/>
                  </a:moveTo>
                  <a:cubicBezTo>
                    <a:pt x="0" y="107"/>
                    <a:pt x="0" y="107"/>
                    <a:pt x="0" y="107"/>
                  </a:cubicBezTo>
                  <a:cubicBezTo>
                    <a:pt x="85" y="261"/>
                    <a:pt x="85" y="261"/>
                    <a:pt x="85" y="261"/>
                  </a:cubicBezTo>
                  <a:cubicBezTo>
                    <a:pt x="186" y="220"/>
                    <a:pt x="279" y="163"/>
                    <a:pt x="360" y="93"/>
                  </a:cubicBezTo>
                  <a:lnTo>
                    <a:pt x="291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145">
              <a:extLst>
                <a:ext uri="{FF2B5EF4-FFF2-40B4-BE49-F238E27FC236}">
                  <a16:creationId xmlns:a16="http://schemas.microsoft.com/office/drawing/2014/main" id="{33699B9A-157A-4A9B-A053-A88B46FA68F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403440" y="4861297"/>
              <a:ext cx="86851" cy="86851"/>
            </a:xfrm>
            <a:custGeom>
              <a:avLst/>
              <a:gdLst>
                <a:gd name="T0" fmla="*/ 3 w 59"/>
                <a:gd name="T1" fmla="*/ 36 h 59"/>
                <a:gd name="T2" fmla="*/ 36 w 59"/>
                <a:gd name="T3" fmla="*/ 56 h 59"/>
                <a:gd name="T4" fmla="*/ 55 w 59"/>
                <a:gd name="T5" fmla="*/ 23 h 59"/>
                <a:gd name="T6" fmla="*/ 23 w 59"/>
                <a:gd name="T7" fmla="*/ 3 h 59"/>
                <a:gd name="T8" fmla="*/ 3 w 59"/>
                <a:gd name="T9" fmla="*/ 3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9">
                  <a:moveTo>
                    <a:pt x="3" y="36"/>
                  </a:moveTo>
                  <a:cubicBezTo>
                    <a:pt x="7" y="50"/>
                    <a:pt x="21" y="59"/>
                    <a:pt x="36" y="56"/>
                  </a:cubicBezTo>
                  <a:cubicBezTo>
                    <a:pt x="50" y="52"/>
                    <a:pt x="59" y="37"/>
                    <a:pt x="55" y="23"/>
                  </a:cubicBezTo>
                  <a:cubicBezTo>
                    <a:pt x="52" y="9"/>
                    <a:pt x="37" y="0"/>
                    <a:pt x="23" y="3"/>
                  </a:cubicBezTo>
                  <a:cubicBezTo>
                    <a:pt x="8" y="7"/>
                    <a:pt x="0" y="22"/>
                    <a:pt x="3" y="36"/>
                  </a:cubicBez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146">
              <a:extLst>
                <a:ext uri="{FF2B5EF4-FFF2-40B4-BE49-F238E27FC236}">
                  <a16:creationId xmlns:a16="http://schemas.microsoft.com/office/drawing/2014/main" id="{AD91BDFF-3EA7-470E-BAD3-D9BC6891700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220424" y="2096802"/>
              <a:ext cx="154565" cy="139844"/>
            </a:xfrm>
            <a:custGeom>
              <a:avLst/>
              <a:gdLst>
                <a:gd name="T0" fmla="*/ 105 w 105"/>
                <a:gd name="T1" fmla="*/ 16 h 95"/>
                <a:gd name="T2" fmla="*/ 33 w 105"/>
                <a:gd name="T3" fmla="*/ 0 h 95"/>
                <a:gd name="T4" fmla="*/ 0 w 105"/>
                <a:gd name="T5" fmla="*/ 67 h 95"/>
                <a:gd name="T6" fmla="*/ 104 w 105"/>
                <a:gd name="T7" fmla="*/ 95 h 95"/>
                <a:gd name="T8" fmla="*/ 105 w 105"/>
                <a:gd name="T9" fmla="*/ 1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95">
                  <a:moveTo>
                    <a:pt x="105" y="16"/>
                  </a:moveTo>
                  <a:cubicBezTo>
                    <a:pt x="82" y="13"/>
                    <a:pt x="57" y="7"/>
                    <a:pt x="33" y="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40" y="78"/>
                    <a:pt x="78" y="90"/>
                    <a:pt x="104" y="95"/>
                  </a:cubicBezTo>
                  <a:lnTo>
                    <a:pt x="105" y="16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147">
              <a:extLst>
                <a:ext uri="{FF2B5EF4-FFF2-40B4-BE49-F238E27FC236}">
                  <a16:creationId xmlns:a16="http://schemas.microsoft.com/office/drawing/2014/main" id="{17DE233C-5CC8-4654-8784-80FFCDF02A5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059971" y="2064417"/>
              <a:ext cx="139844" cy="111875"/>
            </a:xfrm>
            <a:custGeom>
              <a:avLst/>
              <a:gdLst>
                <a:gd name="T0" fmla="*/ 0 w 96"/>
                <a:gd name="T1" fmla="*/ 70 h 76"/>
                <a:gd name="T2" fmla="*/ 49 w 96"/>
                <a:gd name="T3" fmla="*/ 76 h 76"/>
                <a:gd name="T4" fmla="*/ 96 w 96"/>
                <a:gd name="T5" fmla="*/ 10 h 76"/>
                <a:gd name="T6" fmla="*/ 62 w 96"/>
                <a:gd name="T7" fmla="*/ 0 h 76"/>
                <a:gd name="T8" fmla="*/ 0 w 96"/>
                <a:gd name="T9" fmla="*/ 7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76">
                  <a:moveTo>
                    <a:pt x="0" y="70"/>
                  </a:moveTo>
                  <a:cubicBezTo>
                    <a:pt x="16" y="71"/>
                    <a:pt x="32" y="73"/>
                    <a:pt x="49" y="76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85" y="6"/>
                    <a:pt x="73" y="3"/>
                    <a:pt x="62" y="0"/>
                  </a:cubicBezTo>
                  <a:lnTo>
                    <a:pt x="0" y="7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148">
              <a:extLst>
                <a:ext uri="{FF2B5EF4-FFF2-40B4-BE49-F238E27FC236}">
                  <a16:creationId xmlns:a16="http://schemas.microsoft.com/office/drawing/2014/main" id="{9DF778AB-BFC7-42B6-9DED-78387B64458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145349" y="2082082"/>
              <a:ext cx="110404" cy="110404"/>
            </a:xfrm>
            <a:custGeom>
              <a:avLst/>
              <a:gdLst>
                <a:gd name="T0" fmla="*/ 76 w 76"/>
                <a:gd name="T1" fmla="*/ 8 h 75"/>
                <a:gd name="T2" fmla="*/ 48 w 76"/>
                <a:gd name="T3" fmla="*/ 0 h 75"/>
                <a:gd name="T4" fmla="*/ 0 w 76"/>
                <a:gd name="T5" fmla="*/ 66 h 75"/>
                <a:gd name="T6" fmla="*/ 43 w 76"/>
                <a:gd name="T7" fmla="*/ 75 h 75"/>
                <a:gd name="T8" fmla="*/ 76 w 76"/>
                <a:gd name="T9" fmla="*/ 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5">
                  <a:moveTo>
                    <a:pt x="76" y="8"/>
                  </a:moveTo>
                  <a:cubicBezTo>
                    <a:pt x="66" y="6"/>
                    <a:pt x="57" y="3"/>
                    <a:pt x="48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15" y="68"/>
                    <a:pt x="29" y="72"/>
                    <a:pt x="43" y="75"/>
                  </a:cubicBezTo>
                  <a:lnTo>
                    <a:pt x="76" y="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149">
              <a:extLst>
                <a:ext uri="{FF2B5EF4-FFF2-40B4-BE49-F238E27FC236}">
                  <a16:creationId xmlns:a16="http://schemas.microsoft.com/office/drawing/2014/main" id="{E30A35EC-107B-479A-9699-76DC66651A8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386764" y="2123299"/>
              <a:ext cx="51522" cy="117763"/>
            </a:xfrm>
            <a:custGeom>
              <a:avLst/>
              <a:gdLst>
                <a:gd name="T0" fmla="*/ 35 w 35"/>
                <a:gd name="T1" fmla="*/ 2 h 80"/>
                <a:gd name="T2" fmla="*/ 1 w 35"/>
                <a:gd name="T3" fmla="*/ 0 h 80"/>
                <a:gd name="T4" fmla="*/ 0 w 35"/>
                <a:gd name="T5" fmla="*/ 79 h 80"/>
                <a:gd name="T6" fmla="*/ 12 w 35"/>
                <a:gd name="T7" fmla="*/ 80 h 80"/>
                <a:gd name="T8" fmla="*/ 35 w 35"/>
                <a:gd name="T9" fmla="*/ 79 h 80"/>
                <a:gd name="T10" fmla="*/ 35 w 35"/>
                <a:gd name="T11" fmla="*/ 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80">
                  <a:moveTo>
                    <a:pt x="35" y="2"/>
                  </a:moveTo>
                  <a:cubicBezTo>
                    <a:pt x="24" y="2"/>
                    <a:pt x="13" y="1"/>
                    <a:pt x="1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4" y="80"/>
                    <a:pt x="9" y="80"/>
                    <a:pt x="12" y="80"/>
                  </a:cubicBezTo>
                  <a:cubicBezTo>
                    <a:pt x="21" y="80"/>
                    <a:pt x="28" y="80"/>
                    <a:pt x="35" y="79"/>
                  </a:cubicBezTo>
                  <a:lnTo>
                    <a:pt x="35" y="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150">
              <a:extLst>
                <a:ext uri="{FF2B5EF4-FFF2-40B4-BE49-F238E27FC236}">
                  <a16:creationId xmlns:a16="http://schemas.microsoft.com/office/drawing/2014/main" id="{1E735634-440E-4864-917C-13DBB567AE3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450062" y="2123299"/>
              <a:ext cx="30913" cy="113348"/>
            </a:xfrm>
            <a:custGeom>
              <a:avLst/>
              <a:gdLst>
                <a:gd name="T0" fmla="*/ 17 w 22"/>
                <a:gd name="T1" fmla="*/ 0 h 77"/>
                <a:gd name="T2" fmla="*/ 0 w 22"/>
                <a:gd name="T3" fmla="*/ 2 h 77"/>
                <a:gd name="T4" fmla="*/ 0 w 22"/>
                <a:gd name="T5" fmla="*/ 77 h 77"/>
                <a:gd name="T6" fmla="*/ 22 w 22"/>
                <a:gd name="T7" fmla="*/ 61 h 77"/>
                <a:gd name="T8" fmla="*/ 17 w 22"/>
                <a:gd name="T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77">
                  <a:moveTo>
                    <a:pt x="17" y="0"/>
                  </a:moveTo>
                  <a:cubicBezTo>
                    <a:pt x="12" y="1"/>
                    <a:pt x="6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20" y="71"/>
                    <a:pt x="22" y="61"/>
                    <a:pt x="22" y="61"/>
                  </a:cubicBezTo>
                  <a:cubicBezTo>
                    <a:pt x="22" y="61"/>
                    <a:pt x="17" y="4"/>
                    <a:pt x="17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151">
              <a:extLst>
                <a:ext uri="{FF2B5EF4-FFF2-40B4-BE49-F238E27FC236}">
                  <a16:creationId xmlns:a16="http://schemas.microsoft.com/office/drawing/2014/main" id="{BEB6FBDE-6B3A-4F05-8296-12925BC08C6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348491" y="2060001"/>
              <a:ext cx="69186" cy="147204"/>
            </a:xfrm>
            <a:custGeom>
              <a:avLst/>
              <a:gdLst>
                <a:gd name="T0" fmla="*/ 11 w 47"/>
                <a:gd name="T1" fmla="*/ 100 h 100"/>
                <a:gd name="T2" fmla="*/ 47 w 47"/>
                <a:gd name="T3" fmla="*/ 88 h 100"/>
                <a:gd name="T4" fmla="*/ 47 w 47"/>
                <a:gd name="T5" fmla="*/ 0 h 100"/>
                <a:gd name="T6" fmla="*/ 0 w 47"/>
                <a:gd name="T7" fmla="*/ 16 h 100"/>
                <a:gd name="T8" fmla="*/ 11 w 47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00">
                  <a:moveTo>
                    <a:pt x="11" y="100"/>
                  </a:moveTo>
                  <a:cubicBezTo>
                    <a:pt x="24" y="94"/>
                    <a:pt x="36" y="89"/>
                    <a:pt x="47" y="88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30" y="0"/>
                    <a:pt x="14" y="6"/>
                    <a:pt x="0" y="16"/>
                  </a:cubicBezTo>
                  <a:lnTo>
                    <a:pt x="11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152">
              <a:extLst>
                <a:ext uri="{FF2B5EF4-FFF2-40B4-BE49-F238E27FC236}">
                  <a16:creationId xmlns:a16="http://schemas.microsoft.com/office/drawing/2014/main" id="{853EB51D-3F5C-4B15-AAE7-A3BCE3BC496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279305" y="2092386"/>
              <a:ext cx="73602" cy="142789"/>
            </a:xfrm>
            <a:custGeom>
              <a:avLst/>
              <a:gdLst>
                <a:gd name="T0" fmla="*/ 26 w 50"/>
                <a:gd name="T1" fmla="*/ 97 h 97"/>
                <a:gd name="T2" fmla="*/ 50 w 50"/>
                <a:gd name="T3" fmla="*/ 82 h 97"/>
                <a:gd name="T4" fmla="*/ 39 w 50"/>
                <a:gd name="T5" fmla="*/ 0 h 97"/>
                <a:gd name="T6" fmla="*/ 0 w 50"/>
                <a:gd name="T7" fmla="*/ 41 h 97"/>
                <a:gd name="T8" fmla="*/ 26 w 50"/>
                <a:gd name="T9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7">
                  <a:moveTo>
                    <a:pt x="26" y="97"/>
                  </a:moveTo>
                  <a:cubicBezTo>
                    <a:pt x="34" y="92"/>
                    <a:pt x="42" y="87"/>
                    <a:pt x="50" y="82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24" y="11"/>
                    <a:pt x="11" y="26"/>
                    <a:pt x="0" y="41"/>
                  </a:cubicBezTo>
                  <a:lnTo>
                    <a:pt x="26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153">
              <a:extLst>
                <a:ext uri="{FF2B5EF4-FFF2-40B4-BE49-F238E27FC236}">
                  <a16:creationId xmlns:a16="http://schemas.microsoft.com/office/drawing/2014/main" id="{A86DDFEE-2415-46AD-8D37-849A7E8EFE5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226312" y="2164516"/>
              <a:ext cx="80963" cy="97155"/>
            </a:xfrm>
            <a:custGeom>
              <a:avLst/>
              <a:gdLst>
                <a:gd name="T0" fmla="*/ 29 w 55"/>
                <a:gd name="T1" fmla="*/ 0 h 66"/>
                <a:gd name="T2" fmla="*/ 0 w 55"/>
                <a:gd name="T3" fmla="*/ 43 h 66"/>
                <a:gd name="T4" fmla="*/ 35 w 55"/>
                <a:gd name="T5" fmla="*/ 66 h 66"/>
                <a:gd name="T6" fmla="*/ 55 w 55"/>
                <a:gd name="T7" fmla="*/ 53 h 66"/>
                <a:gd name="T8" fmla="*/ 29 w 55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66">
                  <a:moveTo>
                    <a:pt x="29" y="0"/>
                  </a:moveTo>
                  <a:cubicBezTo>
                    <a:pt x="19" y="14"/>
                    <a:pt x="9" y="29"/>
                    <a:pt x="0" y="43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42" y="62"/>
                    <a:pt x="48" y="57"/>
                    <a:pt x="55" y="53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154">
              <a:extLst>
                <a:ext uri="{FF2B5EF4-FFF2-40B4-BE49-F238E27FC236}">
                  <a16:creationId xmlns:a16="http://schemas.microsoft.com/office/drawing/2014/main" id="{D03C0DCC-53DD-48C5-B154-4AC9F600A75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430925" y="2060001"/>
              <a:ext cx="50049" cy="153092"/>
            </a:xfrm>
            <a:custGeom>
              <a:avLst/>
              <a:gdLst>
                <a:gd name="T0" fmla="*/ 0 w 35"/>
                <a:gd name="T1" fmla="*/ 0 h 104"/>
                <a:gd name="T2" fmla="*/ 0 w 35"/>
                <a:gd name="T3" fmla="*/ 87 h 104"/>
                <a:gd name="T4" fmla="*/ 35 w 35"/>
                <a:gd name="T5" fmla="*/ 104 h 104"/>
                <a:gd name="T6" fmla="*/ 35 w 35"/>
                <a:gd name="T7" fmla="*/ 14 h 104"/>
                <a:gd name="T8" fmla="*/ 0 w 35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04">
                  <a:moveTo>
                    <a:pt x="0" y="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35" y="88"/>
                    <a:pt x="35" y="104"/>
                    <a:pt x="35" y="10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155">
              <a:extLst>
                <a:ext uri="{FF2B5EF4-FFF2-40B4-BE49-F238E27FC236}">
                  <a16:creationId xmlns:a16="http://schemas.microsoft.com/office/drawing/2014/main" id="{AA34F6BB-550F-41A9-9636-58B60D8F6E3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157125" y="2238118"/>
              <a:ext cx="110404" cy="69186"/>
            </a:xfrm>
            <a:custGeom>
              <a:avLst/>
              <a:gdLst>
                <a:gd name="T0" fmla="*/ 43 w 76"/>
                <a:gd name="T1" fmla="*/ 0 h 48"/>
                <a:gd name="T2" fmla="*/ 0 w 76"/>
                <a:gd name="T3" fmla="*/ 48 h 48"/>
                <a:gd name="T4" fmla="*/ 76 w 76"/>
                <a:gd name="T5" fmla="*/ 22 h 48"/>
                <a:gd name="T6" fmla="*/ 43 w 76"/>
                <a:gd name="T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48">
                  <a:moveTo>
                    <a:pt x="43" y="0"/>
                  </a:moveTo>
                  <a:cubicBezTo>
                    <a:pt x="27" y="22"/>
                    <a:pt x="16" y="37"/>
                    <a:pt x="0" y="48"/>
                  </a:cubicBezTo>
                  <a:cubicBezTo>
                    <a:pt x="0" y="48"/>
                    <a:pt x="38" y="48"/>
                    <a:pt x="76" y="22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156">
              <a:extLst>
                <a:ext uri="{FF2B5EF4-FFF2-40B4-BE49-F238E27FC236}">
                  <a16:creationId xmlns:a16="http://schemas.microsoft.com/office/drawing/2014/main" id="{11B9DD0A-52D3-4F28-A4FE-8872EDB2F2B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21599" y="2185125"/>
              <a:ext cx="111875" cy="111875"/>
            </a:xfrm>
            <a:custGeom>
              <a:avLst/>
              <a:gdLst>
                <a:gd name="T0" fmla="*/ 70 w 76"/>
                <a:gd name="T1" fmla="*/ 23 h 77"/>
                <a:gd name="T2" fmla="*/ 48 w 76"/>
                <a:gd name="T3" fmla="*/ 0 h 77"/>
                <a:gd name="T4" fmla="*/ 0 w 76"/>
                <a:gd name="T5" fmla="*/ 60 h 77"/>
                <a:gd name="T6" fmla="*/ 19 w 76"/>
                <a:gd name="T7" fmla="*/ 77 h 77"/>
                <a:gd name="T8" fmla="*/ 76 w 76"/>
                <a:gd name="T9" fmla="*/ 28 h 77"/>
                <a:gd name="T10" fmla="*/ 70 w 76"/>
                <a:gd name="T1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77">
                  <a:moveTo>
                    <a:pt x="70" y="23"/>
                  </a:moveTo>
                  <a:cubicBezTo>
                    <a:pt x="60" y="16"/>
                    <a:pt x="53" y="8"/>
                    <a:pt x="48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5" y="66"/>
                    <a:pt x="12" y="72"/>
                    <a:pt x="19" y="77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4" y="26"/>
                    <a:pt x="72" y="25"/>
                    <a:pt x="70" y="23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Freeform 157">
              <a:extLst>
                <a:ext uri="{FF2B5EF4-FFF2-40B4-BE49-F238E27FC236}">
                  <a16:creationId xmlns:a16="http://schemas.microsoft.com/office/drawing/2014/main" id="{F9E0ACE1-E37C-46AA-A1C6-D023C5F7F0C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004033" y="2266087"/>
              <a:ext cx="172229" cy="70658"/>
            </a:xfrm>
            <a:custGeom>
              <a:avLst/>
              <a:gdLst>
                <a:gd name="T0" fmla="*/ 74 w 117"/>
                <a:gd name="T1" fmla="*/ 0 h 48"/>
                <a:gd name="T2" fmla="*/ 0 w 117"/>
                <a:gd name="T3" fmla="*/ 41 h 48"/>
                <a:gd name="T4" fmla="*/ 35 w 117"/>
                <a:gd name="T5" fmla="*/ 48 h 48"/>
                <a:gd name="T6" fmla="*/ 40 w 117"/>
                <a:gd name="T7" fmla="*/ 48 h 48"/>
                <a:gd name="T8" fmla="*/ 117 w 117"/>
                <a:gd name="T9" fmla="*/ 11 h 48"/>
                <a:gd name="T10" fmla="*/ 74 w 117"/>
                <a:gd name="T1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48">
                  <a:moveTo>
                    <a:pt x="74" y="0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13" y="45"/>
                    <a:pt x="26" y="48"/>
                    <a:pt x="35" y="48"/>
                  </a:cubicBezTo>
                  <a:cubicBezTo>
                    <a:pt x="37" y="48"/>
                    <a:pt x="38" y="48"/>
                    <a:pt x="40" y="48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03" y="9"/>
                    <a:pt x="89" y="5"/>
                    <a:pt x="74" y="0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158">
              <a:extLst>
                <a:ext uri="{FF2B5EF4-FFF2-40B4-BE49-F238E27FC236}">
                  <a16:creationId xmlns:a16="http://schemas.microsoft.com/office/drawing/2014/main" id="{220D503D-982E-4DBE-BACB-7F091ED6FA0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59872" y="2233702"/>
              <a:ext cx="136900" cy="86851"/>
            </a:xfrm>
            <a:custGeom>
              <a:avLst/>
              <a:gdLst>
                <a:gd name="T0" fmla="*/ 93 w 93"/>
                <a:gd name="T1" fmla="*/ 19 h 60"/>
                <a:gd name="T2" fmla="*/ 58 w 93"/>
                <a:gd name="T3" fmla="*/ 0 h 60"/>
                <a:gd name="T4" fmla="*/ 0 w 93"/>
                <a:gd name="T5" fmla="*/ 49 h 60"/>
                <a:gd name="T6" fmla="*/ 20 w 93"/>
                <a:gd name="T7" fmla="*/ 60 h 60"/>
                <a:gd name="T8" fmla="*/ 93 w 93"/>
                <a:gd name="T9" fmla="*/ 1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60">
                  <a:moveTo>
                    <a:pt x="93" y="19"/>
                  </a:moveTo>
                  <a:cubicBezTo>
                    <a:pt x="81" y="14"/>
                    <a:pt x="69" y="7"/>
                    <a:pt x="58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7" y="53"/>
                    <a:pt x="13" y="57"/>
                    <a:pt x="20" y="60"/>
                  </a:cubicBezTo>
                  <a:lnTo>
                    <a:pt x="93" y="19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159">
              <a:extLst>
                <a:ext uri="{FF2B5EF4-FFF2-40B4-BE49-F238E27FC236}">
                  <a16:creationId xmlns:a16="http://schemas.microsoft.com/office/drawing/2014/main" id="{B45C9FD3-36A3-42EA-A70F-75F7BE0C86D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095300" y="2267559"/>
              <a:ext cx="172229" cy="67714"/>
            </a:xfrm>
            <a:custGeom>
              <a:avLst/>
              <a:gdLst>
                <a:gd name="T0" fmla="*/ 73 w 118"/>
                <a:gd name="T1" fmla="*/ 11 h 46"/>
                <a:gd name="T2" fmla="*/ 0 w 118"/>
                <a:gd name="T3" fmla="*/ 46 h 46"/>
                <a:gd name="T4" fmla="*/ 118 w 118"/>
                <a:gd name="T5" fmla="*/ 0 h 46"/>
                <a:gd name="T6" fmla="*/ 73 w 118"/>
                <a:gd name="T7" fmla="*/ 1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8" h="46">
                  <a:moveTo>
                    <a:pt x="73" y="11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62" y="40"/>
                    <a:pt x="107" y="7"/>
                    <a:pt x="118" y="0"/>
                  </a:cubicBezTo>
                  <a:cubicBezTo>
                    <a:pt x="106" y="8"/>
                    <a:pt x="90" y="11"/>
                    <a:pt x="73" y="11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Freeform 160">
              <a:extLst>
                <a:ext uri="{FF2B5EF4-FFF2-40B4-BE49-F238E27FC236}">
                  <a16:creationId xmlns:a16="http://schemas.microsoft.com/office/drawing/2014/main" id="{D5DCB9B5-C126-43F8-A90B-0F3B902FE8F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05407" y="2107107"/>
              <a:ext cx="76546" cy="154565"/>
            </a:xfrm>
            <a:custGeom>
              <a:avLst/>
              <a:gdLst>
                <a:gd name="T0" fmla="*/ 52 w 53"/>
                <a:gd name="T1" fmla="*/ 46 h 105"/>
                <a:gd name="T2" fmla="*/ 45 w 53"/>
                <a:gd name="T3" fmla="*/ 0 h 105"/>
                <a:gd name="T4" fmla="*/ 0 w 53"/>
                <a:gd name="T5" fmla="*/ 79 h 105"/>
                <a:gd name="T6" fmla="*/ 7 w 53"/>
                <a:gd name="T7" fmla="*/ 105 h 105"/>
                <a:gd name="T8" fmla="*/ 53 w 53"/>
                <a:gd name="T9" fmla="*/ 47 h 105"/>
                <a:gd name="T10" fmla="*/ 52 w 53"/>
                <a:gd name="T11" fmla="*/ 4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105">
                  <a:moveTo>
                    <a:pt x="52" y="46"/>
                  </a:moveTo>
                  <a:cubicBezTo>
                    <a:pt x="51" y="45"/>
                    <a:pt x="40" y="29"/>
                    <a:pt x="45" y="0"/>
                  </a:cubicBezTo>
                  <a:cubicBezTo>
                    <a:pt x="28" y="28"/>
                    <a:pt x="0" y="74"/>
                    <a:pt x="0" y="79"/>
                  </a:cubicBezTo>
                  <a:cubicBezTo>
                    <a:pt x="0" y="88"/>
                    <a:pt x="3" y="97"/>
                    <a:pt x="7" y="105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7"/>
                    <a:pt x="53" y="46"/>
                    <a:pt x="52" y="46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161">
              <a:extLst>
                <a:ext uri="{FF2B5EF4-FFF2-40B4-BE49-F238E27FC236}">
                  <a16:creationId xmlns:a16="http://schemas.microsoft.com/office/drawing/2014/main" id="{FA7CFC08-8A73-4969-8989-A2097FB8962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77536" y="2048225"/>
              <a:ext cx="78019" cy="100099"/>
            </a:xfrm>
            <a:custGeom>
              <a:avLst/>
              <a:gdLst>
                <a:gd name="T0" fmla="*/ 2 w 53"/>
                <a:gd name="T1" fmla="*/ 68 h 68"/>
                <a:gd name="T2" fmla="*/ 53 w 53"/>
                <a:gd name="T3" fmla="*/ 1 h 68"/>
                <a:gd name="T4" fmla="*/ 11 w 53"/>
                <a:gd name="T5" fmla="*/ 16 h 68"/>
                <a:gd name="T6" fmla="*/ 2 w 53"/>
                <a:gd name="T7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68">
                  <a:moveTo>
                    <a:pt x="2" y="68"/>
                  </a:moveTo>
                  <a:cubicBezTo>
                    <a:pt x="53" y="1"/>
                    <a:pt x="53" y="1"/>
                    <a:pt x="53" y="1"/>
                  </a:cubicBezTo>
                  <a:cubicBezTo>
                    <a:pt x="34" y="0"/>
                    <a:pt x="19" y="5"/>
                    <a:pt x="11" y="16"/>
                  </a:cubicBezTo>
                  <a:cubicBezTo>
                    <a:pt x="0" y="39"/>
                    <a:pt x="0" y="57"/>
                    <a:pt x="2" y="68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162">
              <a:extLst>
                <a:ext uri="{FF2B5EF4-FFF2-40B4-BE49-F238E27FC236}">
                  <a16:creationId xmlns:a16="http://schemas.microsoft.com/office/drawing/2014/main" id="{AAD07C4E-3607-4E0D-9B10-47A0C862EDF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84897" y="2049697"/>
              <a:ext cx="151621" cy="123652"/>
            </a:xfrm>
            <a:custGeom>
              <a:avLst/>
              <a:gdLst>
                <a:gd name="T0" fmla="*/ 59 w 103"/>
                <a:gd name="T1" fmla="*/ 0 h 84"/>
                <a:gd name="T2" fmla="*/ 0 w 103"/>
                <a:gd name="T3" fmla="*/ 77 h 84"/>
                <a:gd name="T4" fmla="*/ 3 w 103"/>
                <a:gd name="T5" fmla="*/ 81 h 84"/>
                <a:gd name="T6" fmla="*/ 3 w 103"/>
                <a:gd name="T7" fmla="*/ 81 h 84"/>
                <a:gd name="T8" fmla="*/ 5 w 103"/>
                <a:gd name="T9" fmla="*/ 84 h 84"/>
                <a:gd name="T10" fmla="*/ 40 w 103"/>
                <a:gd name="T11" fmla="*/ 80 h 84"/>
                <a:gd name="T12" fmla="*/ 103 w 103"/>
                <a:gd name="T13" fmla="*/ 8 h 84"/>
                <a:gd name="T14" fmla="*/ 59 w 103"/>
                <a:gd name="T1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3" h="84">
                  <a:moveTo>
                    <a:pt x="59" y="0"/>
                  </a:moveTo>
                  <a:cubicBezTo>
                    <a:pt x="0" y="77"/>
                    <a:pt x="0" y="77"/>
                    <a:pt x="0" y="77"/>
                  </a:cubicBezTo>
                  <a:cubicBezTo>
                    <a:pt x="2" y="80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4" y="82"/>
                    <a:pt x="4" y="83"/>
                    <a:pt x="5" y="84"/>
                  </a:cubicBezTo>
                  <a:cubicBezTo>
                    <a:pt x="16" y="82"/>
                    <a:pt x="27" y="80"/>
                    <a:pt x="40" y="80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87" y="4"/>
                    <a:pt x="72" y="1"/>
                    <a:pt x="59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163">
              <a:extLst>
                <a:ext uri="{FF2B5EF4-FFF2-40B4-BE49-F238E27FC236}">
                  <a16:creationId xmlns:a16="http://schemas.microsoft.com/office/drawing/2014/main" id="{585BFA97-C79F-4D21-8687-76BADDE5CE4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483414" y="3265603"/>
              <a:ext cx="315017" cy="725717"/>
            </a:xfrm>
            <a:custGeom>
              <a:avLst/>
              <a:gdLst>
                <a:gd name="T0" fmla="*/ 10 w 214"/>
                <a:gd name="T1" fmla="*/ 493 h 493"/>
                <a:gd name="T2" fmla="*/ 0 w 214"/>
                <a:gd name="T3" fmla="*/ 489 h 493"/>
                <a:gd name="T4" fmla="*/ 205 w 214"/>
                <a:gd name="T5" fmla="*/ 0 h 493"/>
                <a:gd name="T6" fmla="*/ 214 w 214"/>
                <a:gd name="T7" fmla="*/ 4 h 493"/>
                <a:gd name="T8" fmla="*/ 10 w 214"/>
                <a:gd name="T9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493">
                  <a:moveTo>
                    <a:pt x="10" y="493"/>
                  </a:moveTo>
                  <a:lnTo>
                    <a:pt x="0" y="489"/>
                  </a:lnTo>
                  <a:lnTo>
                    <a:pt x="205" y="0"/>
                  </a:lnTo>
                  <a:lnTo>
                    <a:pt x="214" y="4"/>
                  </a:lnTo>
                  <a:lnTo>
                    <a:pt x="10" y="493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164">
              <a:extLst>
                <a:ext uri="{FF2B5EF4-FFF2-40B4-BE49-F238E27FC236}">
                  <a16:creationId xmlns:a16="http://schemas.microsoft.com/office/drawing/2014/main" id="{0D9F7AA5-B1E6-42F8-AF75-8B2A01C5606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785182" y="3265603"/>
              <a:ext cx="197254" cy="400395"/>
            </a:xfrm>
            <a:custGeom>
              <a:avLst/>
              <a:gdLst>
                <a:gd name="T0" fmla="*/ 123 w 134"/>
                <a:gd name="T1" fmla="*/ 272 h 272"/>
                <a:gd name="T2" fmla="*/ 0 w 134"/>
                <a:gd name="T3" fmla="*/ 4 h 272"/>
                <a:gd name="T4" fmla="*/ 9 w 134"/>
                <a:gd name="T5" fmla="*/ 0 h 272"/>
                <a:gd name="T6" fmla="*/ 134 w 134"/>
                <a:gd name="T7" fmla="*/ 267 h 272"/>
                <a:gd name="T8" fmla="*/ 123 w 134"/>
                <a:gd name="T9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272">
                  <a:moveTo>
                    <a:pt x="123" y="272"/>
                  </a:moveTo>
                  <a:lnTo>
                    <a:pt x="0" y="4"/>
                  </a:lnTo>
                  <a:lnTo>
                    <a:pt x="9" y="0"/>
                  </a:lnTo>
                  <a:lnTo>
                    <a:pt x="134" y="267"/>
                  </a:lnTo>
                  <a:lnTo>
                    <a:pt x="123" y="27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Line 165">
              <a:extLst>
                <a:ext uri="{FF2B5EF4-FFF2-40B4-BE49-F238E27FC236}">
                  <a16:creationId xmlns:a16="http://schemas.microsoft.com/office/drawing/2014/main" id="{5905DDA6-AED1-4FA3-9C0C-1AF72583B007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 flipH="1">
              <a:off x="9490774" y="3325958"/>
              <a:ext cx="643283" cy="662419"/>
            </a:xfrm>
            <a:prstGeom prst="line">
              <a:avLst/>
            </a:prstGeom>
            <a:noFill/>
            <a:ln w="19050" cap="flat">
              <a:solidFill>
                <a:srgbClr val="0078D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Freeform 166">
              <a:extLst>
                <a:ext uri="{FF2B5EF4-FFF2-40B4-BE49-F238E27FC236}">
                  <a16:creationId xmlns:a16="http://schemas.microsoft.com/office/drawing/2014/main" id="{D91E2E53-EE80-467D-B7EC-52FDEB78F8A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487830" y="3981016"/>
              <a:ext cx="276744" cy="108931"/>
            </a:xfrm>
            <a:custGeom>
              <a:avLst/>
              <a:gdLst>
                <a:gd name="T0" fmla="*/ 184 w 188"/>
                <a:gd name="T1" fmla="*/ 74 h 74"/>
                <a:gd name="T2" fmla="*/ 0 w 188"/>
                <a:gd name="T3" fmla="*/ 11 h 74"/>
                <a:gd name="T4" fmla="*/ 4 w 188"/>
                <a:gd name="T5" fmla="*/ 0 h 74"/>
                <a:gd name="T6" fmla="*/ 188 w 188"/>
                <a:gd name="T7" fmla="*/ 63 h 74"/>
                <a:gd name="T8" fmla="*/ 184 w 188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74">
                  <a:moveTo>
                    <a:pt x="184" y="74"/>
                  </a:moveTo>
                  <a:lnTo>
                    <a:pt x="0" y="11"/>
                  </a:lnTo>
                  <a:lnTo>
                    <a:pt x="4" y="0"/>
                  </a:lnTo>
                  <a:lnTo>
                    <a:pt x="188" y="63"/>
                  </a:lnTo>
                  <a:lnTo>
                    <a:pt x="184" y="74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167">
              <a:extLst>
                <a:ext uri="{FF2B5EF4-FFF2-40B4-BE49-F238E27FC236}">
                  <a16:creationId xmlns:a16="http://schemas.microsoft.com/office/drawing/2014/main" id="{6F5ADDD8-9639-4827-9D32-E2B00C26BEA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426004" y="3261188"/>
              <a:ext cx="369483" cy="169285"/>
            </a:xfrm>
            <a:custGeom>
              <a:avLst/>
              <a:gdLst>
                <a:gd name="T0" fmla="*/ 5 w 251"/>
                <a:gd name="T1" fmla="*/ 115 h 115"/>
                <a:gd name="T2" fmla="*/ 0 w 251"/>
                <a:gd name="T3" fmla="*/ 105 h 115"/>
                <a:gd name="T4" fmla="*/ 247 w 251"/>
                <a:gd name="T5" fmla="*/ 0 h 115"/>
                <a:gd name="T6" fmla="*/ 251 w 251"/>
                <a:gd name="T7" fmla="*/ 10 h 115"/>
                <a:gd name="T8" fmla="*/ 5 w 251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115">
                  <a:moveTo>
                    <a:pt x="5" y="115"/>
                  </a:moveTo>
                  <a:lnTo>
                    <a:pt x="0" y="105"/>
                  </a:lnTo>
                  <a:lnTo>
                    <a:pt x="247" y="0"/>
                  </a:lnTo>
                  <a:lnTo>
                    <a:pt x="251" y="10"/>
                  </a:lnTo>
                  <a:lnTo>
                    <a:pt x="5" y="115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Oval 168">
              <a:extLst>
                <a:ext uri="{FF2B5EF4-FFF2-40B4-BE49-F238E27FC236}">
                  <a16:creationId xmlns:a16="http://schemas.microsoft.com/office/drawing/2014/main" id="{D1A83F3E-C691-4181-936C-C18FAE4C35E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418644" y="3917718"/>
              <a:ext cx="142789" cy="142789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Freeform 169">
              <a:extLst>
                <a:ext uri="{FF2B5EF4-FFF2-40B4-BE49-F238E27FC236}">
                  <a16:creationId xmlns:a16="http://schemas.microsoft.com/office/drawing/2014/main" id="{782103B9-B480-410F-8CE9-B7A6DEFF5C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364178" y="3386311"/>
              <a:ext cx="1083423" cy="563793"/>
            </a:xfrm>
            <a:custGeom>
              <a:avLst/>
              <a:gdLst>
                <a:gd name="T0" fmla="*/ 602 w 740"/>
                <a:gd name="T1" fmla="*/ 109 h 385"/>
                <a:gd name="T2" fmla="*/ 497 w 740"/>
                <a:gd name="T3" fmla="*/ 158 h 385"/>
                <a:gd name="T4" fmla="*/ 314 w 740"/>
                <a:gd name="T5" fmla="*/ 0 h 385"/>
                <a:gd name="T6" fmla="*/ 129 w 740"/>
                <a:gd name="T7" fmla="*/ 185 h 385"/>
                <a:gd name="T8" fmla="*/ 129 w 740"/>
                <a:gd name="T9" fmla="*/ 188 h 385"/>
                <a:gd name="T10" fmla="*/ 101 w 740"/>
                <a:gd name="T11" fmla="*/ 184 h 385"/>
                <a:gd name="T12" fmla="*/ 0 w 740"/>
                <a:gd name="T13" fmla="*/ 284 h 385"/>
                <a:gd name="T14" fmla="*/ 101 w 740"/>
                <a:gd name="T15" fmla="*/ 385 h 385"/>
                <a:gd name="T16" fmla="*/ 602 w 740"/>
                <a:gd name="T17" fmla="*/ 385 h 385"/>
                <a:gd name="T18" fmla="*/ 740 w 740"/>
                <a:gd name="T19" fmla="*/ 247 h 385"/>
                <a:gd name="T20" fmla="*/ 602 w 740"/>
                <a:gd name="T21" fmla="*/ 109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0" h="385">
                  <a:moveTo>
                    <a:pt x="602" y="109"/>
                  </a:moveTo>
                  <a:cubicBezTo>
                    <a:pt x="560" y="109"/>
                    <a:pt x="522" y="128"/>
                    <a:pt x="497" y="158"/>
                  </a:cubicBezTo>
                  <a:cubicBezTo>
                    <a:pt x="484" y="69"/>
                    <a:pt x="407" y="0"/>
                    <a:pt x="314" y="0"/>
                  </a:cubicBezTo>
                  <a:cubicBezTo>
                    <a:pt x="211" y="0"/>
                    <a:pt x="129" y="83"/>
                    <a:pt x="129" y="185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20" y="185"/>
                    <a:pt x="110" y="184"/>
                    <a:pt x="101" y="184"/>
                  </a:cubicBezTo>
                  <a:cubicBezTo>
                    <a:pt x="45" y="184"/>
                    <a:pt x="0" y="229"/>
                    <a:pt x="0" y="284"/>
                  </a:cubicBezTo>
                  <a:cubicBezTo>
                    <a:pt x="0" y="340"/>
                    <a:pt x="45" y="385"/>
                    <a:pt x="101" y="385"/>
                  </a:cubicBezTo>
                  <a:cubicBezTo>
                    <a:pt x="110" y="385"/>
                    <a:pt x="584" y="385"/>
                    <a:pt x="602" y="385"/>
                  </a:cubicBezTo>
                  <a:cubicBezTo>
                    <a:pt x="679" y="385"/>
                    <a:pt x="740" y="323"/>
                    <a:pt x="740" y="247"/>
                  </a:cubicBezTo>
                  <a:cubicBezTo>
                    <a:pt x="740" y="171"/>
                    <a:pt x="679" y="109"/>
                    <a:pt x="602" y="10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Freeform 170">
              <a:extLst>
                <a:ext uri="{FF2B5EF4-FFF2-40B4-BE49-F238E27FC236}">
                  <a16:creationId xmlns:a16="http://schemas.microsoft.com/office/drawing/2014/main" id="{367E1CF8-2D0B-4E3E-86AC-E0FCBB34A45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368595" y="3552652"/>
              <a:ext cx="1079007" cy="397451"/>
            </a:xfrm>
            <a:custGeom>
              <a:avLst/>
              <a:gdLst>
                <a:gd name="T0" fmla="*/ 632 w 737"/>
                <a:gd name="T1" fmla="*/ 0 h 272"/>
                <a:gd name="T2" fmla="*/ 632 w 737"/>
                <a:gd name="T3" fmla="*/ 42 h 272"/>
                <a:gd name="T4" fmla="*/ 481 w 737"/>
                <a:gd name="T5" fmla="*/ 193 h 272"/>
                <a:gd name="T6" fmla="*/ 0 w 737"/>
                <a:gd name="T7" fmla="*/ 193 h 272"/>
                <a:gd name="T8" fmla="*/ 98 w 737"/>
                <a:gd name="T9" fmla="*/ 272 h 272"/>
                <a:gd name="T10" fmla="*/ 599 w 737"/>
                <a:gd name="T11" fmla="*/ 272 h 272"/>
                <a:gd name="T12" fmla="*/ 737 w 737"/>
                <a:gd name="T13" fmla="*/ 134 h 272"/>
                <a:gd name="T14" fmla="*/ 632 w 737"/>
                <a:gd name="T15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7" h="272">
                  <a:moveTo>
                    <a:pt x="632" y="0"/>
                  </a:moveTo>
                  <a:cubicBezTo>
                    <a:pt x="632" y="42"/>
                    <a:pt x="632" y="42"/>
                    <a:pt x="632" y="42"/>
                  </a:cubicBezTo>
                  <a:cubicBezTo>
                    <a:pt x="632" y="125"/>
                    <a:pt x="564" y="193"/>
                    <a:pt x="481" y="193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9" y="238"/>
                    <a:pt x="50" y="272"/>
                    <a:pt x="98" y="272"/>
                  </a:cubicBezTo>
                  <a:cubicBezTo>
                    <a:pt x="107" y="272"/>
                    <a:pt x="581" y="272"/>
                    <a:pt x="599" y="272"/>
                  </a:cubicBezTo>
                  <a:cubicBezTo>
                    <a:pt x="676" y="272"/>
                    <a:pt x="737" y="210"/>
                    <a:pt x="737" y="134"/>
                  </a:cubicBezTo>
                  <a:cubicBezTo>
                    <a:pt x="737" y="69"/>
                    <a:pt x="692" y="14"/>
                    <a:pt x="632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Freeform 171">
              <a:extLst>
                <a:ext uri="{FF2B5EF4-FFF2-40B4-BE49-F238E27FC236}">
                  <a16:creationId xmlns:a16="http://schemas.microsoft.com/office/drawing/2014/main" id="{FD751BEC-00C5-40E4-A669-887B4EB713D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426004" y="3324485"/>
              <a:ext cx="836120" cy="765462"/>
            </a:xfrm>
            <a:custGeom>
              <a:avLst/>
              <a:gdLst>
                <a:gd name="T0" fmla="*/ 229 w 571"/>
                <a:gd name="T1" fmla="*/ 523 h 523"/>
                <a:gd name="T2" fmla="*/ 226 w 571"/>
                <a:gd name="T3" fmla="*/ 522 h 523"/>
                <a:gd name="T4" fmla="*/ 223 w 571"/>
                <a:gd name="T5" fmla="*/ 517 h 523"/>
                <a:gd name="T6" fmla="*/ 265 w 571"/>
                <a:gd name="T7" fmla="*/ 228 h 523"/>
                <a:gd name="T8" fmla="*/ 0 w 571"/>
                <a:gd name="T9" fmla="*/ 72 h 523"/>
                <a:gd name="T10" fmla="*/ 6 w 571"/>
                <a:gd name="T11" fmla="*/ 62 h 523"/>
                <a:gd name="T12" fmla="*/ 275 w 571"/>
                <a:gd name="T13" fmla="*/ 220 h 523"/>
                <a:gd name="T14" fmla="*/ 277 w 571"/>
                <a:gd name="T15" fmla="*/ 226 h 523"/>
                <a:gd name="T16" fmla="*/ 237 w 571"/>
                <a:gd name="T17" fmla="*/ 505 h 523"/>
                <a:gd name="T18" fmla="*/ 559 w 571"/>
                <a:gd name="T19" fmla="*/ 288 h 523"/>
                <a:gd name="T20" fmla="*/ 479 w 571"/>
                <a:gd name="T21" fmla="*/ 3 h 523"/>
                <a:gd name="T22" fmla="*/ 490 w 571"/>
                <a:gd name="T23" fmla="*/ 0 h 523"/>
                <a:gd name="T24" fmla="*/ 571 w 571"/>
                <a:gd name="T25" fmla="*/ 289 h 523"/>
                <a:gd name="T26" fmla="*/ 568 w 571"/>
                <a:gd name="T27" fmla="*/ 296 h 523"/>
                <a:gd name="T28" fmla="*/ 232 w 571"/>
                <a:gd name="T29" fmla="*/ 522 h 523"/>
                <a:gd name="T30" fmla="*/ 229 w 571"/>
                <a:gd name="T31" fmla="*/ 523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71" h="523">
                  <a:moveTo>
                    <a:pt x="229" y="523"/>
                  </a:moveTo>
                  <a:cubicBezTo>
                    <a:pt x="228" y="523"/>
                    <a:pt x="227" y="523"/>
                    <a:pt x="226" y="522"/>
                  </a:cubicBezTo>
                  <a:cubicBezTo>
                    <a:pt x="224" y="521"/>
                    <a:pt x="223" y="519"/>
                    <a:pt x="223" y="517"/>
                  </a:cubicBezTo>
                  <a:cubicBezTo>
                    <a:pt x="265" y="228"/>
                    <a:pt x="265" y="228"/>
                    <a:pt x="265" y="228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7" y="221"/>
                    <a:pt x="278" y="223"/>
                    <a:pt x="277" y="226"/>
                  </a:cubicBezTo>
                  <a:cubicBezTo>
                    <a:pt x="237" y="505"/>
                    <a:pt x="237" y="505"/>
                    <a:pt x="237" y="505"/>
                  </a:cubicBezTo>
                  <a:cubicBezTo>
                    <a:pt x="559" y="288"/>
                    <a:pt x="559" y="288"/>
                    <a:pt x="559" y="288"/>
                  </a:cubicBezTo>
                  <a:cubicBezTo>
                    <a:pt x="479" y="3"/>
                    <a:pt x="479" y="3"/>
                    <a:pt x="479" y="3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571" y="289"/>
                    <a:pt x="571" y="289"/>
                    <a:pt x="571" y="289"/>
                  </a:cubicBezTo>
                  <a:cubicBezTo>
                    <a:pt x="571" y="292"/>
                    <a:pt x="571" y="294"/>
                    <a:pt x="568" y="296"/>
                  </a:cubicBezTo>
                  <a:cubicBezTo>
                    <a:pt x="232" y="522"/>
                    <a:pt x="232" y="522"/>
                    <a:pt x="232" y="522"/>
                  </a:cubicBezTo>
                  <a:cubicBezTo>
                    <a:pt x="231" y="523"/>
                    <a:pt x="230" y="523"/>
                    <a:pt x="229" y="523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Oval 172">
              <a:extLst>
                <a:ext uri="{FF2B5EF4-FFF2-40B4-BE49-F238E27FC236}">
                  <a16:creationId xmlns:a16="http://schemas.microsoft.com/office/drawing/2014/main" id="{85F87981-224D-4D2D-9E3D-904773BEBD1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721885" y="3196418"/>
              <a:ext cx="141316" cy="141316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Freeform 173">
              <a:extLst>
                <a:ext uri="{FF2B5EF4-FFF2-40B4-BE49-F238E27FC236}">
                  <a16:creationId xmlns:a16="http://schemas.microsoft.com/office/drawing/2014/main" id="{97C14FCB-D8A2-46BD-9C14-E2937E773ED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820511" y="3645390"/>
              <a:ext cx="435724" cy="113348"/>
            </a:xfrm>
            <a:custGeom>
              <a:avLst/>
              <a:gdLst>
                <a:gd name="T0" fmla="*/ 293 w 296"/>
                <a:gd name="T1" fmla="*/ 77 h 77"/>
                <a:gd name="T2" fmla="*/ 0 w 296"/>
                <a:gd name="T3" fmla="*/ 12 h 77"/>
                <a:gd name="T4" fmla="*/ 3 w 296"/>
                <a:gd name="T5" fmla="*/ 0 h 77"/>
                <a:gd name="T6" fmla="*/ 296 w 296"/>
                <a:gd name="T7" fmla="*/ 66 h 77"/>
                <a:gd name="T8" fmla="*/ 293 w 296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6" h="77">
                  <a:moveTo>
                    <a:pt x="293" y="77"/>
                  </a:moveTo>
                  <a:lnTo>
                    <a:pt x="0" y="12"/>
                  </a:lnTo>
                  <a:lnTo>
                    <a:pt x="3" y="0"/>
                  </a:lnTo>
                  <a:lnTo>
                    <a:pt x="296" y="66"/>
                  </a:lnTo>
                  <a:lnTo>
                    <a:pt x="293" y="77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Freeform 174">
              <a:extLst>
                <a:ext uri="{FF2B5EF4-FFF2-40B4-BE49-F238E27FC236}">
                  <a16:creationId xmlns:a16="http://schemas.microsoft.com/office/drawing/2014/main" id="{3ED21029-0290-44EB-A3D4-625963422C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423060" y="3418696"/>
              <a:ext cx="345930" cy="666835"/>
            </a:xfrm>
            <a:custGeom>
              <a:avLst/>
              <a:gdLst>
                <a:gd name="T0" fmla="*/ 225 w 235"/>
                <a:gd name="T1" fmla="*/ 453 h 453"/>
                <a:gd name="T2" fmla="*/ 0 w 235"/>
                <a:gd name="T3" fmla="*/ 5 h 453"/>
                <a:gd name="T4" fmla="*/ 10 w 235"/>
                <a:gd name="T5" fmla="*/ 0 h 453"/>
                <a:gd name="T6" fmla="*/ 235 w 235"/>
                <a:gd name="T7" fmla="*/ 448 h 453"/>
                <a:gd name="T8" fmla="*/ 225 w 235"/>
                <a:gd name="T9" fmla="*/ 453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453">
                  <a:moveTo>
                    <a:pt x="225" y="453"/>
                  </a:moveTo>
                  <a:lnTo>
                    <a:pt x="0" y="5"/>
                  </a:lnTo>
                  <a:lnTo>
                    <a:pt x="10" y="0"/>
                  </a:lnTo>
                  <a:lnTo>
                    <a:pt x="235" y="448"/>
                  </a:lnTo>
                  <a:lnTo>
                    <a:pt x="225" y="453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Freeform 175">
              <a:extLst>
                <a:ext uri="{FF2B5EF4-FFF2-40B4-BE49-F238E27FC236}">
                  <a16:creationId xmlns:a16="http://schemas.microsoft.com/office/drawing/2014/main" id="{BC0065E3-F034-491B-8AD2-80426E1D271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813152" y="3343622"/>
              <a:ext cx="304713" cy="319434"/>
            </a:xfrm>
            <a:custGeom>
              <a:avLst/>
              <a:gdLst>
                <a:gd name="T0" fmla="*/ 7 w 208"/>
                <a:gd name="T1" fmla="*/ 218 h 218"/>
                <a:gd name="T2" fmla="*/ 3 w 208"/>
                <a:gd name="T3" fmla="*/ 216 h 218"/>
                <a:gd name="T4" fmla="*/ 3 w 208"/>
                <a:gd name="T5" fmla="*/ 208 h 218"/>
                <a:gd name="T6" fmla="*/ 198 w 208"/>
                <a:gd name="T7" fmla="*/ 3 h 218"/>
                <a:gd name="T8" fmla="*/ 206 w 208"/>
                <a:gd name="T9" fmla="*/ 2 h 218"/>
                <a:gd name="T10" fmla="*/ 206 w 208"/>
                <a:gd name="T11" fmla="*/ 11 h 218"/>
                <a:gd name="T12" fmla="*/ 11 w 208"/>
                <a:gd name="T13" fmla="*/ 216 h 218"/>
                <a:gd name="T14" fmla="*/ 7 w 208"/>
                <a:gd name="T1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8" h="218">
                  <a:moveTo>
                    <a:pt x="7" y="218"/>
                  </a:moveTo>
                  <a:cubicBezTo>
                    <a:pt x="5" y="218"/>
                    <a:pt x="4" y="217"/>
                    <a:pt x="3" y="216"/>
                  </a:cubicBezTo>
                  <a:cubicBezTo>
                    <a:pt x="0" y="214"/>
                    <a:pt x="0" y="210"/>
                    <a:pt x="3" y="208"/>
                  </a:cubicBezTo>
                  <a:cubicBezTo>
                    <a:pt x="198" y="3"/>
                    <a:pt x="198" y="3"/>
                    <a:pt x="198" y="3"/>
                  </a:cubicBezTo>
                  <a:cubicBezTo>
                    <a:pt x="200" y="0"/>
                    <a:pt x="204" y="0"/>
                    <a:pt x="206" y="2"/>
                  </a:cubicBezTo>
                  <a:cubicBezTo>
                    <a:pt x="208" y="5"/>
                    <a:pt x="208" y="8"/>
                    <a:pt x="206" y="11"/>
                  </a:cubicBezTo>
                  <a:cubicBezTo>
                    <a:pt x="11" y="216"/>
                    <a:pt x="11" y="216"/>
                    <a:pt x="11" y="216"/>
                  </a:cubicBezTo>
                  <a:cubicBezTo>
                    <a:pt x="10" y="217"/>
                    <a:pt x="8" y="218"/>
                    <a:pt x="7" y="218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Oval 176">
              <a:extLst>
                <a:ext uri="{FF2B5EF4-FFF2-40B4-BE49-F238E27FC236}">
                  <a16:creationId xmlns:a16="http://schemas.microsoft.com/office/drawing/2014/main" id="{AD3B2C2E-6E0D-421D-B083-F28C8DC274B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0064870" y="3256771"/>
              <a:ext cx="141316" cy="141316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Freeform 177">
              <a:extLst>
                <a:ext uri="{FF2B5EF4-FFF2-40B4-BE49-F238E27FC236}">
                  <a16:creationId xmlns:a16="http://schemas.microsoft.com/office/drawing/2014/main" id="{6DF8AF47-2164-4DE0-90EB-5E2826A6C70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88522" y="3748433"/>
              <a:ext cx="73602" cy="229639"/>
            </a:xfrm>
            <a:custGeom>
              <a:avLst/>
              <a:gdLst>
                <a:gd name="T0" fmla="*/ 11 w 50"/>
                <a:gd name="T1" fmla="*/ 156 h 156"/>
                <a:gd name="T2" fmla="*/ 0 w 50"/>
                <a:gd name="T3" fmla="*/ 153 h 156"/>
                <a:gd name="T4" fmla="*/ 39 w 50"/>
                <a:gd name="T5" fmla="*/ 0 h 156"/>
                <a:gd name="T6" fmla="*/ 50 w 50"/>
                <a:gd name="T7" fmla="*/ 3 h 156"/>
                <a:gd name="T8" fmla="*/ 11 w 50"/>
                <a:gd name="T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156">
                  <a:moveTo>
                    <a:pt x="11" y="156"/>
                  </a:moveTo>
                  <a:lnTo>
                    <a:pt x="0" y="153"/>
                  </a:lnTo>
                  <a:lnTo>
                    <a:pt x="39" y="0"/>
                  </a:lnTo>
                  <a:lnTo>
                    <a:pt x="50" y="3"/>
                  </a:lnTo>
                  <a:lnTo>
                    <a:pt x="11" y="156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Freeform 178">
              <a:extLst>
                <a:ext uri="{FF2B5EF4-FFF2-40B4-BE49-F238E27FC236}">
                  <a16:creationId xmlns:a16="http://schemas.microsoft.com/office/drawing/2014/main" id="{822A27D3-083B-41BB-BDF9-BBD4DAE044D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817567" y="3648334"/>
              <a:ext cx="385675" cy="334154"/>
            </a:xfrm>
            <a:custGeom>
              <a:avLst/>
              <a:gdLst>
                <a:gd name="T0" fmla="*/ 254 w 262"/>
                <a:gd name="T1" fmla="*/ 227 h 227"/>
                <a:gd name="T2" fmla="*/ 0 w 262"/>
                <a:gd name="T3" fmla="*/ 8 h 227"/>
                <a:gd name="T4" fmla="*/ 7 w 262"/>
                <a:gd name="T5" fmla="*/ 0 h 227"/>
                <a:gd name="T6" fmla="*/ 262 w 262"/>
                <a:gd name="T7" fmla="*/ 218 h 227"/>
                <a:gd name="T8" fmla="*/ 254 w 262"/>
                <a:gd name="T9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7">
                  <a:moveTo>
                    <a:pt x="254" y="227"/>
                  </a:moveTo>
                  <a:lnTo>
                    <a:pt x="0" y="8"/>
                  </a:lnTo>
                  <a:lnTo>
                    <a:pt x="7" y="0"/>
                  </a:lnTo>
                  <a:lnTo>
                    <a:pt x="262" y="218"/>
                  </a:lnTo>
                  <a:lnTo>
                    <a:pt x="254" y="227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Oval 179">
              <a:extLst>
                <a:ext uri="{FF2B5EF4-FFF2-40B4-BE49-F238E27FC236}">
                  <a16:creationId xmlns:a16="http://schemas.microsoft.com/office/drawing/2014/main" id="{C28FE4FA-FAD9-41ED-81A9-161B0CFBC9E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358290" y="3350982"/>
              <a:ext cx="142789" cy="142789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Oval 180">
              <a:extLst>
                <a:ext uri="{FF2B5EF4-FFF2-40B4-BE49-F238E27FC236}">
                  <a16:creationId xmlns:a16="http://schemas.microsoft.com/office/drawing/2014/main" id="{73FA8D35-FD0D-48FB-8564-9D046E26EAE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0182634" y="3679248"/>
              <a:ext cx="142789" cy="141316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Oval 181">
              <a:extLst>
                <a:ext uri="{FF2B5EF4-FFF2-40B4-BE49-F238E27FC236}">
                  <a16:creationId xmlns:a16="http://schemas.microsoft.com/office/drawing/2014/main" id="{E06C1C09-DB54-49F1-AE8F-BECD7D4751A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0125225" y="3904470"/>
              <a:ext cx="142789" cy="142789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Oval 182">
              <a:extLst>
                <a:ext uri="{FF2B5EF4-FFF2-40B4-BE49-F238E27FC236}">
                  <a16:creationId xmlns:a16="http://schemas.microsoft.com/office/drawing/2014/main" id="{54800BFC-CBDF-4623-9057-85298578D54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689500" y="4011929"/>
              <a:ext cx="142789" cy="141316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Oval 183">
              <a:extLst>
                <a:ext uri="{FF2B5EF4-FFF2-40B4-BE49-F238E27FC236}">
                  <a16:creationId xmlns:a16="http://schemas.microsoft.com/office/drawing/2014/main" id="{00786BCA-EB4A-4616-83D2-819D4D700C6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752797" y="3582093"/>
              <a:ext cx="141316" cy="142789"/>
            </a:xfrm>
            <a:prstGeom prst="ellipse">
              <a:avLst/>
            </a:prstGeom>
            <a:solidFill>
              <a:srgbClr val="004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Freeform 184">
              <a:extLst>
                <a:ext uri="{FF2B5EF4-FFF2-40B4-BE49-F238E27FC236}">
                  <a16:creationId xmlns:a16="http://schemas.microsoft.com/office/drawing/2014/main" id="{B2092127-55A9-4FF6-ACC3-4E4D9DA7F70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820511" y="2706227"/>
              <a:ext cx="114819" cy="113348"/>
            </a:xfrm>
            <a:custGeom>
              <a:avLst/>
              <a:gdLst>
                <a:gd name="T0" fmla="*/ 39 w 78"/>
                <a:gd name="T1" fmla="*/ 14 h 78"/>
                <a:gd name="T2" fmla="*/ 64 w 78"/>
                <a:gd name="T3" fmla="*/ 39 h 78"/>
                <a:gd name="T4" fmla="*/ 39 w 78"/>
                <a:gd name="T5" fmla="*/ 64 h 78"/>
                <a:gd name="T6" fmla="*/ 14 w 78"/>
                <a:gd name="T7" fmla="*/ 39 h 78"/>
                <a:gd name="T8" fmla="*/ 39 w 78"/>
                <a:gd name="T9" fmla="*/ 14 h 78"/>
                <a:gd name="T10" fmla="*/ 39 w 78"/>
                <a:gd name="T11" fmla="*/ 0 h 78"/>
                <a:gd name="T12" fmla="*/ 0 w 78"/>
                <a:gd name="T13" fmla="*/ 39 h 78"/>
                <a:gd name="T14" fmla="*/ 39 w 78"/>
                <a:gd name="T15" fmla="*/ 78 h 78"/>
                <a:gd name="T16" fmla="*/ 78 w 78"/>
                <a:gd name="T17" fmla="*/ 39 h 78"/>
                <a:gd name="T18" fmla="*/ 39 w 78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39" y="14"/>
                  </a:moveTo>
                  <a:cubicBezTo>
                    <a:pt x="53" y="14"/>
                    <a:pt x="64" y="25"/>
                    <a:pt x="64" y="39"/>
                  </a:cubicBezTo>
                  <a:cubicBezTo>
                    <a:pt x="64" y="53"/>
                    <a:pt x="53" y="64"/>
                    <a:pt x="39" y="64"/>
                  </a:cubicBezTo>
                  <a:cubicBezTo>
                    <a:pt x="25" y="64"/>
                    <a:pt x="14" y="53"/>
                    <a:pt x="14" y="39"/>
                  </a:cubicBezTo>
                  <a:cubicBezTo>
                    <a:pt x="14" y="25"/>
                    <a:pt x="25" y="14"/>
                    <a:pt x="39" y="14"/>
                  </a:cubicBezTo>
                  <a:moveTo>
                    <a:pt x="39" y="0"/>
                  </a:moveTo>
                  <a:cubicBezTo>
                    <a:pt x="17" y="0"/>
                    <a:pt x="0" y="17"/>
                    <a:pt x="0" y="39"/>
                  </a:cubicBezTo>
                  <a:cubicBezTo>
                    <a:pt x="0" y="60"/>
                    <a:pt x="17" y="78"/>
                    <a:pt x="39" y="78"/>
                  </a:cubicBezTo>
                  <a:cubicBezTo>
                    <a:pt x="60" y="78"/>
                    <a:pt x="78" y="60"/>
                    <a:pt x="78" y="39"/>
                  </a:cubicBezTo>
                  <a:cubicBezTo>
                    <a:pt x="78" y="17"/>
                    <a:pt x="60" y="0"/>
                    <a:pt x="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Freeform 185">
              <a:extLst>
                <a:ext uri="{FF2B5EF4-FFF2-40B4-BE49-F238E27FC236}">
                  <a16:creationId xmlns:a16="http://schemas.microsoft.com/office/drawing/2014/main" id="{362E507A-B557-4DF8-B16D-30794F31BE0B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651227" y="2659122"/>
              <a:ext cx="114819" cy="114819"/>
            </a:xfrm>
            <a:custGeom>
              <a:avLst/>
              <a:gdLst>
                <a:gd name="T0" fmla="*/ 39 w 78"/>
                <a:gd name="T1" fmla="*/ 14 h 78"/>
                <a:gd name="T2" fmla="*/ 64 w 78"/>
                <a:gd name="T3" fmla="*/ 39 h 78"/>
                <a:gd name="T4" fmla="*/ 39 w 78"/>
                <a:gd name="T5" fmla="*/ 64 h 78"/>
                <a:gd name="T6" fmla="*/ 14 w 78"/>
                <a:gd name="T7" fmla="*/ 39 h 78"/>
                <a:gd name="T8" fmla="*/ 39 w 78"/>
                <a:gd name="T9" fmla="*/ 14 h 78"/>
                <a:gd name="T10" fmla="*/ 39 w 78"/>
                <a:gd name="T11" fmla="*/ 0 h 78"/>
                <a:gd name="T12" fmla="*/ 0 w 78"/>
                <a:gd name="T13" fmla="*/ 39 h 78"/>
                <a:gd name="T14" fmla="*/ 39 w 78"/>
                <a:gd name="T15" fmla="*/ 78 h 78"/>
                <a:gd name="T16" fmla="*/ 78 w 78"/>
                <a:gd name="T17" fmla="*/ 39 h 78"/>
                <a:gd name="T18" fmla="*/ 39 w 78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39" y="14"/>
                  </a:moveTo>
                  <a:cubicBezTo>
                    <a:pt x="53" y="14"/>
                    <a:pt x="64" y="25"/>
                    <a:pt x="64" y="39"/>
                  </a:cubicBezTo>
                  <a:cubicBezTo>
                    <a:pt x="64" y="53"/>
                    <a:pt x="53" y="64"/>
                    <a:pt x="39" y="64"/>
                  </a:cubicBezTo>
                  <a:cubicBezTo>
                    <a:pt x="25" y="64"/>
                    <a:pt x="14" y="53"/>
                    <a:pt x="14" y="39"/>
                  </a:cubicBezTo>
                  <a:cubicBezTo>
                    <a:pt x="14" y="25"/>
                    <a:pt x="25" y="14"/>
                    <a:pt x="39" y="14"/>
                  </a:cubicBezTo>
                  <a:moveTo>
                    <a:pt x="39" y="0"/>
                  </a:moveTo>
                  <a:cubicBezTo>
                    <a:pt x="17" y="0"/>
                    <a:pt x="0" y="17"/>
                    <a:pt x="0" y="39"/>
                  </a:cubicBezTo>
                  <a:cubicBezTo>
                    <a:pt x="0" y="60"/>
                    <a:pt x="17" y="78"/>
                    <a:pt x="39" y="78"/>
                  </a:cubicBezTo>
                  <a:cubicBezTo>
                    <a:pt x="60" y="78"/>
                    <a:pt x="78" y="60"/>
                    <a:pt x="78" y="39"/>
                  </a:cubicBezTo>
                  <a:cubicBezTo>
                    <a:pt x="78" y="17"/>
                    <a:pt x="60" y="0"/>
                    <a:pt x="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Freeform 186">
              <a:extLst>
                <a:ext uri="{FF2B5EF4-FFF2-40B4-BE49-F238E27FC236}">
                  <a16:creationId xmlns:a16="http://schemas.microsoft.com/office/drawing/2014/main" id="{4EDAA63D-ECF7-4F31-BCB4-23310119D37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92345" y="2797494"/>
              <a:ext cx="401868" cy="164869"/>
            </a:xfrm>
            <a:custGeom>
              <a:avLst/>
              <a:gdLst>
                <a:gd name="T0" fmla="*/ 238 w 274"/>
                <a:gd name="T1" fmla="*/ 32 h 112"/>
                <a:gd name="T2" fmla="*/ 157 w 274"/>
                <a:gd name="T3" fmla="*/ 32 h 112"/>
                <a:gd name="T4" fmla="*/ 122 w 274"/>
                <a:gd name="T5" fmla="*/ 0 h 112"/>
                <a:gd name="T6" fmla="*/ 36 w 274"/>
                <a:gd name="T7" fmla="*/ 0 h 112"/>
                <a:gd name="T8" fmla="*/ 0 w 274"/>
                <a:gd name="T9" fmla="*/ 36 h 112"/>
                <a:gd name="T10" fmla="*/ 0 w 274"/>
                <a:gd name="T11" fmla="*/ 80 h 112"/>
                <a:gd name="T12" fmla="*/ 116 w 274"/>
                <a:gd name="T13" fmla="*/ 80 h 112"/>
                <a:gd name="T14" fmla="*/ 116 w 274"/>
                <a:gd name="T15" fmla="*/ 112 h 112"/>
                <a:gd name="T16" fmla="*/ 274 w 274"/>
                <a:gd name="T17" fmla="*/ 112 h 112"/>
                <a:gd name="T18" fmla="*/ 274 w 274"/>
                <a:gd name="T19" fmla="*/ 68 h 112"/>
                <a:gd name="T20" fmla="*/ 238 w 274"/>
                <a:gd name="T21" fmla="*/ 32 h 112"/>
                <a:gd name="T22" fmla="*/ 116 w 274"/>
                <a:gd name="T23" fmla="*/ 66 h 112"/>
                <a:gd name="T24" fmla="*/ 14 w 274"/>
                <a:gd name="T25" fmla="*/ 66 h 112"/>
                <a:gd name="T26" fmla="*/ 14 w 274"/>
                <a:gd name="T27" fmla="*/ 36 h 112"/>
                <a:gd name="T28" fmla="*/ 36 w 274"/>
                <a:gd name="T29" fmla="*/ 14 h 112"/>
                <a:gd name="T30" fmla="*/ 122 w 274"/>
                <a:gd name="T31" fmla="*/ 14 h 112"/>
                <a:gd name="T32" fmla="*/ 144 w 274"/>
                <a:gd name="T33" fmla="*/ 33 h 112"/>
                <a:gd name="T34" fmla="*/ 116 w 274"/>
                <a:gd name="T35" fmla="*/ 66 h 112"/>
                <a:gd name="T36" fmla="*/ 260 w 274"/>
                <a:gd name="T37" fmla="*/ 98 h 112"/>
                <a:gd name="T38" fmla="*/ 130 w 274"/>
                <a:gd name="T39" fmla="*/ 98 h 112"/>
                <a:gd name="T40" fmla="*/ 130 w 274"/>
                <a:gd name="T41" fmla="*/ 68 h 112"/>
                <a:gd name="T42" fmla="*/ 152 w 274"/>
                <a:gd name="T43" fmla="*/ 46 h 112"/>
                <a:gd name="T44" fmla="*/ 238 w 274"/>
                <a:gd name="T45" fmla="*/ 46 h 112"/>
                <a:gd name="T46" fmla="*/ 260 w 274"/>
                <a:gd name="T47" fmla="*/ 68 h 112"/>
                <a:gd name="T48" fmla="*/ 260 w 274"/>
                <a:gd name="T49" fmla="*/ 9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74" h="112">
                  <a:moveTo>
                    <a:pt x="238" y="32"/>
                  </a:moveTo>
                  <a:cubicBezTo>
                    <a:pt x="157" y="32"/>
                    <a:pt x="157" y="32"/>
                    <a:pt x="157" y="32"/>
                  </a:cubicBezTo>
                  <a:cubicBezTo>
                    <a:pt x="155" y="14"/>
                    <a:pt x="140" y="0"/>
                    <a:pt x="122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16" y="80"/>
                    <a:pt x="116" y="80"/>
                    <a:pt x="116" y="80"/>
                  </a:cubicBezTo>
                  <a:cubicBezTo>
                    <a:pt x="116" y="112"/>
                    <a:pt x="116" y="112"/>
                    <a:pt x="116" y="112"/>
                  </a:cubicBezTo>
                  <a:cubicBezTo>
                    <a:pt x="274" y="112"/>
                    <a:pt x="274" y="112"/>
                    <a:pt x="274" y="112"/>
                  </a:cubicBezTo>
                  <a:cubicBezTo>
                    <a:pt x="274" y="68"/>
                    <a:pt x="274" y="68"/>
                    <a:pt x="274" y="68"/>
                  </a:cubicBezTo>
                  <a:cubicBezTo>
                    <a:pt x="274" y="48"/>
                    <a:pt x="258" y="32"/>
                    <a:pt x="238" y="32"/>
                  </a:cubicBezTo>
                  <a:close/>
                  <a:moveTo>
                    <a:pt x="116" y="66"/>
                  </a:moveTo>
                  <a:cubicBezTo>
                    <a:pt x="14" y="66"/>
                    <a:pt x="14" y="66"/>
                    <a:pt x="14" y="6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24"/>
                    <a:pt x="24" y="14"/>
                    <a:pt x="36" y="14"/>
                  </a:cubicBezTo>
                  <a:cubicBezTo>
                    <a:pt x="122" y="14"/>
                    <a:pt x="122" y="14"/>
                    <a:pt x="122" y="14"/>
                  </a:cubicBezTo>
                  <a:cubicBezTo>
                    <a:pt x="133" y="14"/>
                    <a:pt x="142" y="22"/>
                    <a:pt x="144" y="33"/>
                  </a:cubicBezTo>
                  <a:cubicBezTo>
                    <a:pt x="128" y="37"/>
                    <a:pt x="117" y="50"/>
                    <a:pt x="116" y="66"/>
                  </a:cubicBezTo>
                  <a:close/>
                  <a:moveTo>
                    <a:pt x="260" y="98"/>
                  </a:moveTo>
                  <a:cubicBezTo>
                    <a:pt x="130" y="98"/>
                    <a:pt x="130" y="98"/>
                    <a:pt x="130" y="98"/>
                  </a:cubicBezTo>
                  <a:cubicBezTo>
                    <a:pt x="130" y="68"/>
                    <a:pt x="130" y="68"/>
                    <a:pt x="130" y="68"/>
                  </a:cubicBezTo>
                  <a:cubicBezTo>
                    <a:pt x="130" y="56"/>
                    <a:pt x="140" y="46"/>
                    <a:pt x="152" y="46"/>
                  </a:cubicBezTo>
                  <a:cubicBezTo>
                    <a:pt x="238" y="46"/>
                    <a:pt x="238" y="46"/>
                    <a:pt x="238" y="46"/>
                  </a:cubicBezTo>
                  <a:cubicBezTo>
                    <a:pt x="250" y="46"/>
                    <a:pt x="260" y="56"/>
                    <a:pt x="260" y="68"/>
                  </a:cubicBezTo>
                  <a:lnTo>
                    <a:pt x="260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85BF3042-7F30-43E1-909D-F2210E3E667A}"/>
                </a:ext>
              </a:extLst>
            </p:cNvPr>
            <p:cNvGrpSpPr/>
            <p:nvPr userDrawn="1"/>
          </p:nvGrpSpPr>
          <p:grpSpPr bwMode="gray">
            <a:xfrm>
              <a:off x="10644855" y="3692496"/>
              <a:ext cx="404812" cy="410700"/>
              <a:chOff x="10568537" y="3763962"/>
              <a:chExt cx="436563" cy="442913"/>
            </a:xfrm>
          </p:grpSpPr>
          <p:sp>
            <p:nvSpPr>
              <p:cNvPr id="423" name="Freeform 187">
                <a:extLst>
                  <a:ext uri="{FF2B5EF4-FFF2-40B4-BE49-F238E27FC236}">
                    <a16:creationId xmlns:a16="http://schemas.microsoft.com/office/drawing/2014/main" id="{57D3F909-0662-4F4E-8DD8-11A36AADC2A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568537" y="3824287"/>
                <a:ext cx="436563" cy="382588"/>
              </a:xfrm>
              <a:custGeom>
                <a:avLst/>
                <a:gdLst>
                  <a:gd name="T0" fmla="*/ 276 w 276"/>
                  <a:gd name="T1" fmla="*/ 106 h 243"/>
                  <a:gd name="T2" fmla="*/ 138 w 276"/>
                  <a:gd name="T3" fmla="*/ 243 h 243"/>
                  <a:gd name="T4" fmla="*/ 0 w 276"/>
                  <a:gd name="T5" fmla="*/ 106 h 243"/>
                  <a:gd name="T6" fmla="*/ 50 w 276"/>
                  <a:gd name="T7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6" h="243">
                    <a:moveTo>
                      <a:pt x="276" y="106"/>
                    </a:moveTo>
                    <a:cubicBezTo>
                      <a:pt x="276" y="182"/>
                      <a:pt x="214" y="243"/>
                      <a:pt x="138" y="243"/>
                    </a:cubicBezTo>
                    <a:cubicBezTo>
                      <a:pt x="62" y="243"/>
                      <a:pt x="0" y="182"/>
                      <a:pt x="0" y="106"/>
                    </a:cubicBezTo>
                    <a:cubicBezTo>
                      <a:pt x="0" y="63"/>
                      <a:pt x="20" y="25"/>
                      <a:pt x="50" y="0"/>
                    </a:cubicBezTo>
                  </a:path>
                </a:pathLst>
              </a:cu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Freeform 188">
                <a:extLst>
                  <a:ext uri="{FF2B5EF4-FFF2-40B4-BE49-F238E27FC236}">
                    <a16:creationId xmlns:a16="http://schemas.microsoft.com/office/drawing/2014/main" id="{272569BB-DB3A-4896-8923-4CC27ED0332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633625" y="3763962"/>
                <a:ext cx="153988" cy="74613"/>
              </a:xfrm>
              <a:custGeom>
                <a:avLst/>
                <a:gdLst>
                  <a:gd name="T0" fmla="*/ 8 w 97"/>
                  <a:gd name="T1" fmla="*/ 47 h 47"/>
                  <a:gd name="T2" fmla="*/ 0 w 97"/>
                  <a:gd name="T3" fmla="*/ 38 h 47"/>
                  <a:gd name="T4" fmla="*/ 97 w 97"/>
                  <a:gd name="T5" fmla="*/ 0 h 47"/>
                  <a:gd name="T6" fmla="*/ 97 w 97"/>
                  <a:gd name="T7" fmla="*/ 12 h 47"/>
                  <a:gd name="T8" fmla="*/ 8 w 97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47">
                    <a:moveTo>
                      <a:pt x="8" y="47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27" y="13"/>
                      <a:pt x="61" y="0"/>
                      <a:pt x="97" y="0"/>
                    </a:cubicBezTo>
                    <a:cubicBezTo>
                      <a:pt x="97" y="12"/>
                      <a:pt x="97" y="12"/>
                      <a:pt x="97" y="12"/>
                    </a:cubicBezTo>
                    <a:cubicBezTo>
                      <a:pt x="64" y="12"/>
                      <a:pt x="32" y="24"/>
                      <a:pt x="8" y="47"/>
                    </a:cubicBezTo>
                    <a:close/>
                  </a:path>
                </a:pathLst>
              </a:custGeom>
              <a:solidFill>
                <a:srgbClr val="0048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Freeform 189">
                <a:extLst>
                  <a:ext uri="{FF2B5EF4-FFF2-40B4-BE49-F238E27FC236}">
                    <a16:creationId xmlns:a16="http://schemas.microsoft.com/office/drawing/2014/main" id="{F409E3B9-E7B4-4AD9-AF67-FD998A434F8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787612" y="3773487"/>
                <a:ext cx="217488" cy="217488"/>
              </a:xfrm>
              <a:custGeom>
                <a:avLst/>
                <a:gdLst>
                  <a:gd name="T0" fmla="*/ 0 w 138"/>
                  <a:gd name="T1" fmla="*/ 0 h 138"/>
                  <a:gd name="T2" fmla="*/ 138 w 138"/>
                  <a:gd name="T3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8" h="138">
                    <a:moveTo>
                      <a:pt x="0" y="0"/>
                    </a:moveTo>
                    <a:cubicBezTo>
                      <a:pt x="76" y="0"/>
                      <a:pt x="138" y="62"/>
                      <a:pt x="138" y="138"/>
                    </a:cubicBezTo>
                  </a:path>
                </a:pathLst>
              </a:custGeom>
              <a:noFill/>
              <a:ln w="19050" cap="flat">
                <a:solidFill>
                  <a:srgbClr val="D2D2D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Line 190">
                <a:extLst>
                  <a:ext uri="{FF2B5EF4-FFF2-40B4-BE49-F238E27FC236}">
                    <a16:creationId xmlns:a16="http://schemas.microsoft.com/office/drawing/2014/main" id="{6EBD7798-8274-44B1-BBB5-3778D66626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gray">
              <a:xfrm flipV="1">
                <a:off x="10717762" y="3922712"/>
                <a:ext cx="144463" cy="146050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Freeform 191">
                <a:extLst>
                  <a:ext uri="{FF2B5EF4-FFF2-40B4-BE49-F238E27FC236}">
                    <a16:creationId xmlns:a16="http://schemas.microsoft.com/office/drawing/2014/main" id="{5D8809DA-F7D2-4245-862D-4C0C5A5D8A8F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717762" y="3919537"/>
                <a:ext cx="41275" cy="66675"/>
              </a:xfrm>
              <a:custGeom>
                <a:avLst/>
                <a:gdLst>
                  <a:gd name="T0" fmla="*/ 13 w 26"/>
                  <a:gd name="T1" fmla="*/ 42 h 42"/>
                  <a:gd name="T2" fmla="*/ 13 w 26"/>
                  <a:gd name="T3" fmla="*/ 42 h 42"/>
                  <a:gd name="T4" fmla="*/ 0 w 26"/>
                  <a:gd name="T5" fmla="*/ 29 h 42"/>
                  <a:gd name="T6" fmla="*/ 0 w 26"/>
                  <a:gd name="T7" fmla="*/ 13 h 42"/>
                  <a:gd name="T8" fmla="*/ 13 w 26"/>
                  <a:gd name="T9" fmla="*/ 0 h 42"/>
                  <a:gd name="T10" fmla="*/ 13 w 26"/>
                  <a:gd name="T11" fmla="*/ 0 h 42"/>
                  <a:gd name="T12" fmla="*/ 26 w 26"/>
                  <a:gd name="T13" fmla="*/ 13 h 42"/>
                  <a:gd name="T14" fmla="*/ 26 w 26"/>
                  <a:gd name="T15" fmla="*/ 29 h 42"/>
                  <a:gd name="T16" fmla="*/ 13 w 26"/>
                  <a:gd name="T1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2">
                    <a:moveTo>
                      <a:pt x="13" y="42"/>
                    </a:moveTo>
                    <a:cubicBezTo>
                      <a:pt x="13" y="42"/>
                      <a:pt x="13" y="42"/>
                      <a:pt x="13" y="42"/>
                    </a:cubicBezTo>
                    <a:cubicBezTo>
                      <a:pt x="6" y="42"/>
                      <a:pt x="0" y="36"/>
                      <a:pt x="0" y="2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20" y="0"/>
                      <a:pt x="26" y="5"/>
                      <a:pt x="26" y="13"/>
                    </a:cubicBezTo>
                    <a:cubicBezTo>
                      <a:pt x="26" y="29"/>
                      <a:pt x="26" y="29"/>
                      <a:pt x="26" y="29"/>
                    </a:cubicBezTo>
                    <a:cubicBezTo>
                      <a:pt x="26" y="36"/>
                      <a:pt x="20" y="42"/>
                      <a:pt x="13" y="42"/>
                    </a:cubicBezTo>
                    <a:close/>
                  </a:path>
                </a:pathLst>
              </a:cu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Freeform 192">
                <a:extLst>
                  <a:ext uri="{FF2B5EF4-FFF2-40B4-BE49-F238E27FC236}">
                    <a16:creationId xmlns:a16="http://schemas.microsoft.com/office/drawing/2014/main" id="{5D7686B8-0709-49CD-88E8-E0D73B0BB918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10822537" y="4005262"/>
                <a:ext cx="39688" cy="68263"/>
              </a:xfrm>
              <a:custGeom>
                <a:avLst/>
                <a:gdLst>
                  <a:gd name="T0" fmla="*/ 13 w 26"/>
                  <a:gd name="T1" fmla="*/ 43 h 43"/>
                  <a:gd name="T2" fmla="*/ 13 w 26"/>
                  <a:gd name="T3" fmla="*/ 43 h 43"/>
                  <a:gd name="T4" fmla="*/ 0 w 26"/>
                  <a:gd name="T5" fmla="*/ 30 h 43"/>
                  <a:gd name="T6" fmla="*/ 0 w 26"/>
                  <a:gd name="T7" fmla="*/ 13 h 43"/>
                  <a:gd name="T8" fmla="*/ 13 w 26"/>
                  <a:gd name="T9" fmla="*/ 0 h 43"/>
                  <a:gd name="T10" fmla="*/ 13 w 26"/>
                  <a:gd name="T11" fmla="*/ 0 h 43"/>
                  <a:gd name="T12" fmla="*/ 26 w 26"/>
                  <a:gd name="T13" fmla="*/ 13 h 43"/>
                  <a:gd name="T14" fmla="*/ 26 w 26"/>
                  <a:gd name="T15" fmla="*/ 30 h 43"/>
                  <a:gd name="T16" fmla="*/ 13 w 26"/>
                  <a:gd name="T1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3">
                    <a:moveTo>
                      <a:pt x="13" y="43"/>
                    </a:moveTo>
                    <a:cubicBezTo>
                      <a:pt x="13" y="43"/>
                      <a:pt x="13" y="43"/>
                      <a:pt x="13" y="43"/>
                    </a:cubicBezTo>
                    <a:cubicBezTo>
                      <a:pt x="6" y="43"/>
                      <a:pt x="0" y="37"/>
                      <a:pt x="0" y="3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20" y="0"/>
                      <a:pt x="26" y="6"/>
                      <a:pt x="26" y="13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26" y="37"/>
                      <a:pt x="20" y="43"/>
                      <a:pt x="13" y="43"/>
                    </a:cubicBezTo>
                    <a:close/>
                  </a:path>
                </a:pathLst>
              </a:cu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76" name="Freeform 206">
              <a:extLst>
                <a:ext uri="{FF2B5EF4-FFF2-40B4-BE49-F238E27FC236}">
                  <a16:creationId xmlns:a16="http://schemas.microsoft.com/office/drawing/2014/main" id="{7996B99C-FFB3-462B-9BBE-6AF76974638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288116" y="2254311"/>
              <a:ext cx="103043" cy="191365"/>
            </a:xfrm>
            <a:custGeom>
              <a:avLst/>
              <a:gdLst>
                <a:gd name="T0" fmla="*/ 35 w 70"/>
                <a:gd name="T1" fmla="*/ 0 h 131"/>
                <a:gd name="T2" fmla="*/ 0 w 70"/>
                <a:gd name="T3" fmla="*/ 35 h 131"/>
                <a:gd name="T4" fmla="*/ 0 w 70"/>
                <a:gd name="T5" fmla="*/ 61 h 131"/>
                <a:gd name="T6" fmla="*/ 70 w 70"/>
                <a:gd name="T7" fmla="*/ 131 h 131"/>
                <a:gd name="T8" fmla="*/ 70 w 70"/>
                <a:gd name="T9" fmla="*/ 131 h 131"/>
                <a:gd name="T10" fmla="*/ 70 w 70"/>
                <a:gd name="T11" fmla="*/ 35 h 131"/>
                <a:gd name="T12" fmla="*/ 35 w 70"/>
                <a:gd name="T13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31">
                  <a:moveTo>
                    <a:pt x="35" y="0"/>
                  </a:moveTo>
                  <a:cubicBezTo>
                    <a:pt x="15" y="0"/>
                    <a:pt x="0" y="16"/>
                    <a:pt x="0" y="35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99"/>
                    <a:pt x="31" y="131"/>
                    <a:pt x="70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0" y="16"/>
                    <a:pt x="54" y="0"/>
                    <a:pt x="35" y="0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207">
              <a:extLst>
                <a:ext uri="{FF2B5EF4-FFF2-40B4-BE49-F238E27FC236}">
                  <a16:creationId xmlns:a16="http://schemas.microsoft.com/office/drawing/2014/main" id="{9ED56C4D-D772-429E-9F60-A6C82491D9E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79383" y="1901021"/>
              <a:ext cx="628562" cy="790487"/>
            </a:xfrm>
            <a:custGeom>
              <a:avLst/>
              <a:gdLst>
                <a:gd name="T0" fmla="*/ 215 w 430"/>
                <a:gd name="T1" fmla="*/ 540 h 540"/>
                <a:gd name="T2" fmla="*/ 215 w 430"/>
                <a:gd name="T3" fmla="*/ 540 h 540"/>
                <a:gd name="T4" fmla="*/ 0 w 430"/>
                <a:gd name="T5" fmla="*/ 325 h 540"/>
                <a:gd name="T6" fmla="*/ 0 w 430"/>
                <a:gd name="T7" fmla="*/ 214 h 540"/>
                <a:gd name="T8" fmla="*/ 215 w 430"/>
                <a:gd name="T9" fmla="*/ 0 h 540"/>
                <a:gd name="T10" fmla="*/ 215 w 430"/>
                <a:gd name="T11" fmla="*/ 0 h 540"/>
                <a:gd name="T12" fmla="*/ 430 w 430"/>
                <a:gd name="T13" fmla="*/ 214 h 540"/>
                <a:gd name="T14" fmla="*/ 430 w 430"/>
                <a:gd name="T15" fmla="*/ 325 h 540"/>
                <a:gd name="T16" fmla="*/ 215 w 430"/>
                <a:gd name="T17" fmla="*/ 54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0" h="540">
                  <a:moveTo>
                    <a:pt x="215" y="540"/>
                  </a:moveTo>
                  <a:cubicBezTo>
                    <a:pt x="215" y="540"/>
                    <a:pt x="215" y="540"/>
                    <a:pt x="215" y="540"/>
                  </a:cubicBezTo>
                  <a:cubicBezTo>
                    <a:pt x="96" y="540"/>
                    <a:pt x="0" y="444"/>
                    <a:pt x="0" y="325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96"/>
                    <a:pt x="96" y="0"/>
                    <a:pt x="215" y="0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334" y="0"/>
                    <a:pt x="430" y="96"/>
                    <a:pt x="430" y="214"/>
                  </a:cubicBezTo>
                  <a:cubicBezTo>
                    <a:pt x="430" y="325"/>
                    <a:pt x="430" y="325"/>
                    <a:pt x="430" y="325"/>
                  </a:cubicBezTo>
                  <a:cubicBezTo>
                    <a:pt x="430" y="444"/>
                    <a:pt x="334" y="540"/>
                    <a:pt x="215" y="540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208">
              <a:extLst>
                <a:ext uri="{FF2B5EF4-FFF2-40B4-BE49-F238E27FC236}">
                  <a16:creationId xmlns:a16="http://schemas.microsoft.com/office/drawing/2014/main" id="{D5D49B54-3C45-46BD-A013-282CCD3DF97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10196" y="1942238"/>
              <a:ext cx="789014" cy="1039262"/>
            </a:xfrm>
            <a:custGeom>
              <a:avLst/>
              <a:gdLst>
                <a:gd name="T0" fmla="*/ 507 w 539"/>
                <a:gd name="T1" fmla="*/ 213 h 710"/>
                <a:gd name="T2" fmla="*/ 477 w 539"/>
                <a:gd name="T3" fmla="*/ 227 h 710"/>
                <a:gd name="T4" fmla="*/ 477 w 539"/>
                <a:gd name="T5" fmla="*/ 186 h 710"/>
                <a:gd name="T6" fmla="*/ 368 w 539"/>
                <a:gd name="T7" fmla="*/ 0 h 710"/>
                <a:gd name="T8" fmla="*/ 368 w 539"/>
                <a:gd name="T9" fmla="*/ 0 h 710"/>
                <a:gd name="T10" fmla="*/ 405 w 539"/>
                <a:gd name="T11" fmla="*/ 99 h 710"/>
                <a:gd name="T12" fmla="*/ 405 w 539"/>
                <a:gd name="T13" fmla="*/ 114 h 710"/>
                <a:gd name="T14" fmla="*/ 336 w 539"/>
                <a:gd name="T15" fmla="*/ 120 h 710"/>
                <a:gd name="T16" fmla="*/ 280 w 539"/>
                <a:gd name="T17" fmla="*/ 138 h 710"/>
                <a:gd name="T18" fmla="*/ 279 w 539"/>
                <a:gd name="T19" fmla="*/ 138 h 710"/>
                <a:gd name="T20" fmla="*/ 270 w 539"/>
                <a:gd name="T21" fmla="*/ 151 h 710"/>
                <a:gd name="T22" fmla="*/ 270 w 539"/>
                <a:gd name="T23" fmla="*/ 211 h 710"/>
                <a:gd name="T24" fmla="*/ 281 w 539"/>
                <a:gd name="T25" fmla="*/ 225 h 710"/>
                <a:gd name="T26" fmla="*/ 298 w 539"/>
                <a:gd name="T27" fmla="*/ 211 h 710"/>
                <a:gd name="T28" fmla="*/ 298 w 539"/>
                <a:gd name="T29" fmla="*/ 191 h 710"/>
                <a:gd name="T30" fmla="*/ 345 w 539"/>
                <a:gd name="T31" fmla="*/ 211 h 710"/>
                <a:gd name="T32" fmla="*/ 380 w 539"/>
                <a:gd name="T33" fmla="*/ 264 h 710"/>
                <a:gd name="T34" fmla="*/ 380 w 539"/>
                <a:gd name="T35" fmla="*/ 339 h 710"/>
                <a:gd name="T36" fmla="*/ 285 w 539"/>
                <a:gd name="T37" fmla="*/ 444 h 710"/>
                <a:gd name="T38" fmla="*/ 244 w 539"/>
                <a:gd name="T39" fmla="*/ 444 h 710"/>
                <a:gd name="T40" fmla="*/ 167 w 539"/>
                <a:gd name="T41" fmla="*/ 425 h 710"/>
                <a:gd name="T42" fmla="*/ 59 w 539"/>
                <a:gd name="T43" fmla="*/ 366 h 710"/>
                <a:gd name="T44" fmla="*/ 59 w 539"/>
                <a:gd name="T45" fmla="*/ 366 h 710"/>
                <a:gd name="T46" fmla="*/ 140 w 539"/>
                <a:gd name="T47" fmla="*/ 474 h 710"/>
                <a:gd name="T48" fmla="*/ 140 w 539"/>
                <a:gd name="T49" fmla="*/ 524 h 710"/>
                <a:gd name="T50" fmla="*/ 118 w 539"/>
                <a:gd name="T51" fmla="*/ 559 h 710"/>
                <a:gd name="T52" fmla="*/ 0 w 539"/>
                <a:gd name="T53" fmla="*/ 618 h 710"/>
                <a:gd name="T54" fmla="*/ 73 w 539"/>
                <a:gd name="T55" fmla="*/ 653 h 710"/>
                <a:gd name="T56" fmla="*/ 442 w 539"/>
                <a:gd name="T57" fmla="*/ 653 h 710"/>
                <a:gd name="T58" fmla="*/ 514 w 539"/>
                <a:gd name="T59" fmla="*/ 618 h 710"/>
                <a:gd name="T60" fmla="*/ 396 w 539"/>
                <a:gd name="T61" fmla="*/ 559 h 710"/>
                <a:gd name="T62" fmla="*/ 374 w 539"/>
                <a:gd name="T63" fmla="*/ 524 h 710"/>
                <a:gd name="T64" fmla="*/ 374 w 539"/>
                <a:gd name="T65" fmla="*/ 480 h 710"/>
                <a:gd name="T66" fmla="*/ 472 w 539"/>
                <a:gd name="T67" fmla="*/ 343 h 710"/>
                <a:gd name="T68" fmla="*/ 539 w 539"/>
                <a:gd name="T69" fmla="*/ 274 h 710"/>
                <a:gd name="T70" fmla="*/ 539 w 539"/>
                <a:gd name="T71" fmla="*/ 249 h 710"/>
                <a:gd name="T72" fmla="*/ 507 w 539"/>
                <a:gd name="T73" fmla="*/ 213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39" h="710">
                  <a:moveTo>
                    <a:pt x="507" y="213"/>
                  </a:moveTo>
                  <a:cubicBezTo>
                    <a:pt x="495" y="212"/>
                    <a:pt x="484" y="218"/>
                    <a:pt x="477" y="227"/>
                  </a:cubicBezTo>
                  <a:cubicBezTo>
                    <a:pt x="477" y="186"/>
                    <a:pt x="477" y="186"/>
                    <a:pt x="477" y="186"/>
                  </a:cubicBezTo>
                  <a:cubicBezTo>
                    <a:pt x="477" y="107"/>
                    <a:pt x="433" y="37"/>
                    <a:pt x="368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92" y="28"/>
                    <a:pt x="405" y="63"/>
                    <a:pt x="405" y="99"/>
                  </a:cubicBezTo>
                  <a:cubicBezTo>
                    <a:pt x="405" y="114"/>
                    <a:pt x="405" y="114"/>
                    <a:pt x="405" y="114"/>
                  </a:cubicBezTo>
                  <a:cubicBezTo>
                    <a:pt x="405" y="114"/>
                    <a:pt x="358" y="109"/>
                    <a:pt x="336" y="120"/>
                  </a:cubicBezTo>
                  <a:cubicBezTo>
                    <a:pt x="280" y="138"/>
                    <a:pt x="280" y="138"/>
                    <a:pt x="280" y="138"/>
                  </a:cubicBezTo>
                  <a:cubicBezTo>
                    <a:pt x="279" y="138"/>
                    <a:pt x="279" y="138"/>
                    <a:pt x="279" y="138"/>
                  </a:cubicBezTo>
                  <a:cubicBezTo>
                    <a:pt x="274" y="140"/>
                    <a:pt x="270" y="145"/>
                    <a:pt x="270" y="151"/>
                  </a:cubicBezTo>
                  <a:cubicBezTo>
                    <a:pt x="270" y="211"/>
                    <a:pt x="270" y="211"/>
                    <a:pt x="270" y="211"/>
                  </a:cubicBezTo>
                  <a:cubicBezTo>
                    <a:pt x="270" y="217"/>
                    <a:pt x="274" y="224"/>
                    <a:pt x="281" y="225"/>
                  </a:cubicBezTo>
                  <a:cubicBezTo>
                    <a:pt x="290" y="227"/>
                    <a:pt x="298" y="220"/>
                    <a:pt x="298" y="211"/>
                  </a:cubicBezTo>
                  <a:cubicBezTo>
                    <a:pt x="298" y="191"/>
                    <a:pt x="298" y="191"/>
                    <a:pt x="298" y="191"/>
                  </a:cubicBezTo>
                  <a:cubicBezTo>
                    <a:pt x="345" y="211"/>
                    <a:pt x="345" y="211"/>
                    <a:pt x="345" y="211"/>
                  </a:cubicBezTo>
                  <a:cubicBezTo>
                    <a:pt x="366" y="219"/>
                    <a:pt x="380" y="240"/>
                    <a:pt x="380" y="264"/>
                  </a:cubicBezTo>
                  <a:cubicBezTo>
                    <a:pt x="380" y="339"/>
                    <a:pt x="380" y="339"/>
                    <a:pt x="380" y="339"/>
                  </a:cubicBezTo>
                  <a:cubicBezTo>
                    <a:pt x="380" y="420"/>
                    <a:pt x="313" y="444"/>
                    <a:pt x="285" y="444"/>
                  </a:cubicBezTo>
                  <a:cubicBezTo>
                    <a:pt x="244" y="444"/>
                    <a:pt x="244" y="444"/>
                    <a:pt x="244" y="444"/>
                  </a:cubicBezTo>
                  <a:cubicBezTo>
                    <a:pt x="217" y="444"/>
                    <a:pt x="191" y="437"/>
                    <a:pt x="167" y="425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74" y="410"/>
                    <a:pt x="103" y="448"/>
                    <a:pt x="140" y="474"/>
                  </a:cubicBezTo>
                  <a:cubicBezTo>
                    <a:pt x="140" y="524"/>
                    <a:pt x="140" y="524"/>
                    <a:pt x="140" y="524"/>
                  </a:cubicBezTo>
                  <a:cubicBezTo>
                    <a:pt x="140" y="539"/>
                    <a:pt x="132" y="552"/>
                    <a:pt x="118" y="559"/>
                  </a:cubicBezTo>
                  <a:cubicBezTo>
                    <a:pt x="0" y="618"/>
                    <a:pt x="0" y="618"/>
                    <a:pt x="0" y="618"/>
                  </a:cubicBezTo>
                  <a:cubicBezTo>
                    <a:pt x="73" y="653"/>
                    <a:pt x="73" y="653"/>
                    <a:pt x="73" y="653"/>
                  </a:cubicBezTo>
                  <a:cubicBezTo>
                    <a:pt x="189" y="710"/>
                    <a:pt x="325" y="710"/>
                    <a:pt x="442" y="653"/>
                  </a:cubicBezTo>
                  <a:cubicBezTo>
                    <a:pt x="514" y="618"/>
                    <a:pt x="514" y="618"/>
                    <a:pt x="514" y="618"/>
                  </a:cubicBezTo>
                  <a:cubicBezTo>
                    <a:pt x="396" y="559"/>
                    <a:pt x="396" y="559"/>
                    <a:pt x="396" y="559"/>
                  </a:cubicBezTo>
                  <a:cubicBezTo>
                    <a:pt x="382" y="552"/>
                    <a:pt x="374" y="539"/>
                    <a:pt x="374" y="524"/>
                  </a:cubicBezTo>
                  <a:cubicBezTo>
                    <a:pt x="374" y="480"/>
                    <a:pt x="374" y="480"/>
                    <a:pt x="374" y="480"/>
                  </a:cubicBezTo>
                  <a:cubicBezTo>
                    <a:pt x="423" y="450"/>
                    <a:pt x="459" y="401"/>
                    <a:pt x="472" y="343"/>
                  </a:cubicBezTo>
                  <a:cubicBezTo>
                    <a:pt x="509" y="342"/>
                    <a:pt x="539" y="311"/>
                    <a:pt x="539" y="274"/>
                  </a:cubicBezTo>
                  <a:cubicBezTo>
                    <a:pt x="539" y="249"/>
                    <a:pt x="539" y="249"/>
                    <a:pt x="539" y="249"/>
                  </a:cubicBezTo>
                  <a:cubicBezTo>
                    <a:pt x="539" y="231"/>
                    <a:pt x="525" y="214"/>
                    <a:pt x="507" y="213"/>
                  </a:cubicBezTo>
                  <a:close/>
                </a:path>
              </a:pathLst>
            </a:custGeom>
            <a:solidFill>
              <a:srgbClr val="A9A9A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209">
              <a:extLst>
                <a:ext uri="{FF2B5EF4-FFF2-40B4-BE49-F238E27FC236}">
                  <a16:creationId xmlns:a16="http://schemas.microsoft.com/office/drawing/2014/main" id="{A5AE9732-704A-4EFD-AF34-B00B5578486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35222" y="2635569"/>
              <a:ext cx="454861" cy="354763"/>
            </a:xfrm>
            <a:custGeom>
              <a:avLst/>
              <a:gdLst>
                <a:gd name="T0" fmla="*/ 1 w 311"/>
                <a:gd name="T1" fmla="*/ 153 h 242"/>
                <a:gd name="T2" fmla="*/ 135 w 311"/>
                <a:gd name="T3" fmla="*/ 218 h 242"/>
                <a:gd name="T4" fmla="*/ 253 w 311"/>
                <a:gd name="T5" fmla="*/ 242 h 242"/>
                <a:gd name="T6" fmla="*/ 311 w 311"/>
                <a:gd name="T7" fmla="*/ 158 h 242"/>
                <a:gd name="T8" fmla="*/ 289 w 311"/>
                <a:gd name="T9" fmla="*/ 105 h 242"/>
                <a:gd name="T10" fmla="*/ 232 w 311"/>
                <a:gd name="T11" fmla="*/ 47 h 242"/>
                <a:gd name="T12" fmla="*/ 123 w 311"/>
                <a:gd name="T13" fmla="*/ 0 h 242"/>
                <a:gd name="T14" fmla="*/ 123 w 311"/>
                <a:gd name="T15" fmla="*/ 50 h 242"/>
                <a:gd name="T16" fmla="*/ 101 w 311"/>
                <a:gd name="T17" fmla="*/ 85 h 242"/>
                <a:gd name="T18" fmla="*/ 0 w 311"/>
                <a:gd name="T19" fmla="*/ 136 h 242"/>
                <a:gd name="T20" fmla="*/ 1 w 311"/>
                <a:gd name="T21" fmla="*/ 153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1" h="242">
                  <a:moveTo>
                    <a:pt x="1" y="153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253" y="242"/>
                    <a:pt x="253" y="242"/>
                    <a:pt x="253" y="242"/>
                  </a:cubicBezTo>
                  <a:cubicBezTo>
                    <a:pt x="311" y="158"/>
                    <a:pt x="311" y="158"/>
                    <a:pt x="311" y="158"/>
                  </a:cubicBezTo>
                  <a:cubicBezTo>
                    <a:pt x="289" y="105"/>
                    <a:pt x="289" y="105"/>
                    <a:pt x="289" y="105"/>
                  </a:cubicBezTo>
                  <a:cubicBezTo>
                    <a:pt x="278" y="79"/>
                    <a:pt x="258" y="59"/>
                    <a:pt x="232" y="47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3" y="65"/>
                    <a:pt x="115" y="78"/>
                    <a:pt x="101" y="85"/>
                  </a:cubicBezTo>
                  <a:cubicBezTo>
                    <a:pt x="0" y="136"/>
                    <a:pt x="0" y="136"/>
                    <a:pt x="0" y="136"/>
                  </a:cubicBezTo>
                  <a:lnTo>
                    <a:pt x="1" y="153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Oval 210">
              <a:extLst>
                <a:ext uri="{FF2B5EF4-FFF2-40B4-BE49-F238E27FC236}">
                  <a16:creationId xmlns:a16="http://schemas.microsoft.com/office/drawing/2014/main" id="{731B2CA0-E9D5-48F4-BFD7-EAD4B1744B2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97146" y="2192485"/>
              <a:ext cx="69186" cy="69186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Oval 211">
              <a:extLst>
                <a:ext uri="{FF2B5EF4-FFF2-40B4-BE49-F238E27FC236}">
                  <a16:creationId xmlns:a16="http://schemas.microsoft.com/office/drawing/2014/main" id="{AD641CA7-21CA-487C-B2C1-A56805FC9E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837187" y="2192485"/>
              <a:ext cx="69186" cy="69186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Freeform 212">
              <a:extLst>
                <a:ext uri="{FF2B5EF4-FFF2-40B4-BE49-F238E27FC236}">
                  <a16:creationId xmlns:a16="http://schemas.microsoft.com/office/drawing/2014/main" id="{3393F4B8-C11F-42AE-880F-F95DF16C501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31102" y="2286696"/>
              <a:ext cx="117763" cy="63298"/>
            </a:xfrm>
            <a:custGeom>
              <a:avLst/>
              <a:gdLst>
                <a:gd name="T0" fmla="*/ 20 w 81"/>
                <a:gd name="T1" fmla="*/ 14 h 43"/>
                <a:gd name="T2" fmla="*/ 4 w 81"/>
                <a:gd name="T3" fmla="*/ 30 h 43"/>
                <a:gd name="T4" fmla="*/ 10 w 81"/>
                <a:gd name="T5" fmla="*/ 43 h 43"/>
                <a:gd name="T6" fmla="*/ 71 w 81"/>
                <a:gd name="T7" fmla="*/ 43 h 43"/>
                <a:gd name="T8" fmla="*/ 77 w 81"/>
                <a:gd name="T9" fmla="*/ 31 h 43"/>
                <a:gd name="T10" fmla="*/ 64 w 81"/>
                <a:gd name="T11" fmla="*/ 15 h 43"/>
                <a:gd name="T12" fmla="*/ 20 w 81"/>
                <a:gd name="T13" fmla="*/ 1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3">
                  <a:moveTo>
                    <a:pt x="20" y="14"/>
                  </a:moveTo>
                  <a:cubicBezTo>
                    <a:pt x="4" y="30"/>
                    <a:pt x="4" y="30"/>
                    <a:pt x="4" y="30"/>
                  </a:cubicBezTo>
                  <a:cubicBezTo>
                    <a:pt x="0" y="35"/>
                    <a:pt x="3" y="43"/>
                    <a:pt x="10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7" y="43"/>
                    <a:pt x="81" y="36"/>
                    <a:pt x="77" y="31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53" y="1"/>
                    <a:pt x="32" y="0"/>
                    <a:pt x="20" y="14"/>
                  </a:cubicBezTo>
                  <a:close/>
                </a:path>
              </a:pathLst>
            </a:custGeom>
            <a:solidFill>
              <a:srgbClr val="A9A9A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Freeform 213">
              <a:extLst>
                <a:ext uri="{FF2B5EF4-FFF2-40B4-BE49-F238E27FC236}">
                  <a16:creationId xmlns:a16="http://schemas.microsoft.com/office/drawing/2014/main" id="{C4ECA023-C3B2-4F5C-8073-4DE2257B94E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566332" y="2395627"/>
              <a:ext cx="232583" cy="35329"/>
            </a:xfrm>
            <a:custGeom>
              <a:avLst/>
              <a:gdLst>
                <a:gd name="T0" fmla="*/ 159 w 159"/>
                <a:gd name="T1" fmla="*/ 24 h 24"/>
                <a:gd name="T2" fmla="*/ 0 w 159"/>
                <a:gd name="T3" fmla="*/ 24 h 24"/>
                <a:gd name="T4" fmla="*/ 30 w 159"/>
                <a:gd name="T5" fmla="*/ 9 h 24"/>
                <a:gd name="T6" fmla="*/ 65 w 159"/>
                <a:gd name="T7" fmla="*/ 0 h 24"/>
                <a:gd name="T8" fmla="*/ 100 w 159"/>
                <a:gd name="T9" fmla="*/ 0 h 24"/>
                <a:gd name="T10" fmla="*/ 141 w 159"/>
                <a:gd name="T11" fmla="*/ 13 h 24"/>
                <a:gd name="T12" fmla="*/ 159 w 159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4">
                  <a:moveTo>
                    <a:pt x="159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41" y="3"/>
                    <a:pt x="53" y="0"/>
                    <a:pt x="65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15" y="0"/>
                    <a:pt x="129" y="5"/>
                    <a:pt x="141" y="13"/>
                  </a:cubicBezTo>
                  <a:lnTo>
                    <a:pt x="159" y="24"/>
                  </a:lnTo>
                  <a:close/>
                </a:path>
              </a:pathLst>
            </a:custGeom>
            <a:solidFill>
              <a:srgbClr val="A9A9A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Freeform 214">
              <a:extLst>
                <a:ext uri="{FF2B5EF4-FFF2-40B4-BE49-F238E27FC236}">
                  <a16:creationId xmlns:a16="http://schemas.microsoft.com/office/drawing/2014/main" id="{AA77AA84-3537-4D42-84A9-40500722938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07549" y="2450092"/>
              <a:ext cx="154565" cy="48578"/>
            </a:xfrm>
            <a:custGeom>
              <a:avLst/>
              <a:gdLst>
                <a:gd name="T0" fmla="*/ 106 w 106"/>
                <a:gd name="T1" fmla="*/ 33 h 33"/>
                <a:gd name="T2" fmla="*/ 53 w 106"/>
                <a:gd name="T3" fmla="*/ 0 h 33"/>
                <a:gd name="T4" fmla="*/ 0 w 106"/>
                <a:gd name="T5" fmla="*/ 33 h 33"/>
                <a:gd name="T6" fmla="*/ 106 w 106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6" h="33">
                  <a:moveTo>
                    <a:pt x="106" y="33"/>
                  </a:moveTo>
                  <a:cubicBezTo>
                    <a:pt x="97" y="13"/>
                    <a:pt x="77" y="0"/>
                    <a:pt x="53" y="0"/>
                  </a:cubicBezTo>
                  <a:cubicBezTo>
                    <a:pt x="30" y="0"/>
                    <a:pt x="10" y="13"/>
                    <a:pt x="0" y="33"/>
                  </a:cubicBezTo>
                  <a:lnTo>
                    <a:pt x="106" y="33"/>
                  </a:lnTo>
                  <a:close/>
                </a:path>
              </a:pathLst>
            </a:custGeom>
            <a:solidFill>
              <a:srgbClr val="A9A9A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Freeform 215">
              <a:extLst>
                <a:ext uri="{FF2B5EF4-FFF2-40B4-BE49-F238E27FC236}">
                  <a16:creationId xmlns:a16="http://schemas.microsoft.com/office/drawing/2014/main" id="{E733D584-AD29-4593-B0F8-9A0D030B040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48568" y="2120355"/>
              <a:ext cx="158981" cy="52994"/>
            </a:xfrm>
            <a:custGeom>
              <a:avLst/>
              <a:gdLst>
                <a:gd name="T0" fmla="*/ 7 w 108"/>
                <a:gd name="T1" fmla="*/ 36 h 36"/>
                <a:gd name="T2" fmla="*/ 2 w 108"/>
                <a:gd name="T3" fmla="*/ 33 h 36"/>
                <a:gd name="T4" fmla="*/ 4 w 108"/>
                <a:gd name="T5" fmla="*/ 24 h 36"/>
                <a:gd name="T6" fmla="*/ 7 w 108"/>
                <a:gd name="T7" fmla="*/ 22 h 36"/>
                <a:gd name="T8" fmla="*/ 104 w 108"/>
                <a:gd name="T9" fmla="*/ 15 h 36"/>
                <a:gd name="T10" fmla="*/ 107 w 108"/>
                <a:gd name="T11" fmla="*/ 24 h 36"/>
                <a:gd name="T12" fmla="*/ 98 w 108"/>
                <a:gd name="T13" fmla="*/ 27 h 36"/>
                <a:gd name="T14" fmla="*/ 14 w 108"/>
                <a:gd name="T15" fmla="*/ 32 h 36"/>
                <a:gd name="T16" fmla="*/ 11 w 108"/>
                <a:gd name="T17" fmla="*/ 35 h 36"/>
                <a:gd name="T18" fmla="*/ 7 w 108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36">
                  <a:moveTo>
                    <a:pt x="7" y="36"/>
                  </a:moveTo>
                  <a:cubicBezTo>
                    <a:pt x="5" y="36"/>
                    <a:pt x="3" y="35"/>
                    <a:pt x="2" y="33"/>
                  </a:cubicBezTo>
                  <a:cubicBezTo>
                    <a:pt x="0" y="30"/>
                    <a:pt x="1" y="26"/>
                    <a:pt x="4" y="24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36" y="2"/>
                    <a:pt x="73" y="0"/>
                    <a:pt x="104" y="15"/>
                  </a:cubicBezTo>
                  <a:cubicBezTo>
                    <a:pt x="107" y="17"/>
                    <a:pt x="108" y="21"/>
                    <a:pt x="107" y="24"/>
                  </a:cubicBezTo>
                  <a:cubicBezTo>
                    <a:pt x="105" y="27"/>
                    <a:pt x="101" y="28"/>
                    <a:pt x="98" y="27"/>
                  </a:cubicBezTo>
                  <a:cubicBezTo>
                    <a:pt x="71" y="13"/>
                    <a:pt x="39" y="15"/>
                    <a:pt x="14" y="32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0" y="35"/>
                    <a:pt x="9" y="36"/>
                    <a:pt x="7" y="36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Freeform 216">
              <a:extLst>
                <a:ext uri="{FF2B5EF4-FFF2-40B4-BE49-F238E27FC236}">
                  <a16:creationId xmlns:a16="http://schemas.microsoft.com/office/drawing/2014/main" id="{77C7A5A6-A480-4A82-9A05-80E6690CF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788610" y="2089442"/>
              <a:ext cx="157509" cy="54466"/>
            </a:xfrm>
            <a:custGeom>
              <a:avLst/>
              <a:gdLst>
                <a:gd name="T0" fmla="*/ 100 w 107"/>
                <a:gd name="T1" fmla="*/ 37 h 37"/>
                <a:gd name="T2" fmla="*/ 96 w 107"/>
                <a:gd name="T3" fmla="*/ 36 h 37"/>
                <a:gd name="T4" fmla="*/ 93 w 107"/>
                <a:gd name="T5" fmla="*/ 34 h 37"/>
                <a:gd name="T6" fmla="*/ 11 w 107"/>
                <a:gd name="T7" fmla="*/ 26 h 37"/>
                <a:gd name="T8" fmla="*/ 2 w 107"/>
                <a:gd name="T9" fmla="*/ 23 h 37"/>
                <a:gd name="T10" fmla="*/ 2 w 107"/>
                <a:gd name="T11" fmla="*/ 23 h 37"/>
                <a:gd name="T12" fmla="*/ 5 w 107"/>
                <a:gd name="T13" fmla="*/ 13 h 37"/>
                <a:gd name="T14" fmla="*/ 100 w 107"/>
                <a:gd name="T15" fmla="*/ 23 h 37"/>
                <a:gd name="T16" fmla="*/ 104 w 107"/>
                <a:gd name="T17" fmla="*/ 25 h 37"/>
                <a:gd name="T18" fmla="*/ 105 w 107"/>
                <a:gd name="T19" fmla="*/ 35 h 37"/>
                <a:gd name="T20" fmla="*/ 100 w 107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7" h="37">
                  <a:moveTo>
                    <a:pt x="100" y="37"/>
                  </a:moveTo>
                  <a:cubicBezTo>
                    <a:pt x="98" y="37"/>
                    <a:pt x="97" y="37"/>
                    <a:pt x="96" y="36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68" y="17"/>
                    <a:pt x="37" y="14"/>
                    <a:pt x="11" y="26"/>
                  </a:cubicBezTo>
                  <a:cubicBezTo>
                    <a:pt x="7" y="27"/>
                    <a:pt x="3" y="26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19"/>
                    <a:pt x="2" y="15"/>
                    <a:pt x="5" y="13"/>
                  </a:cubicBezTo>
                  <a:cubicBezTo>
                    <a:pt x="36" y="0"/>
                    <a:pt x="72" y="4"/>
                    <a:pt x="100" y="23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7" y="27"/>
                    <a:pt x="107" y="31"/>
                    <a:pt x="105" y="35"/>
                  </a:cubicBezTo>
                  <a:cubicBezTo>
                    <a:pt x="104" y="36"/>
                    <a:pt x="102" y="37"/>
                    <a:pt x="100" y="37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Freeform 217">
              <a:extLst>
                <a:ext uri="{FF2B5EF4-FFF2-40B4-BE49-F238E27FC236}">
                  <a16:creationId xmlns:a16="http://schemas.microsoft.com/office/drawing/2014/main" id="{81B2C1E7-0F32-404F-89FA-165FD4CFB5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342581" y="1780314"/>
              <a:ext cx="687444" cy="531408"/>
            </a:xfrm>
            <a:custGeom>
              <a:avLst/>
              <a:gdLst>
                <a:gd name="T0" fmla="*/ 442 w 470"/>
                <a:gd name="T1" fmla="*/ 144 h 363"/>
                <a:gd name="T2" fmla="*/ 379 w 470"/>
                <a:gd name="T3" fmla="*/ 72 h 363"/>
                <a:gd name="T4" fmla="*/ 379 w 470"/>
                <a:gd name="T5" fmla="*/ 72 h 363"/>
                <a:gd name="T6" fmla="*/ 364 w 470"/>
                <a:gd name="T7" fmla="*/ 25 h 363"/>
                <a:gd name="T8" fmla="*/ 300 w 470"/>
                <a:gd name="T9" fmla="*/ 42 h 363"/>
                <a:gd name="T10" fmla="*/ 307 w 470"/>
                <a:gd name="T11" fmla="*/ 0 h 363"/>
                <a:gd name="T12" fmla="*/ 183 w 470"/>
                <a:gd name="T13" fmla="*/ 53 h 363"/>
                <a:gd name="T14" fmla="*/ 209 w 470"/>
                <a:gd name="T15" fmla="*/ 10 h 363"/>
                <a:gd name="T16" fmla="*/ 28 w 470"/>
                <a:gd name="T17" fmla="*/ 144 h 363"/>
                <a:gd name="T18" fmla="*/ 5 w 470"/>
                <a:gd name="T19" fmla="*/ 265 h 363"/>
                <a:gd name="T20" fmla="*/ 16 w 470"/>
                <a:gd name="T21" fmla="*/ 363 h 363"/>
                <a:gd name="T22" fmla="*/ 33 w 470"/>
                <a:gd name="T23" fmla="*/ 363 h 363"/>
                <a:gd name="T24" fmla="*/ 33 w 470"/>
                <a:gd name="T25" fmla="*/ 260 h 363"/>
                <a:gd name="T26" fmla="*/ 45 w 470"/>
                <a:gd name="T27" fmla="*/ 225 h 363"/>
                <a:gd name="T28" fmla="*/ 97 w 470"/>
                <a:gd name="T29" fmla="*/ 158 h 363"/>
                <a:gd name="T30" fmla="*/ 177 w 470"/>
                <a:gd name="T31" fmla="*/ 135 h 363"/>
                <a:gd name="T32" fmla="*/ 205 w 470"/>
                <a:gd name="T33" fmla="*/ 144 h 363"/>
                <a:gd name="T34" fmla="*/ 265 w 470"/>
                <a:gd name="T35" fmla="*/ 144 h 363"/>
                <a:gd name="T36" fmla="*/ 293 w 470"/>
                <a:gd name="T37" fmla="*/ 135 h 363"/>
                <a:gd name="T38" fmla="*/ 373 w 470"/>
                <a:gd name="T39" fmla="*/ 158 h 363"/>
                <a:gd name="T40" fmla="*/ 425 w 470"/>
                <a:gd name="T41" fmla="*/ 225 h 363"/>
                <a:gd name="T42" fmla="*/ 437 w 470"/>
                <a:gd name="T43" fmla="*/ 260 h 363"/>
                <a:gd name="T44" fmla="*/ 437 w 470"/>
                <a:gd name="T45" fmla="*/ 363 h 363"/>
                <a:gd name="T46" fmla="*/ 454 w 470"/>
                <a:gd name="T47" fmla="*/ 363 h 363"/>
                <a:gd name="T48" fmla="*/ 465 w 470"/>
                <a:gd name="T49" fmla="*/ 265 h 363"/>
                <a:gd name="T50" fmla="*/ 442 w 470"/>
                <a:gd name="T51" fmla="*/ 144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70" h="363">
                  <a:moveTo>
                    <a:pt x="442" y="144"/>
                  </a:moveTo>
                  <a:cubicBezTo>
                    <a:pt x="427" y="116"/>
                    <a:pt x="405" y="91"/>
                    <a:pt x="379" y="72"/>
                  </a:cubicBezTo>
                  <a:cubicBezTo>
                    <a:pt x="379" y="72"/>
                    <a:pt x="379" y="72"/>
                    <a:pt x="379" y="72"/>
                  </a:cubicBezTo>
                  <a:cubicBezTo>
                    <a:pt x="361" y="58"/>
                    <a:pt x="351" y="40"/>
                    <a:pt x="364" y="25"/>
                  </a:cubicBezTo>
                  <a:cubicBezTo>
                    <a:pt x="336" y="23"/>
                    <a:pt x="315" y="32"/>
                    <a:pt x="300" y="42"/>
                  </a:cubicBezTo>
                  <a:cubicBezTo>
                    <a:pt x="297" y="34"/>
                    <a:pt x="296" y="21"/>
                    <a:pt x="307" y="0"/>
                  </a:cubicBezTo>
                  <a:cubicBezTo>
                    <a:pt x="207" y="15"/>
                    <a:pt x="183" y="53"/>
                    <a:pt x="183" y="53"/>
                  </a:cubicBezTo>
                  <a:cubicBezTo>
                    <a:pt x="183" y="53"/>
                    <a:pt x="188" y="32"/>
                    <a:pt x="209" y="10"/>
                  </a:cubicBezTo>
                  <a:cubicBezTo>
                    <a:pt x="148" y="14"/>
                    <a:pt x="57" y="93"/>
                    <a:pt x="28" y="144"/>
                  </a:cubicBezTo>
                  <a:cubicBezTo>
                    <a:pt x="7" y="180"/>
                    <a:pt x="0" y="223"/>
                    <a:pt x="5" y="265"/>
                  </a:cubicBezTo>
                  <a:cubicBezTo>
                    <a:pt x="16" y="363"/>
                    <a:pt x="16" y="363"/>
                    <a:pt x="16" y="363"/>
                  </a:cubicBezTo>
                  <a:cubicBezTo>
                    <a:pt x="33" y="363"/>
                    <a:pt x="33" y="363"/>
                    <a:pt x="33" y="363"/>
                  </a:cubicBezTo>
                  <a:cubicBezTo>
                    <a:pt x="33" y="260"/>
                    <a:pt x="33" y="260"/>
                    <a:pt x="33" y="260"/>
                  </a:cubicBezTo>
                  <a:cubicBezTo>
                    <a:pt x="33" y="247"/>
                    <a:pt x="37" y="235"/>
                    <a:pt x="45" y="225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116" y="134"/>
                    <a:pt x="148" y="125"/>
                    <a:pt x="177" y="135"/>
                  </a:cubicBezTo>
                  <a:cubicBezTo>
                    <a:pt x="205" y="144"/>
                    <a:pt x="205" y="144"/>
                    <a:pt x="205" y="144"/>
                  </a:cubicBezTo>
                  <a:cubicBezTo>
                    <a:pt x="225" y="151"/>
                    <a:pt x="246" y="151"/>
                    <a:pt x="265" y="144"/>
                  </a:cubicBezTo>
                  <a:cubicBezTo>
                    <a:pt x="293" y="135"/>
                    <a:pt x="293" y="135"/>
                    <a:pt x="293" y="135"/>
                  </a:cubicBezTo>
                  <a:cubicBezTo>
                    <a:pt x="322" y="125"/>
                    <a:pt x="354" y="134"/>
                    <a:pt x="373" y="158"/>
                  </a:cubicBezTo>
                  <a:cubicBezTo>
                    <a:pt x="425" y="225"/>
                    <a:pt x="425" y="225"/>
                    <a:pt x="425" y="225"/>
                  </a:cubicBezTo>
                  <a:cubicBezTo>
                    <a:pt x="433" y="235"/>
                    <a:pt x="437" y="247"/>
                    <a:pt x="437" y="260"/>
                  </a:cubicBezTo>
                  <a:cubicBezTo>
                    <a:pt x="437" y="363"/>
                    <a:pt x="437" y="363"/>
                    <a:pt x="437" y="363"/>
                  </a:cubicBezTo>
                  <a:cubicBezTo>
                    <a:pt x="454" y="363"/>
                    <a:pt x="454" y="363"/>
                    <a:pt x="454" y="363"/>
                  </a:cubicBezTo>
                  <a:cubicBezTo>
                    <a:pt x="465" y="265"/>
                    <a:pt x="465" y="265"/>
                    <a:pt x="465" y="265"/>
                  </a:cubicBezTo>
                  <a:cubicBezTo>
                    <a:pt x="470" y="223"/>
                    <a:pt x="462" y="181"/>
                    <a:pt x="442" y="144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218">
              <a:extLst>
                <a:ext uri="{FF2B5EF4-FFF2-40B4-BE49-F238E27FC236}">
                  <a16:creationId xmlns:a16="http://schemas.microsoft.com/office/drawing/2014/main" id="{BF308F43-AF05-4DDC-97DF-0488215F7D4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154160" y="2737141"/>
              <a:ext cx="1084895" cy="272328"/>
            </a:xfrm>
            <a:custGeom>
              <a:avLst/>
              <a:gdLst>
                <a:gd name="T0" fmla="*/ 522 w 740"/>
                <a:gd name="T1" fmla="*/ 0 h 186"/>
                <a:gd name="T2" fmla="*/ 439 w 740"/>
                <a:gd name="T3" fmla="*/ 77 h 186"/>
                <a:gd name="T4" fmla="*/ 291 w 740"/>
                <a:gd name="T5" fmla="*/ 78 h 186"/>
                <a:gd name="T6" fmla="*/ 204 w 740"/>
                <a:gd name="T7" fmla="*/ 0 h 186"/>
                <a:gd name="T8" fmla="*/ 0 w 740"/>
                <a:gd name="T9" fmla="*/ 93 h 186"/>
                <a:gd name="T10" fmla="*/ 343 w 740"/>
                <a:gd name="T11" fmla="*/ 185 h 186"/>
                <a:gd name="T12" fmla="*/ 368 w 740"/>
                <a:gd name="T13" fmla="*/ 186 h 186"/>
                <a:gd name="T14" fmla="*/ 740 w 740"/>
                <a:gd name="T15" fmla="*/ 86 h 186"/>
                <a:gd name="T16" fmla="*/ 522 w 740"/>
                <a:gd name="T1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0" h="186">
                  <a:moveTo>
                    <a:pt x="522" y="0"/>
                  </a:moveTo>
                  <a:cubicBezTo>
                    <a:pt x="439" y="77"/>
                    <a:pt x="439" y="77"/>
                    <a:pt x="439" y="77"/>
                  </a:cubicBezTo>
                  <a:cubicBezTo>
                    <a:pt x="397" y="115"/>
                    <a:pt x="333" y="116"/>
                    <a:pt x="291" y="78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103" y="147"/>
                    <a:pt x="220" y="182"/>
                    <a:pt x="343" y="185"/>
                  </a:cubicBezTo>
                  <a:cubicBezTo>
                    <a:pt x="352" y="186"/>
                    <a:pt x="360" y="186"/>
                    <a:pt x="368" y="186"/>
                  </a:cubicBezTo>
                  <a:cubicBezTo>
                    <a:pt x="504" y="186"/>
                    <a:pt x="628" y="147"/>
                    <a:pt x="740" y="86"/>
                  </a:cubicBezTo>
                  <a:lnTo>
                    <a:pt x="522" y="0"/>
                  </a:lnTo>
                  <a:close/>
                </a:path>
              </a:pathLst>
            </a:custGeom>
            <a:solidFill>
              <a:srgbClr val="BCBCB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226">
              <a:extLst>
                <a:ext uri="{FF2B5EF4-FFF2-40B4-BE49-F238E27FC236}">
                  <a16:creationId xmlns:a16="http://schemas.microsoft.com/office/drawing/2014/main" id="{58F7CFBF-EA0C-4CEB-AA23-7E8579DB265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547196" y="1303372"/>
              <a:ext cx="254664" cy="307657"/>
            </a:xfrm>
            <a:custGeom>
              <a:avLst/>
              <a:gdLst>
                <a:gd name="T0" fmla="*/ 174 w 174"/>
                <a:gd name="T1" fmla="*/ 89 h 210"/>
                <a:gd name="T2" fmla="*/ 81 w 174"/>
                <a:gd name="T3" fmla="*/ 3 h 210"/>
                <a:gd name="T4" fmla="*/ 2 w 174"/>
                <a:gd name="T5" fmla="*/ 85 h 210"/>
                <a:gd name="T6" fmla="*/ 28 w 174"/>
                <a:gd name="T7" fmla="*/ 151 h 210"/>
                <a:gd name="T8" fmla="*/ 51 w 174"/>
                <a:gd name="T9" fmla="*/ 208 h 210"/>
                <a:gd name="T10" fmla="*/ 51 w 174"/>
                <a:gd name="T11" fmla="*/ 210 h 210"/>
                <a:gd name="T12" fmla="*/ 124 w 174"/>
                <a:gd name="T13" fmla="*/ 210 h 210"/>
                <a:gd name="T14" fmla="*/ 124 w 174"/>
                <a:gd name="T15" fmla="*/ 208 h 210"/>
                <a:gd name="T16" fmla="*/ 149 w 174"/>
                <a:gd name="T17" fmla="*/ 150 h 210"/>
                <a:gd name="T18" fmla="*/ 174 w 174"/>
                <a:gd name="T19" fmla="*/ 8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210">
                  <a:moveTo>
                    <a:pt x="174" y="89"/>
                  </a:moveTo>
                  <a:cubicBezTo>
                    <a:pt x="174" y="39"/>
                    <a:pt x="132" y="0"/>
                    <a:pt x="81" y="3"/>
                  </a:cubicBezTo>
                  <a:cubicBezTo>
                    <a:pt x="38" y="7"/>
                    <a:pt x="4" y="42"/>
                    <a:pt x="2" y="85"/>
                  </a:cubicBezTo>
                  <a:cubicBezTo>
                    <a:pt x="0" y="111"/>
                    <a:pt x="11" y="135"/>
                    <a:pt x="28" y="151"/>
                  </a:cubicBezTo>
                  <a:cubicBezTo>
                    <a:pt x="43" y="166"/>
                    <a:pt x="51" y="187"/>
                    <a:pt x="51" y="208"/>
                  </a:cubicBezTo>
                  <a:cubicBezTo>
                    <a:pt x="51" y="210"/>
                    <a:pt x="51" y="210"/>
                    <a:pt x="51" y="210"/>
                  </a:cubicBezTo>
                  <a:cubicBezTo>
                    <a:pt x="124" y="210"/>
                    <a:pt x="124" y="210"/>
                    <a:pt x="124" y="210"/>
                  </a:cubicBezTo>
                  <a:cubicBezTo>
                    <a:pt x="124" y="208"/>
                    <a:pt x="124" y="208"/>
                    <a:pt x="124" y="208"/>
                  </a:cubicBezTo>
                  <a:cubicBezTo>
                    <a:pt x="124" y="186"/>
                    <a:pt x="133" y="166"/>
                    <a:pt x="149" y="150"/>
                  </a:cubicBezTo>
                  <a:cubicBezTo>
                    <a:pt x="164" y="135"/>
                    <a:pt x="174" y="113"/>
                    <a:pt x="174" y="89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Freeform 227">
              <a:extLst>
                <a:ext uri="{FF2B5EF4-FFF2-40B4-BE49-F238E27FC236}">
                  <a16:creationId xmlns:a16="http://schemas.microsoft.com/office/drawing/2014/main" id="{21A671EE-BD85-4232-9D35-23D05A0B361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8610493" y="1404942"/>
              <a:ext cx="55938" cy="236999"/>
            </a:xfrm>
            <a:custGeom>
              <a:avLst/>
              <a:gdLst>
                <a:gd name="T0" fmla="*/ 33 w 38"/>
                <a:gd name="T1" fmla="*/ 39 h 162"/>
                <a:gd name="T2" fmla="*/ 33 w 38"/>
                <a:gd name="T3" fmla="*/ 32 h 162"/>
                <a:gd name="T4" fmla="*/ 33 w 38"/>
                <a:gd name="T5" fmla="*/ 32 h 162"/>
                <a:gd name="T6" fmla="*/ 33 w 38"/>
                <a:gd name="T7" fmla="*/ 16 h 162"/>
                <a:gd name="T8" fmla="*/ 16 w 38"/>
                <a:gd name="T9" fmla="*/ 0 h 162"/>
                <a:gd name="T10" fmla="*/ 0 w 38"/>
                <a:gd name="T11" fmla="*/ 16 h 162"/>
                <a:gd name="T12" fmla="*/ 0 w 38"/>
                <a:gd name="T13" fmla="*/ 17 h 162"/>
                <a:gd name="T14" fmla="*/ 10 w 38"/>
                <a:gd name="T15" fmla="*/ 32 h 162"/>
                <a:gd name="T16" fmla="*/ 10 w 38"/>
                <a:gd name="T17" fmla="*/ 32 h 162"/>
                <a:gd name="T18" fmla="*/ 27 w 38"/>
                <a:gd name="T19" fmla="*/ 37 h 162"/>
                <a:gd name="T20" fmla="*/ 31 w 38"/>
                <a:gd name="T21" fmla="*/ 162 h 162"/>
                <a:gd name="T22" fmla="*/ 38 w 38"/>
                <a:gd name="T23" fmla="*/ 162 h 162"/>
                <a:gd name="T24" fmla="*/ 33 w 38"/>
                <a:gd name="T25" fmla="*/ 39 h 162"/>
                <a:gd name="T26" fmla="*/ 33 w 38"/>
                <a:gd name="T27" fmla="*/ 39 h 162"/>
                <a:gd name="T28" fmla="*/ 13 w 38"/>
                <a:gd name="T29" fmla="*/ 26 h 162"/>
                <a:gd name="T30" fmla="*/ 12 w 38"/>
                <a:gd name="T31" fmla="*/ 26 h 162"/>
                <a:gd name="T32" fmla="*/ 6 w 38"/>
                <a:gd name="T33" fmla="*/ 17 h 162"/>
                <a:gd name="T34" fmla="*/ 6 w 38"/>
                <a:gd name="T35" fmla="*/ 16 h 162"/>
                <a:gd name="T36" fmla="*/ 16 w 38"/>
                <a:gd name="T37" fmla="*/ 6 h 162"/>
                <a:gd name="T38" fmla="*/ 26 w 38"/>
                <a:gd name="T39" fmla="*/ 16 h 162"/>
                <a:gd name="T40" fmla="*/ 26 w 38"/>
                <a:gd name="T41" fmla="*/ 31 h 162"/>
                <a:gd name="T42" fmla="*/ 13 w 38"/>
                <a:gd name="T43" fmla="*/ 2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162">
                  <a:moveTo>
                    <a:pt x="33" y="39"/>
                  </a:move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4"/>
                    <a:pt x="4" y="30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6" y="35"/>
                    <a:pt x="21" y="36"/>
                    <a:pt x="27" y="37"/>
                  </a:cubicBezTo>
                  <a:cubicBezTo>
                    <a:pt x="31" y="162"/>
                    <a:pt x="31" y="162"/>
                    <a:pt x="31" y="162"/>
                  </a:cubicBezTo>
                  <a:cubicBezTo>
                    <a:pt x="38" y="162"/>
                    <a:pt x="38" y="162"/>
                    <a:pt x="38" y="162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39"/>
                    <a:pt x="33" y="39"/>
                    <a:pt x="33" y="39"/>
                  </a:cubicBezTo>
                  <a:close/>
                  <a:moveTo>
                    <a:pt x="13" y="26"/>
                  </a:moveTo>
                  <a:cubicBezTo>
                    <a:pt x="12" y="26"/>
                    <a:pt x="12" y="26"/>
                    <a:pt x="12" y="26"/>
                  </a:cubicBezTo>
                  <a:cubicBezTo>
                    <a:pt x="9" y="25"/>
                    <a:pt x="6" y="21"/>
                    <a:pt x="6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1"/>
                    <a:pt x="11" y="6"/>
                    <a:pt x="16" y="6"/>
                  </a:cubicBezTo>
                  <a:cubicBezTo>
                    <a:pt x="22" y="6"/>
                    <a:pt x="26" y="11"/>
                    <a:pt x="26" y="16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0"/>
                    <a:pt x="17" y="28"/>
                    <a:pt x="13" y="26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Freeform 228">
              <a:extLst>
                <a:ext uri="{FF2B5EF4-FFF2-40B4-BE49-F238E27FC236}">
                  <a16:creationId xmlns:a16="http://schemas.microsoft.com/office/drawing/2014/main" id="{3617B01C-6FB4-4EA0-8B4B-A5B6AB1E93A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66431" y="1404942"/>
              <a:ext cx="75075" cy="236999"/>
            </a:xfrm>
            <a:custGeom>
              <a:avLst/>
              <a:gdLst>
                <a:gd name="T0" fmla="*/ 36 w 52"/>
                <a:gd name="T1" fmla="*/ 0 h 162"/>
                <a:gd name="T2" fmla="*/ 35 w 52"/>
                <a:gd name="T3" fmla="*/ 0 h 162"/>
                <a:gd name="T4" fmla="*/ 19 w 52"/>
                <a:gd name="T5" fmla="*/ 16 h 162"/>
                <a:gd name="T6" fmla="*/ 18 w 52"/>
                <a:gd name="T7" fmla="*/ 32 h 162"/>
                <a:gd name="T8" fmla="*/ 0 w 52"/>
                <a:gd name="T9" fmla="*/ 32 h 162"/>
                <a:gd name="T10" fmla="*/ 0 w 52"/>
                <a:gd name="T11" fmla="*/ 39 h 162"/>
                <a:gd name="T12" fmla="*/ 18 w 52"/>
                <a:gd name="T13" fmla="*/ 39 h 162"/>
                <a:gd name="T14" fmla="*/ 14 w 52"/>
                <a:gd name="T15" fmla="*/ 162 h 162"/>
                <a:gd name="T16" fmla="*/ 20 w 52"/>
                <a:gd name="T17" fmla="*/ 162 h 162"/>
                <a:gd name="T18" fmla="*/ 25 w 52"/>
                <a:gd name="T19" fmla="*/ 38 h 162"/>
                <a:gd name="T20" fmla="*/ 25 w 52"/>
                <a:gd name="T21" fmla="*/ 31 h 162"/>
                <a:gd name="T22" fmla="*/ 25 w 52"/>
                <a:gd name="T23" fmla="*/ 16 h 162"/>
                <a:gd name="T24" fmla="*/ 35 w 52"/>
                <a:gd name="T25" fmla="*/ 6 h 162"/>
                <a:gd name="T26" fmla="*/ 36 w 52"/>
                <a:gd name="T27" fmla="*/ 6 h 162"/>
                <a:gd name="T28" fmla="*/ 45 w 52"/>
                <a:gd name="T29" fmla="*/ 16 h 162"/>
                <a:gd name="T30" fmla="*/ 45 w 52"/>
                <a:gd name="T31" fmla="*/ 17 h 162"/>
                <a:gd name="T32" fmla="*/ 39 w 52"/>
                <a:gd name="T33" fmla="*/ 26 h 162"/>
                <a:gd name="T34" fmla="*/ 31 w 52"/>
                <a:gd name="T35" fmla="*/ 29 h 162"/>
                <a:gd name="T36" fmla="*/ 30 w 52"/>
                <a:gd name="T37" fmla="*/ 36 h 162"/>
                <a:gd name="T38" fmla="*/ 42 w 52"/>
                <a:gd name="T39" fmla="*/ 32 h 162"/>
                <a:gd name="T40" fmla="*/ 52 w 52"/>
                <a:gd name="T41" fmla="*/ 17 h 162"/>
                <a:gd name="T42" fmla="*/ 52 w 52"/>
                <a:gd name="T43" fmla="*/ 16 h 162"/>
                <a:gd name="T44" fmla="*/ 36 w 52"/>
                <a:gd name="T45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162">
                  <a:moveTo>
                    <a:pt x="36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26" y="0"/>
                    <a:pt x="19" y="7"/>
                    <a:pt x="19" y="16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2" y="33"/>
                    <a:pt x="6" y="33"/>
                    <a:pt x="0" y="32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6" y="39"/>
                    <a:pt x="12" y="39"/>
                    <a:pt x="18" y="39"/>
                  </a:cubicBezTo>
                  <a:cubicBezTo>
                    <a:pt x="14" y="162"/>
                    <a:pt x="14" y="162"/>
                    <a:pt x="14" y="162"/>
                  </a:cubicBezTo>
                  <a:cubicBezTo>
                    <a:pt x="20" y="162"/>
                    <a:pt x="20" y="162"/>
                    <a:pt x="20" y="162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1"/>
                    <a:pt x="30" y="6"/>
                    <a:pt x="35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41" y="6"/>
                    <a:pt x="45" y="11"/>
                    <a:pt x="45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21"/>
                    <a:pt x="43" y="25"/>
                    <a:pt x="39" y="26"/>
                  </a:cubicBezTo>
                  <a:cubicBezTo>
                    <a:pt x="37" y="27"/>
                    <a:pt x="34" y="28"/>
                    <a:pt x="31" y="29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4" y="35"/>
                    <a:pt x="38" y="34"/>
                    <a:pt x="42" y="32"/>
                  </a:cubicBezTo>
                  <a:cubicBezTo>
                    <a:pt x="48" y="30"/>
                    <a:pt x="52" y="24"/>
                    <a:pt x="52" y="17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7"/>
                    <a:pt x="45" y="0"/>
                    <a:pt x="36" y="0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Freeform 229">
              <a:extLst>
                <a:ext uri="{FF2B5EF4-FFF2-40B4-BE49-F238E27FC236}">
                  <a16:creationId xmlns:a16="http://schemas.microsoft.com/office/drawing/2014/main" id="{279A7AB2-0437-4DBF-A10B-4BCAAEED151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22269" y="1608084"/>
              <a:ext cx="107460" cy="91267"/>
            </a:xfrm>
            <a:custGeom>
              <a:avLst/>
              <a:gdLst>
                <a:gd name="T0" fmla="*/ 0 w 74"/>
                <a:gd name="T1" fmla="*/ 0 h 62"/>
                <a:gd name="T2" fmla="*/ 0 w 74"/>
                <a:gd name="T3" fmla="*/ 41 h 62"/>
                <a:gd name="T4" fmla="*/ 11 w 74"/>
                <a:gd name="T5" fmla="*/ 52 h 62"/>
                <a:gd name="T6" fmla="*/ 26 w 74"/>
                <a:gd name="T7" fmla="*/ 52 h 62"/>
                <a:gd name="T8" fmla="*/ 26 w 74"/>
                <a:gd name="T9" fmla="*/ 62 h 62"/>
                <a:gd name="T10" fmla="*/ 48 w 74"/>
                <a:gd name="T11" fmla="*/ 62 h 62"/>
                <a:gd name="T12" fmla="*/ 48 w 74"/>
                <a:gd name="T13" fmla="*/ 52 h 62"/>
                <a:gd name="T14" fmla="*/ 63 w 74"/>
                <a:gd name="T15" fmla="*/ 52 h 62"/>
                <a:gd name="T16" fmla="*/ 74 w 74"/>
                <a:gd name="T17" fmla="*/ 41 h 62"/>
                <a:gd name="T18" fmla="*/ 74 w 74"/>
                <a:gd name="T19" fmla="*/ 0 h 62"/>
                <a:gd name="T20" fmla="*/ 0 w 74"/>
                <a:gd name="T2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62">
                  <a:moveTo>
                    <a:pt x="0" y="0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47"/>
                    <a:pt x="5" y="52"/>
                    <a:pt x="11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62"/>
                    <a:pt x="26" y="62"/>
                    <a:pt x="26" y="62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9" y="52"/>
                    <a:pt x="74" y="47"/>
                    <a:pt x="74" y="41"/>
                  </a:cubicBezTo>
                  <a:cubicBezTo>
                    <a:pt x="74" y="0"/>
                    <a:pt x="74" y="0"/>
                    <a:pt x="7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Rectangle 230">
              <a:extLst>
                <a:ext uri="{FF2B5EF4-FFF2-40B4-BE49-F238E27FC236}">
                  <a16:creationId xmlns:a16="http://schemas.microsoft.com/office/drawing/2014/main" id="{69BE57A4-2B8B-4B92-A7AD-A7E9DF7089A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622269" y="1625749"/>
              <a:ext cx="83907" cy="11776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Rectangle 231">
              <a:extLst>
                <a:ext uri="{FF2B5EF4-FFF2-40B4-BE49-F238E27FC236}">
                  <a16:creationId xmlns:a16="http://schemas.microsoft.com/office/drawing/2014/main" id="{0F4B8F12-3A7A-4490-AD17-F5E43F98E5D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622269" y="1652245"/>
              <a:ext cx="83907" cy="11776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17" name="Group 416">
              <a:extLst>
                <a:ext uri="{FF2B5EF4-FFF2-40B4-BE49-F238E27FC236}">
                  <a16:creationId xmlns:a16="http://schemas.microsoft.com/office/drawing/2014/main" id="{19BACEB7-DBC4-489F-AEDD-8E053445D3AF}"/>
                </a:ext>
              </a:extLst>
            </p:cNvPr>
            <p:cNvGrpSpPr/>
            <p:nvPr userDrawn="1"/>
          </p:nvGrpSpPr>
          <p:grpSpPr bwMode="gray">
            <a:xfrm>
              <a:off x="8784195" y="3733713"/>
              <a:ext cx="331210" cy="328266"/>
              <a:chOff x="8514312" y="3838575"/>
              <a:chExt cx="357188" cy="354013"/>
            </a:xfrm>
          </p:grpSpPr>
          <p:sp>
            <p:nvSpPr>
              <p:cNvPr id="421" name="Oval 247">
                <a:extLst>
                  <a:ext uri="{FF2B5EF4-FFF2-40B4-BE49-F238E27FC236}">
                    <a16:creationId xmlns:a16="http://schemas.microsoft.com/office/drawing/2014/main" id="{EEA1C051-8AF3-4B6C-9CC7-16D0DA84710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8514312" y="3838575"/>
                <a:ext cx="357188" cy="354013"/>
              </a:xfrm>
              <a:prstGeom prst="ellipse">
                <a:avLst/>
              </a:prstGeom>
              <a:noFill/>
              <a:ln w="269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248">
                <a:extLst>
                  <a:ext uri="{FF2B5EF4-FFF2-40B4-BE49-F238E27FC236}">
                    <a16:creationId xmlns:a16="http://schemas.microsoft.com/office/drawing/2014/main" id="{0F884439-FB53-4B20-93B0-99135C5078E5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8525425" y="3846512"/>
                <a:ext cx="334963" cy="336550"/>
              </a:xfrm>
              <a:custGeom>
                <a:avLst/>
                <a:gdLst>
                  <a:gd name="T0" fmla="*/ 106 w 212"/>
                  <a:gd name="T1" fmla="*/ 213 h 213"/>
                  <a:gd name="T2" fmla="*/ 0 w 212"/>
                  <a:gd name="T3" fmla="*/ 107 h 213"/>
                  <a:gd name="T4" fmla="*/ 106 w 212"/>
                  <a:gd name="T5" fmla="*/ 0 h 213"/>
                  <a:gd name="T6" fmla="*/ 212 w 212"/>
                  <a:gd name="T7" fmla="*/ 107 h 213"/>
                  <a:gd name="T8" fmla="*/ 106 w 212"/>
                  <a:gd name="T9" fmla="*/ 213 h 213"/>
                  <a:gd name="T10" fmla="*/ 106 w 212"/>
                  <a:gd name="T11" fmla="*/ 24 h 213"/>
                  <a:gd name="T12" fmla="*/ 23 w 212"/>
                  <a:gd name="T13" fmla="*/ 107 h 213"/>
                  <a:gd name="T14" fmla="*/ 106 w 212"/>
                  <a:gd name="T15" fmla="*/ 190 h 213"/>
                  <a:gd name="T16" fmla="*/ 189 w 212"/>
                  <a:gd name="T17" fmla="*/ 107 h 213"/>
                  <a:gd name="T18" fmla="*/ 106 w 212"/>
                  <a:gd name="T19" fmla="*/ 2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2" h="213">
                    <a:moveTo>
                      <a:pt x="106" y="213"/>
                    </a:moveTo>
                    <a:cubicBezTo>
                      <a:pt x="47" y="213"/>
                      <a:pt x="0" y="165"/>
                      <a:pt x="0" y="107"/>
                    </a:cubicBezTo>
                    <a:cubicBezTo>
                      <a:pt x="0" y="48"/>
                      <a:pt x="47" y="0"/>
                      <a:pt x="106" y="0"/>
                    </a:cubicBezTo>
                    <a:cubicBezTo>
                      <a:pt x="165" y="0"/>
                      <a:pt x="212" y="48"/>
                      <a:pt x="212" y="107"/>
                    </a:cubicBezTo>
                    <a:cubicBezTo>
                      <a:pt x="212" y="165"/>
                      <a:pt x="165" y="213"/>
                      <a:pt x="106" y="213"/>
                    </a:cubicBezTo>
                    <a:close/>
                    <a:moveTo>
                      <a:pt x="106" y="24"/>
                    </a:moveTo>
                    <a:cubicBezTo>
                      <a:pt x="60" y="24"/>
                      <a:pt x="23" y="61"/>
                      <a:pt x="23" y="107"/>
                    </a:cubicBezTo>
                    <a:cubicBezTo>
                      <a:pt x="23" y="152"/>
                      <a:pt x="60" y="190"/>
                      <a:pt x="106" y="190"/>
                    </a:cubicBezTo>
                    <a:cubicBezTo>
                      <a:pt x="152" y="190"/>
                      <a:pt x="189" y="152"/>
                      <a:pt x="189" y="107"/>
                    </a:cubicBezTo>
                    <a:cubicBezTo>
                      <a:pt x="189" y="61"/>
                      <a:pt x="152" y="24"/>
                      <a:pt x="106" y="24"/>
                    </a:cubicBezTo>
                    <a:close/>
                  </a:path>
                </a:pathLst>
              </a:custGeom>
              <a:solidFill>
                <a:srgbClr val="0048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18" name="globe_2">
              <a:extLst>
                <a:ext uri="{FF2B5EF4-FFF2-40B4-BE49-F238E27FC236}">
                  <a16:creationId xmlns:a16="http://schemas.microsoft.com/office/drawing/2014/main" id="{87CA570B-EFDC-42F0-9D8F-2899D4EF5265}"/>
                </a:ext>
              </a:extLst>
            </p:cNvPr>
            <p:cNvSpPr>
              <a:spLocks noChangeAspect="1" noEditPoints="1"/>
            </p:cNvSpPr>
            <p:nvPr userDrawn="1"/>
          </p:nvSpPr>
          <p:spPr bwMode="gray">
            <a:xfrm>
              <a:off x="8873025" y="3083071"/>
              <a:ext cx="297353" cy="297353"/>
            </a:xfrm>
            <a:custGeom>
              <a:avLst/>
              <a:gdLst>
                <a:gd name="T0" fmla="*/ 0 w 335"/>
                <a:gd name="T1" fmla="*/ 168 h 335"/>
                <a:gd name="T2" fmla="*/ 168 w 335"/>
                <a:gd name="T3" fmla="*/ 0 h 335"/>
                <a:gd name="T4" fmla="*/ 335 w 335"/>
                <a:gd name="T5" fmla="*/ 168 h 335"/>
                <a:gd name="T6" fmla="*/ 168 w 335"/>
                <a:gd name="T7" fmla="*/ 335 h 335"/>
                <a:gd name="T8" fmla="*/ 0 w 335"/>
                <a:gd name="T9" fmla="*/ 168 h 335"/>
                <a:gd name="T10" fmla="*/ 168 w 335"/>
                <a:gd name="T11" fmla="*/ 335 h 335"/>
                <a:gd name="T12" fmla="*/ 253 w 335"/>
                <a:gd name="T13" fmla="*/ 168 h 335"/>
                <a:gd name="T14" fmla="*/ 168 w 335"/>
                <a:gd name="T15" fmla="*/ 0 h 335"/>
                <a:gd name="T16" fmla="*/ 82 w 335"/>
                <a:gd name="T17" fmla="*/ 168 h 335"/>
                <a:gd name="T18" fmla="*/ 168 w 335"/>
                <a:gd name="T19" fmla="*/ 335 h 335"/>
                <a:gd name="T20" fmla="*/ 8 w 335"/>
                <a:gd name="T21" fmla="*/ 116 h 335"/>
                <a:gd name="T22" fmla="*/ 327 w 335"/>
                <a:gd name="T23" fmla="*/ 116 h 335"/>
                <a:gd name="T24" fmla="*/ 9 w 335"/>
                <a:gd name="T25" fmla="*/ 221 h 335"/>
                <a:gd name="T26" fmla="*/ 326 w 335"/>
                <a:gd name="T27" fmla="*/ 221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5" h="335">
                  <a:moveTo>
                    <a:pt x="0" y="168"/>
                  </a:moveTo>
                  <a:cubicBezTo>
                    <a:pt x="0" y="75"/>
                    <a:pt x="75" y="0"/>
                    <a:pt x="168" y="0"/>
                  </a:cubicBezTo>
                  <a:cubicBezTo>
                    <a:pt x="260" y="0"/>
                    <a:pt x="335" y="75"/>
                    <a:pt x="335" y="168"/>
                  </a:cubicBezTo>
                  <a:cubicBezTo>
                    <a:pt x="335" y="260"/>
                    <a:pt x="260" y="335"/>
                    <a:pt x="168" y="335"/>
                  </a:cubicBezTo>
                  <a:cubicBezTo>
                    <a:pt x="75" y="335"/>
                    <a:pt x="0" y="260"/>
                    <a:pt x="0" y="168"/>
                  </a:cubicBezTo>
                  <a:close/>
                  <a:moveTo>
                    <a:pt x="168" y="335"/>
                  </a:moveTo>
                  <a:cubicBezTo>
                    <a:pt x="215" y="335"/>
                    <a:pt x="253" y="260"/>
                    <a:pt x="253" y="168"/>
                  </a:cubicBezTo>
                  <a:cubicBezTo>
                    <a:pt x="253" y="75"/>
                    <a:pt x="215" y="0"/>
                    <a:pt x="168" y="0"/>
                  </a:cubicBezTo>
                  <a:cubicBezTo>
                    <a:pt x="120" y="0"/>
                    <a:pt x="82" y="75"/>
                    <a:pt x="82" y="168"/>
                  </a:cubicBezTo>
                  <a:cubicBezTo>
                    <a:pt x="82" y="260"/>
                    <a:pt x="120" y="335"/>
                    <a:pt x="168" y="335"/>
                  </a:cubicBezTo>
                  <a:close/>
                  <a:moveTo>
                    <a:pt x="8" y="116"/>
                  </a:moveTo>
                  <a:cubicBezTo>
                    <a:pt x="327" y="116"/>
                    <a:pt x="327" y="116"/>
                    <a:pt x="327" y="116"/>
                  </a:cubicBezTo>
                  <a:moveTo>
                    <a:pt x="9" y="221"/>
                  </a:moveTo>
                  <a:cubicBezTo>
                    <a:pt x="326" y="221"/>
                    <a:pt x="326" y="221"/>
                    <a:pt x="326" y="221"/>
                  </a:cubicBezTo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9DA22A6-1F94-4610-8378-E5846154CF0C}"/>
                </a:ext>
              </a:extLst>
            </p:cNvPr>
            <p:cNvGrpSpPr/>
            <p:nvPr userDrawn="1"/>
          </p:nvGrpSpPr>
          <p:grpSpPr bwMode="gray">
            <a:xfrm>
              <a:off x="7821007" y="4791586"/>
              <a:ext cx="910764" cy="590812"/>
              <a:chOff x="7097837" y="11536689"/>
              <a:chExt cx="990706" cy="642670"/>
            </a:xfrm>
            <a:solidFill>
              <a:srgbClr val="BCBCBC"/>
            </a:solidFill>
          </p:grpSpPr>
          <p:sp>
            <p:nvSpPr>
              <p:cNvPr id="429" name="Freeform 57">
                <a:extLst>
                  <a:ext uri="{FF2B5EF4-FFF2-40B4-BE49-F238E27FC236}">
                    <a16:creationId xmlns:a16="http://schemas.microsoft.com/office/drawing/2014/main" id="{DCEBF9EB-0864-4593-B5E4-F83859F27CE0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7097837" y="11536689"/>
                <a:ext cx="990706" cy="642670"/>
              </a:xfrm>
              <a:custGeom>
                <a:avLst/>
                <a:gdLst>
                  <a:gd name="T0" fmla="*/ 523 w 613"/>
                  <a:gd name="T1" fmla="*/ 40 h 398"/>
                  <a:gd name="T2" fmla="*/ 573 w 613"/>
                  <a:gd name="T3" fmla="*/ 89 h 398"/>
                  <a:gd name="T4" fmla="*/ 573 w 613"/>
                  <a:gd name="T5" fmla="*/ 309 h 398"/>
                  <a:gd name="T6" fmla="*/ 523 w 613"/>
                  <a:gd name="T7" fmla="*/ 358 h 398"/>
                  <a:gd name="T8" fmla="*/ 133 w 613"/>
                  <a:gd name="T9" fmla="*/ 358 h 398"/>
                  <a:gd name="T10" fmla="*/ 162 w 613"/>
                  <a:gd name="T11" fmla="*/ 270 h 398"/>
                  <a:gd name="T12" fmla="*/ 162 w 613"/>
                  <a:gd name="T13" fmla="*/ 89 h 398"/>
                  <a:gd name="T14" fmla="*/ 212 w 613"/>
                  <a:gd name="T15" fmla="*/ 40 h 398"/>
                  <a:gd name="T16" fmla="*/ 523 w 613"/>
                  <a:gd name="T17" fmla="*/ 40 h 398"/>
                  <a:gd name="T18" fmla="*/ 523 w 613"/>
                  <a:gd name="T19" fmla="*/ 0 h 398"/>
                  <a:gd name="T20" fmla="*/ 212 w 613"/>
                  <a:gd name="T21" fmla="*/ 0 h 398"/>
                  <a:gd name="T22" fmla="*/ 122 w 613"/>
                  <a:gd name="T23" fmla="*/ 89 h 398"/>
                  <a:gd name="T24" fmla="*/ 122 w 613"/>
                  <a:gd name="T25" fmla="*/ 270 h 398"/>
                  <a:gd name="T26" fmla="*/ 64 w 613"/>
                  <a:gd name="T27" fmla="*/ 365 h 398"/>
                  <a:gd name="T28" fmla="*/ 0 w 613"/>
                  <a:gd name="T29" fmla="*/ 398 h 398"/>
                  <a:gd name="T30" fmla="*/ 523 w 613"/>
                  <a:gd name="T31" fmla="*/ 398 h 398"/>
                  <a:gd name="T32" fmla="*/ 613 w 613"/>
                  <a:gd name="T33" fmla="*/ 309 h 398"/>
                  <a:gd name="T34" fmla="*/ 613 w 613"/>
                  <a:gd name="T35" fmla="*/ 89 h 398"/>
                  <a:gd name="T36" fmla="*/ 523 w 613"/>
                  <a:gd name="T37" fmla="*/ 0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3" h="398">
                    <a:moveTo>
                      <a:pt x="523" y="40"/>
                    </a:moveTo>
                    <a:cubicBezTo>
                      <a:pt x="551" y="40"/>
                      <a:pt x="573" y="62"/>
                      <a:pt x="573" y="89"/>
                    </a:cubicBezTo>
                    <a:cubicBezTo>
                      <a:pt x="573" y="309"/>
                      <a:pt x="573" y="309"/>
                      <a:pt x="573" y="309"/>
                    </a:cubicBezTo>
                    <a:cubicBezTo>
                      <a:pt x="573" y="336"/>
                      <a:pt x="551" y="358"/>
                      <a:pt x="523" y="358"/>
                    </a:cubicBezTo>
                    <a:cubicBezTo>
                      <a:pt x="133" y="358"/>
                      <a:pt x="133" y="358"/>
                      <a:pt x="133" y="358"/>
                    </a:cubicBezTo>
                    <a:cubicBezTo>
                      <a:pt x="152" y="333"/>
                      <a:pt x="162" y="302"/>
                      <a:pt x="162" y="270"/>
                    </a:cubicBezTo>
                    <a:cubicBezTo>
                      <a:pt x="162" y="89"/>
                      <a:pt x="162" y="89"/>
                      <a:pt x="162" y="89"/>
                    </a:cubicBezTo>
                    <a:cubicBezTo>
                      <a:pt x="162" y="62"/>
                      <a:pt x="185" y="40"/>
                      <a:pt x="212" y="40"/>
                    </a:cubicBezTo>
                    <a:cubicBezTo>
                      <a:pt x="523" y="40"/>
                      <a:pt x="523" y="40"/>
                      <a:pt x="523" y="40"/>
                    </a:cubicBezTo>
                    <a:moveTo>
                      <a:pt x="523" y="0"/>
                    </a:moveTo>
                    <a:cubicBezTo>
                      <a:pt x="212" y="0"/>
                      <a:pt x="212" y="0"/>
                      <a:pt x="212" y="0"/>
                    </a:cubicBezTo>
                    <a:cubicBezTo>
                      <a:pt x="162" y="0"/>
                      <a:pt x="122" y="40"/>
                      <a:pt x="122" y="89"/>
                    </a:cubicBezTo>
                    <a:cubicBezTo>
                      <a:pt x="122" y="270"/>
                      <a:pt x="122" y="270"/>
                      <a:pt x="122" y="270"/>
                    </a:cubicBezTo>
                    <a:cubicBezTo>
                      <a:pt x="122" y="310"/>
                      <a:pt x="100" y="347"/>
                      <a:pt x="64" y="365"/>
                    </a:cubicBezTo>
                    <a:cubicBezTo>
                      <a:pt x="0" y="398"/>
                      <a:pt x="0" y="398"/>
                      <a:pt x="0" y="398"/>
                    </a:cubicBezTo>
                    <a:cubicBezTo>
                      <a:pt x="523" y="398"/>
                      <a:pt x="523" y="398"/>
                      <a:pt x="523" y="398"/>
                    </a:cubicBezTo>
                    <a:cubicBezTo>
                      <a:pt x="573" y="398"/>
                      <a:pt x="613" y="358"/>
                      <a:pt x="613" y="309"/>
                    </a:cubicBezTo>
                    <a:cubicBezTo>
                      <a:pt x="613" y="89"/>
                      <a:pt x="613" y="89"/>
                      <a:pt x="613" y="89"/>
                    </a:cubicBezTo>
                    <a:cubicBezTo>
                      <a:pt x="613" y="40"/>
                      <a:pt x="573" y="0"/>
                      <a:pt x="5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Oval 58">
                <a:extLst>
                  <a:ext uri="{FF2B5EF4-FFF2-40B4-BE49-F238E27FC236}">
                    <a16:creationId xmlns:a16="http://schemas.microsoft.com/office/drawing/2014/main" id="{4AD0D32E-1EFF-4EDE-B7BD-DF32FD6461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639227" y="11752139"/>
                <a:ext cx="92073" cy="9207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Oval 59">
                <a:extLst>
                  <a:ext uri="{FF2B5EF4-FFF2-40B4-BE49-F238E27FC236}">
                    <a16:creationId xmlns:a16="http://schemas.microsoft.com/office/drawing/2014/main" id="{BEC8958F-3F22-4EF8-8974-2B8967C0A15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444032" y="11816591"/>
                <a:ext cx="92073" cy="9207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Oval 60">
                <a:extLst>
                  <a:ext uri="{FF2B5EF4-FFF2-40B4-BE49-F238E27FC236}">
                    <a16:creationId xmlns:a16="http://schemas.microsoft.com/office/drawing/2014/main" id="{354E0400-1433-4035-8F1A-C29C7AC8109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7832581" y="11816591"/>
                <a:ext cx="92073" cy="9207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67" name="Freeform 197">
              <a:extLst>
                <a:ext uri="{FF2B5EF4-FFF2-40B4-BE49-F238E27FC236}">
                  <a16:creationId xmlns:a16="http://schemas.microsoft.com/office/drawing/2014/main" id="{77316956-3479-42CD-96DD-191756BEDE8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669375" y="2326441"/>
              <a:ext cx="1052510" cy="681556"/>
            </a:xfrm>
            <a:custGeom>
              <a:avLst/>
              <a:gdLst>
                <a:gd name="T0" fmla="*/ 719 w 719"/>
                <a:gd name="T1" fmla="*/ 0 h 465"/>
                <a:gd name="T2" fmla="*/ 0 w 719"/>
                <a:gd name="T3" fmla="*/ 465 h 465"/>
                <a:gd name="T4" fmla="*/ 23 w 719"/>
                <a:gd name="T5" fmla="*/ 465 h 465"/>
                <a:gd name="T6" fmla="*/ 719 w 719"/>
                <a:gd name="T7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9" h="465">
                  <a:moveTo>
                    <a:pt x="719" y="0"/>
                  </a:moveTo>
                  <a:cubicBezTo>
                    <a:pt x="414" y="37"/>
                    <a:pt x="152" y="214"/>
                    <a:pt x="0" y="465"/>
                  </a:cubicBezTo>
                  <a:cubicBezTo>
                    <a:pt x="8" y="465"/>
                    <a:pt x="15" y="465"/>
                    <a:pt x="23" y="465"/>
                  </a:cubicBezTo>
                  <a:cubicBezTo>
                    <a:pt x="337" y="465"/>
                    <a:pt x="606" y="273"/>
                    <a:pt x="719" y="0"/>
                  </a:cubicBezTo>
                  <a:close/>
                </a:path>
              </a:pathLst>
            </a:custGeom>
            <a:solidFill>
              <a:srgbClr val="1DB0E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60847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89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025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7" name="MS logo gray - E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2213E81-3D72-4217-853E-A665D5126B35}"/>
              </a:ext>
            </a:extLst>
          </p:cNvPr>
          <p:cNvSpPr/>
          <p:nvPr userDrawn="1"/>
        </p:nvSpPr>
        <p:spPr bwMode="auto">
          <a:xfrm>
            <a:off x="79513" y="6568489"/>
            <a:ext cx="1948070" cy="2895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1344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325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2232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3994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5270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9177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594038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420939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531509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7087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3800876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A9FC10D-1F1A-4128-9CBE-F2FDE510B6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7"/>
          <a:stretch/>
        </p:blipFill>
        <p:spPr>
          <a:xfrm flipH="1">
            <a:off x="-1" y="-15949"/>
            <a:ext cx="12217695" cy="687926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65B6F04-C382-4339-A776-3ACB195F1339}"/>
              </a:ext>
            </a:extLst>
          </p:cNvPr>
          <p:cNvSpPr/>
          <p:nvPr userDrawn="1"/>
        </p:nvSpPr>
        <p:spPr bwMode="auto">
          <a:xfrm>
            <a:off x="0" y="0"/>
            <a:ext cx="12217694" cy="6858000"/>
          </a:xfrm>
          <a:prstGeom prst="rect">
            <a:avLst/>
          </a:prstGeom>
          <a:solidFill>
            <a:srgbClr val="003C6C">
              <a:alpha val="30196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0" y="0"/>
            <a:ext cx="7545634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37000"/>
                </a:srgbClr>
              </a:gs>
              <a:gs pos="81000">
                <a:srgbClr val="000000">
                  <a:alpha val="0"/>
                </a:srgbClr>
              </a:gs>
            </a:gsLst>
            <a:lin ang="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648455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773828"/>
            <a:ext cx="6276530" cy="543185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235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835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645326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M_Customer_Needs_Title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>
            <a:extLst>
              <a:ext uri="{FF2B5EF4-FFF2-40B4-BE49-F238E27FC236}">
                <a16:creationId xmlns:a16="http://schemas.microsoft.com/office/drawing/2014/main" id="{E99AD0AA-4500-42CB-AF98-392E74CE6CA7}"/>
              </a:ext>
            </a:extLst>
          </p:cNvPr>
          <p:cNvSpPr txBox="1"/>
          <p:nvPr userDrawn="1"/>
        </p:nvSpPr>
        <p:spPr>
          <a:xfrm>
            <a:off x="585216" y="2972233"/>
            <a:ext cx="526179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defTabSz="932742">
              <a:lnSpc>
                <a:spcPct val="100000"/>
              </a:lnSpc>
              <a:spcBef>
                <a:spcPct val="0"/>
              </a:spcBef>
              <a:buNone/>
              <a:defRPr lang="en-US" sz="3600" b="1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TAM/opportunity</a:t>
            </a:r>
          </a:p>
        </p:txBody>
      </p:sp>
      <p:grpSp>
        <p:nvGrpSpPr>
          <p:cNvPr id="69" name="Group 4">
            <a:extLst>
              <a:ext uri="{FF2B5EF4-FFF2-40B4-BE49-F238E27FC236}">
                <a16:creationId xmlns:a16="http://schemas.microsoft.com/office/drawing/2014/main" id="{C3095657-DF7C-48D8-B34E-8416DF8906E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7108825" y="1503363"/>
            <a:ext cx="4503738" cy="3862387"/>
            <a:chOff x="4478" y="947"/>
            <a:chExt cx="2837" cy="2433"/>
          </a:xfrm>
        </p:grpSpPr>
        <p:sp>
          <p:nvSpPr>
            <p:cNvPr id="71" name="Oval 5">
              <a:extLst>
                <a:ext uri="{FF2B5EF4-FFF2-40B4-BE49-F238E27FC236}">
                  <a16:creationId xmlns:a16="http://schemas.microsoft.com/office/drawing/2014/main" id="{4F9BE204-91E7-4FE7-983D-CC5C9256D43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944" y="1419"/>
              <a:ext cx="1637" cy="1633"/>
            </a:xfrm>
            <a:prstGeom prst="ellipse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">
              <a:extLst>
                <a:ext uri="{FF2B5EF4-FFF2-40B4-BE49-F238E27FC236}">
                  <a16:creationId xmlns:a16="http://schemas.microsoft.com/office/drawing/2014/main" id="{E87CC938-11D5-4A74-B6C7-7E5F1BD3B2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56" y="1613"/>
              <a:ext cx="274" cy="337"/>
            </a:xfrm>
            <a:custGeom>
              <a:avLst/>
              <a:gdLst>
                <a:gd name="T0" fmla="*/ 4 w 173"/>
                <a:gd name="T1" fmla="*/ 57 h 213"/>
                <a:gd name="T2" fmla="*/ 6 w 173"/>
                <a:gd name="T3" fmla="*/ 57 h 213"/>
                <a:gd name="T4" fmla="*/ 11 w 173"/>
                <a:gd name="T5" fmla="*/ 78 h 213"/>
                <a:gd name="T6" fmla="*/ 36 w 173"/>
                <a:gd name="T7" fmla="*/ 66 h 213"/>
                <a:gd name="T8" fmla="*/ 36 w 173"/>
                <a:gd name="T9" fmla="*/ 90 h 213"/>
                <a:gd name="T10" fmla="*/ 7 w 173"/>
                <a:gd name="T11" fmla="*/ 90 h 213"/>
                <a:gd name="T12" fmla="*/ 8 w 173"/>
                <a:gd name="T13" fmla="*/ 129 h 213"/>
                <a:gd name="T14" fmla="*/ 7 w 173"/>
                <a:gd name="T15" fmla="*/ 164 h 213"/>
                <a:gd name="T16" fmla="*/ 18 w 173"/>
                <a:gd name="T17" fmla="*/ 155 h 213"/>
                <a:gd name="T18" fmla="*/ 18 w 173"/>
                <a:gd name="T19" fmla="*/ 166 h 213"/>
                <a:gd name="T20" fmla="*/ 59 w 173"/>
                <a:gd name="T21" fmla="*/ 192 h 213"/>
                <a:gd name="T22" fmla="*/ 59 w 173"/>
                <a:gd name="T23" fmla="*/ 200 h 213"/>
                <a:gd name="T24" fmla="*/ 40 w 173"/>
                <a:gd name="T25" fmla="*/ 200 h 213"/>
                <a:gd name="T26" fmla="*/ 40 w 173"/>
                <a:gd name="T27" fmla="*/ 212 h 213"/>
                <a:gd name="T28" fmla="*/ 69 w 173"/>
                <a:gd name="T29" fmla="*/ 212 h 213"/>
                <a:gd name="T30" fmla="*/ 69 w 173"/>
                <a:gd name="T31" fmla="*/ 191 h 213"/>
                <a:gd name="T32" fmla="*/ 76 w 173"/>
                <a:gd name="T33" fmla="*/ 188 h 213"/>
                <a:gd name="T34" fmla="*/ 43 w 173"/>
                <a:gd name="T35" fmla="*/ 167 h 213"/>
                <a:gd name="T36" fmla="*/ 38 w 173"/>
                <a:gd name="T37" fmla="*/ 147 h 213"/>
                <a:gd name="T38" fmla="*/ 57 w 173"/>
                <a:gd name="T39" fmla="*/ 147 h 213"/>
                <a:gd name="T40" fmla="*/ 87 w 173"/>
                <a:gd name="T41" fmla="*/ 171 h 213"/>
                <a:gd name="T42" fmla="*/ 87 w 173"/>
                <a:gd name="T43" fmla="*/ 194 h 213"/>
                <a:gd name="T44" fmla="*/ 106 w 173"/>
                <a:gd name="T45" fmla="*/ 213 h 213"/>
                <a:gd name="T46" fmla="*/ 115 w 173"/>
                <a:gd name="T47" fmla="*/ 185 h 213"/>
                <a:gd name="T48" fmla="*/ 133 w 173"/>
                <a:gd name="T49" fmla="*/ 175 h 213"/>
                <a:gd name="T50" fmla="*/ 133 w 173"/>
                <a:gd name="T51" fmla="*/ 198 h 213"/>
                <a:gd name="T52" fmla="*/ 147 w 173"/>
                <a:gd name="T53" fmla="*/ 212 h 213"/>
                <a:gd name="T54" fmla="*/ 173 w 173"/>
                <a:gd name="T55" fmla="*/ 212 h 213"/>
                <a:gd name="T56" fmla="*/ 166 w 173"/>
                <a:gd name="T57" fmla="*/ 194 h 213"/>
                <a:gd name="T58" fmla="*/ 145 w 173"/>
                <a:gd name="T59" fmla="*/ 194 h 213"/>
                <a:gd name="T60" fmla="*/ 145 w 173"/>
                <a:gd name="T61" fmla="*/ 150 h 213"/>
                <a:gd name="T62" fmla="*/ 96 w 173"/>
                <a:gd name="T63" fmla="*/ 74 h 213"/>
                <a:gd name="T64" fmla="*/ 81 w 173"/>
                <a:gd name="T65" fmla="*/ 89 h 213"/>
                <a:gd name="T66" fmla="*/ 43 w 173"/>
                <a:gd name="T67" fmla="*/ 89 h 213"/>
                <a:gd name="T68" fmla="*/ 43 w 173"/>
                <a:gd name="T69" fmla="*/ 82 h 213"/>
                <a:gd name="T70" fmla="*/ 65 w 173"/>
                <a:gd name="T71" fmla="*/ 68 h 213"/>
                <a:gd name="T72" fmla="*/ 65 w 173"/>
                <a:gd name="T73" fmla="*/ 39 h 213"/>
                <a:gd name="T74" fmla="*/ 25 w 173"/>
                <a:gd name="T75" fmla="*/ 0 h 213"/>
                <a:gd name="T76" fmla="*/ 25 w 173"/>
                <a:gd name="T77" fmla="*/ 21 h 213"/>
                <a:gd name="T78" fmla="*/ 8 w 173"/>
                <a:gd name="T79" fmla="*/ 27 h 213"/>
                <a:gd name="T80" fmla="*/ 0 w 173"/>
                <a:gd name="T81" fmla="*/ 32 h 213"/>
                <a:gd name="T82" fmla="*/ 4 w 173"/>
                <a:gd name="T83" fmla="*/ 57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3" h="213">
                  <a:moveTo>
                    <a:pt x="4" y="57"/>
                  </a:moveTo>
                  <a:cubicBezTo>
                    <a:pt x="6" y="57"/>
                    <a:pt x="6" y="57"/>
                    <a:pt x="6" y="57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103"/>
                    <a:pt x="8" y="116"/>
                    <a:pt x="8" y="129"/>
                  </a:cubicBezTo>
                  <a:cubicBezTo>
                    <a:pt x="8" y="141"/>
                    <a:pt x="8" y="153"/>
                    <a:pt x="7" y="164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59" y="192"/>
                    <a:pt x="59" y="192"/>
                    <a:pt x="59" y="192"/>
                  </a:cubicBezTo>
                  <a:cubicBezTo>
                    <a:pt x="59" y="200"/>
                    <a:pt x="59" y="200"/>
                    <a:pt x="59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212"/>
                    <a:pt x="40" y="212"/>
                    <a:pt x="40" y="212"/>
                  </a:cubicBezTo>
                  <a:cubicBezTo>
                    <a:pt x="69" y="212"/>
                    <a:pt x="69" y="212"/>
                    <a:pt x="69" y="212"/>
                  </a:cubicBezTo>
                  <a:cubicBezTo>
                    <a:pt x="69" y="191"/>
                    <a:pt x="69" y="191"/>
                    <a:pt x="69" y="191"/>
                  </a:cubicBezTo>
                  <a:cubicBezTo>
                    <a:pt x="76" y="188"/>
                    <a:pt x="76" y="188"/>
                    <a:pt x="76" y="188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38" y="147"/>
                    <a:pt x="38" y="147"/>
                    <a:pt x="38" y="147"/>
                  </a:cubicBezTo>
                  <a:cubicBezTo>
                    <a:pt x="57" y="147"/>
                    <a:pt x="57" y="147"/>
                    <a:pt x="57" y="147"/>
                  </a:cubicBezTo>
                  <a:cubicBezTo>
                    <a:pt x="87" y="171"/>
                    <a:pt x="87" y="171"/>
                    <a:pt x="87" y="171"/>
                  </a:cubicBezTo>
                  <a:cubicBezTo>
                    <a:pt x="87" y="194"/>
                    <a:pt x="87" y="194"/>
                    <a:pt x="87" y="194"/>
                  </a:cubicBezTo>
                  <a:cubicBezTo>
                    <a:pt x="106" y="213"/>
                    <a:pt x="106" y="213"/>
                    <a:pt x="106" y="213"/>
                  </a:cubicBezTo>
                  <a:cubicBezTo>
                    <a:pt x="115" y="185"/>
                    <a:pt x="115" y="185"/>
                    <a:pt x="115" y="185"/>
                  </a:cubicBezTo>
                  <a:cubicBezTo>
                    <a:pt x="133" y="175"/>
                    <a:pt x="133" y="175"/>
                    <a:pt x="133" y="175"/>
                  </a:cubicBezTo>
                  <a:cubicBezTo>
                    <a:pt x="133" y="198"/>
                    <a:pt x="133" y="198"/>
                    <a:pt x="133" y="198"/>
                  </a:cubicBezTo>
                  <a:cubicBezTo>
                    <a:pt x="147" y="212"/>
                    <a:pt x="147" y="212"/>
                    <a:pt x="147" y="212"/>
                  </a:cubicBezTo>
                  <a:cubicBezTo>
                    <a:pt x="173" y="212"/>
                    <a:pt x="173" y="212"/>
                    <a:pt x="173" y="212"/>
                  </a:cubicBezTo>
                  <a:cubicBezTo>
                    <a:pt x="171" y="206"/>
                    <a:pt x="168" y="200"/>
                    <a:pt x="166" y="194"/>
                  </a:cubicBezTo>
                  <a:cubicBezTo>
                    <a:pt x="145" y="194"/>
                    <a:pt x="145" y="194"/>
                    <a:pt x="145" y="194"/>
                  </a:cubicBezTo>
                  <a:cubicBezTo>
                    <a:pt x="145" y="150"/>
                    <a:pt x="145" y="150"/>
                    <a:pt x="145" y="150"/>
                  </a:cubicBezTo>
                  <a:cubicBezTo>
                    <a:pt x="131" y="123"/>
                    <a:pt x="114" y="98"/>
                    <a:pt x="96" y="74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43" y="89"/>
                    <a:pt x="43" y="89"/>
                    <a:pt x="43" y="89"/>
                  </a:cubicBezTo>
                  <a:cubicBezTo>
                    <a:pt x="43" y="82"/>
                    <a:pt x="43" y="82"/>
                    <a:pt x="43" y="82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52" y="25"/>
                    <a:pt x="39" y="12"/>
                    <a:pt x="25" y="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" y="40"/>
                    <a:pt x="3" y="48"/>
                    <a:pt x="4" y="57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7">
              <a:extLst>
                <a:ext uri="{FF2B5EF4-FFF2-40B4-BE49-F238E27FC236}">
                  <a16:creationId xmlns:a16="http://schemas.microsoft.com/office/drawing/2014/main" id="{E5E42EB0-3C21-49A0-A5E0-340D6241970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513" y="2664"/>
              <a:ext cx="255" cy="356"/>
            </a:xfrm>
            <a:custGeom>
              <a:avLst/>
              <a:gdLst>
                <a:gd name="T0" fmla="*/ 156 w 161"/>
                <a:gd name="T1" fmla="*/ 0 h 225"/>
                <a:gd name="T2" fmla="*/ 7 w 161"/>
                <a:gd name="T3" fmla="*/ 57 h 225"/>
                <a:gd name="T4" fmla="*/ 0 w 161"/>
                <a:gd name="T5" fmla="*/ 90 h 225"/>
                <a:gd name="T6" fmla="*/ 17 w 161"/>
                <a:gd name="T7" fmla="*/ 109 h 225"/>
                <a:gd name="T8" fmla="*/ 17 w 161"/>
                <a:gd name="T9" fmla="*/ 155 h 225"/>
                <a:gd name="T10" fmla="*/ 40 w 161"/>
                <a:gd name="T11" fmla="*/ 200 h 225"/>
                <a:gd name="T12" fmla="*/ 71 w 161"/>
                <a:gd name="T13" fmla="*/ 225 h 225"/>
                <a:gd name="T14" fmla="*/ 102 w 161"/>
                <a:gd name="T15" fmla="*/ 225 h 225"/>
                <a:gd name="T16" fmla="*/ 107 w 161"/>
                <a:gd name="T17" fmla="*/ 214 h 225"/>
                <a:gd name="T18" fmla="*/ 84 w 161"/>
                <a:gd name="T19" fmla="*/ 194 h 225"/>
                <a:gd name="T20" fmla="*/ 89 w 161"/>
                <a:gd name="T21" fmla="*/ 172 h 225"/>
                <a:gd name="T22" fmla="*/ 89 w 161"/>
                <a:gd name="T23" fmla="*/ 161 h 225"/>
                <a:gd name="T24" fmla="*/ 75 w 161"/>
                <a:gd name="T25" fmla="*/ 161 h 225"/>
                <a:gd name="T26" fmla="*/ 66 w 161"/>
                <a:gd name="T27" fmla="*/ 152 h 225"/>
                <a:gd name="T28" fmla="*/ 82 w 161"/>
                <a:gd name="T29" fmla="*/ 138 h 225"/>
                <a:gd name="T30" fmla="*/ 82 w 161"/>
                <a:gd name="T31" fmla="*/ 130 h 225"/>
                <a:gd name="T32" fmla="*/ 68 w 161"/>
                <a:gd name="T33" fmla="*/ 127 h 225"/>
                <a:gd name="T34" fmla="*/ 68 w 161"/>
                <a:gd name="T35" fmla="*/ 118 h 225"/>
                <a:gd name="T36" fmla="*/ 88 w 161"/>
                <a:gd name="T37" fmla="*/ 118 h 225"/>
                <a:gd name="T38" fmla="*/ 120 w 161"/>
                <a:gd name="T39" fmla="*/ 101 h 225"/>
                <a:gd name="T40" fmla="*/ 161 w 161"/>
                <a:gd name="T41" fmla="*/ 39 h 225"/>
                <a:gd name="T42" fmla="*/ 161 w 161"/>
                <a:gd name="T43" fmla="*/ 29 h 225"/>
                <a:gd name="T44" fmla="*/ 155 w 161"/>
                <a:gd name="T45" fmla="*/ 3 h 225"/>
                <a:gd name="T46" fmla="*/ 156 w 161"/>
                <a:gd name="T4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1" h="225">
                  <a:moveTo>
                    <a:pt x="156" y="0"/>
                  </a:moveTo>
                  <a:cubicBezTo>
                    <a:pt x="110" y="25"/>
                    <a:pt x="60" y="44"/>
                    <a:pt x="7" y="57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71" y="225"/>
                    <a:pt x="71" y="225"/>
                    <a:pt x="71" y="225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107" y="214"/>
                    <a:pt x="107" y="214"/>
                    <a:pt x="107" y="214"/>
                  </a:cubicBezTo>
                  <a:cubicBezTo>
                    <a:pt x="84" y="194"/>
                    <a:pt x="84" y="194"/>
                    <a:pt x="84" y="194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9" y="161"/>
                    <a:pt x="89" y="161"/>
                    <a:pt x="89" y="161"/>
                  </a:cubicBezTo>
                  <a:cubicBezTo>
                    <a:pt x="75" y="161"/>
                    <a:pt x="75" y="161"/>
                    <a:pt x="75" y="161"/>
                  </a:cubicBezTo>
                  <a:cubicBezTo>
                    <a:pt x="66" y="152"/>
                    <a:pt x="66" y="152"/>
                    <a:pt x="66" y="152"/>
                  </a:cubicBezTo>
                  <a:cubicBezTo>
                    <a:pt x="82" y="138"/>
                    <a:pt x="82" y="138"/>
                    <a:pt x="82" y="138"/>
                  </a:cubicBezTo>
                  <a:cubicBezTo>
                    <a:pt x="82" y="130"/>
                    <a:pt x="82" y="130"/>
                    <a:pt x="82" y="130"/>
                  </a:cubicBezTo>
                  <a:cubicBezTo>
                    <a:pt x="68" y="127"/>
                    <a:pt x="68" y="127"/>
                    <a:pt x="68" y="127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88" y="118"/>
                    <a:pt x="88" y="118"/>
                    <a:pt x="88" y="118"/>
                  </a:cubicBezTo>
                  <a:cubicBezTo>
                    <a:pt x="120" y="101"/>
                    <a:pt x="120" y="101"/>
                    <a:pt x="120" y="101"/>
                  </a:cubicBezTo>
                  <a:cubicBezTo>
                    <a:pt x="161" y="39"/>
                    <a:pt x="161" y="39"/>
                    <a:pt x="161" y="39"/>
                  </a:cubicBezTo>
                  <a:cubicBezTo>
                    <a:pt x="161" y="29"/>
                    <a:pt x="161" y="29"/>
                    <a:pt x="161" y="29"/>
                  </a:cubicBezTo>
                  <a:cubicBezTo>
                    <a:pt x="155" y="3"/>
                    <a:pt x="155" y="3"/>
                    <a:pt x="155" y="3"/>
                  </a:cubicBezTo>
                  <a:lnTo>
                    <a:pt x="156" y="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8">
              <a:extLst>
                <a:ext uri="{FF2B5EF4-FFF2-40B4-BE49-F238E27FC236}">
                  <a16:creationId xmlns:a16="http://schemas.microsoft.com/office/drawing/2014/main" id="{746FC469-AAB0-47FB-9F4F-9801379A00D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26" y="1949"/>
              <a:ext cx="455" cy="824"/>
            </a:xfrm>
            <a:custGeom>
              <a:avLst/>
              <a:gdLst>
                <a:gd name="T0" fmla="*/ 258 w 287"/>
                <a:gd name="T1" fmla="*/ 8 h 521"/>
                <a:gd name="T2" fmla="*/ 268 w 287"/>
                <a:gd name="T3" fmla="*/ 46 h 521"/>
                <a:gd name="T4" fmla="*/ 222 w 287"/>
                <a:gd name="T5" fmla="*/ 46 h 521"/>
                <a:gd name="T6" fmla="*/ 200 w 287"/>
                <a:gd name="T7" fmla="*/ 24 h 521"/>
                <a:gd name="T8" fmla="*/ 172 w 287"/>
                <a:gd name="T9" fmla="*/ 24 h 521"/>
                <a:gd name="T10" fmla="*/ 172 w 287"/>
                <a:gd name="T11" fmla="*/ 46 h 521"/>
                <a:gd name="T12" fmla="*/ 162 w 287"/>
                <a:gd name="T13" fmla="*/ 46 h 521"/>
                <a:gd name="T14" fmla="*/ 152 w 287"/>
                <a:gd name="T15" fmla="*/ 39 h 521"/>
                <a:gd name="T16" fmla="*/ 109 w 287"/>
                <a:gd name="T17" fmla="*/ 27 h 521"/>
                <a:gd name="T18" fmla="*/ 109 w 287"/>
                <a:gd name="T19" fmla="*/ 0 h 521"/>
                <a:gd name="T20" fmla="*/ 84 w 287"/>
                <a:gd name="T21" fmla="*/ 0 h 521"/>
                <a:gd name="T22" fmla="*/ 0 w 287"/>
                <a:gd name="T23" fmla="*/ 235 h 521"/>
                <a:gd name="T24" fmla="*/ 29 w 287"/>
                <a:gd name="T25" fmla="*/ 235 h 521"/>
                <a:gd name="T26" fmla="*/ 41 w 287"/>
                <a:gd name="T27" fmla="*/ 223 h 521"/>
                <a:gd name="T28" fmla="*/ 61 w 287"/>
                <a:gd name="T29" fmla="*/ 223 h 521"/>
                <a:gd name="T30" fmla="*/ 73 w 287"/>
                <a:gd name="T31" fmla="*/ 239 h 521"/>
                <a:gd name="T32" fmla="*/ 100 w 287"/>
                <a:gd name="T33" fmla="*/ 239 h 521"/>
                <a:gd name="T34" fmla="*/ 100 w 287"/>
                <a:gd name="T35" fmla="*/ 284 h 521"/>
                <a:gd name="T36" fmla="*/ 138 w 287"/>
                <a:gd name="T37" fmla="*/ 347 h 521"/>
                <a:gd name="T38" fmla="*/ 119 w 287"/>
                <a:gd name="T39" fmla="*/ 383 h 521"/>
                <a:gd name="T40" fmla="*/ 119 w 287"/>
                <a:gd name="T41" fmla="*/ 405 h 521"/>
                <a:gd name="T42" fmla="*/ 134 w 287"/>
                <a:gd name="T43" fmla="*/ 414 h 521"/>
                <a:gd name="T44" fmla="*/ 134 w 287"/>
                <a:gd name="T45" fmla="*/ 460 h 521"/>
                <a:gd name="T46" fmla="*/ 155 w 287"/>
                <a:gd name="T47" fmla="*/ 489 h 521"/>
                <a:gd name="T48" fmla="*/ 155 w 287"/>
                <a:gd name="T49" fmla="*/ 521 h 521"/>
                <a:gd name="T50" fmla="*/ 160 w 287"/>
                <a:gd name="T51" fmla="*/ 521 h 521"/>
                <a:gd name="T52" fmla="*/ 287 w 287"/>
                <a:gd name="T53" fmla="*/ 181 h 521"/>
                <a:gd name="T54" fmla="*/ 258 w 287"/>
                <a:gd name="T55" fmla="*/ 8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7" h="521">
                  <a:moveTo>
                    <a:pt x="258" y="8"/>
                  </a:moveTo>
                  <a:cubicBezTo>
                    <a:pt x="268" y="46"/>
                    <a:pt x="268" y="46"/>
                    <a:pt x="268" y="46"/>
                  </a:cubicBezTo>
                  <a:cubicBezTo>
                    <a:pt x="222" y="46"/>
                    <a:pt x="222" y="46"/>
                    <a:pt x="222" y="46"/>
                  </a:cubicBezTo>
                  <a:cubicBezTo>
                    <a:pt x="200" y="24"/>
                    <a:pt x="200" y="24"/>
                    <a:pt x="200" y="24"/>
                  </a:cubicBezTo>
                  <a:cubicBezTo>
                    <a:pt x="172" y="24"/>
                    <a:pt x="172" y="24"/>
                    <a:pt x="172" y="24"/>
                  </a:cubicBezTo>
                  <a:cubicBezTo>
                    <a:pt x="172" y="46"/>
                    <a:pt x="172" y="46"/>
                    <a:pt x="172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52" y="39"/>
                    <a:pt x="152" y="39"/>
                    <a:pt x="152" y="39"/>
                  </a:cubicBezTo>
                  <a:cubicBezTo>
                    <a:pt x="109" y="27"/>
                    <a:pt x="109" y="27"/>
                    <a:pt x="109" y="27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3" y="85"/>
                    <a:pt x="43" y="165"/>
                    <a:pt x="0" y="235"/>
                  </a:cubicBezTo>
                  <a:cubicBezTo>
                    <a:pt x="29" y="235"/>
                    <a:pt x="29" y="235"/>
                    <a:pt x="29" y="235"/>
                  </a:cubicBezTo>
                  <a:cubicBezTo>
                    <a:pt x="41" y="223"/>
                    <a:pt x="41" y="223"/>
                    <a:pt x="41" y="223"/>
                  </a:cubicBezTo>
                  <a:cubicBezTo>
                    <a:pt x="61" y="223"/>
                    <a:pt x="61" y="223"/>
                    <a:pt x="61" y="223"/>
                  </a:cubicBezTo>
                  <a:cubicBezTo>
                    <a:pt x="73" y="239"/>
                    <a:pt x="73" y="239"/>
                    <a:pt x="73" y="239"/>
                  </a:cubicBezTo>
                  <a:cubicBezTo>
                    <a:pt x="100" y="239"/>
                    <a:pt x="100" y="239"/>
                    <a:pt x="100" y="239"/>
                  </a:cubicBezTo>
                  <a:cubicBezTo>
                    <a:pt x="100" y="284"/>
                    <a:pt x="100" y="284"/>
                    <a:pt x="100" y="284"/>
                  </a:cubicBezTo>
                  <a:cubicBezTo>
                    <a:pt x="138" y="347"/>
                    <a:pt x="138" y="347"/>
                    <a:pt x="138" y="347"/>
                  </a:cubicBezTo>
                  <a:cubicBezTo>
                    <a:pt x="119" y="383"/>
                    <a:pt x="119" y="383"/>
                    <a:pt x="119" y="383"/>
                  </a:cubicBezTo>
                  <a:cubicBezTo>
                    <a:pt x="119" y="405"/>
                    <a:pt x="119" y="405"/>
                    <a:pt x="119" y="405"/>
                  </a:cubicBezTo>
                  <a:cubicBezTo>
                    <a:pt x="134" y="414"/>
                    <a:pt x="134" y="414"/>
                    <a:pt x="134" y="414"/>
                  </a:cubicBezTo>
                  <a:cubicBezTo>
                    <a:pt x="134" y="460"/>
                    <a:pt x="134" y="460"/>
                    <a:pt x="134" y="460"/>
                  </a:cubicBezTo>
                  <a:cubicBezTo>
                    <a:pt x="155" y="489"/>
                    <a:pt x="155" y="489"/>
                    <a:pt x="155" y="489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60" y="521"/>
                    <a:pt x="160" y="521"/>
                    <a:pt x="160" y="521"/>
                  </a:cubicBezTo>
                  <a:cubicBezTo>
                    <a:pt x="239" y="430"/>
                    <a:pt x="287" y="311"/>
                    <a:pt x="287" y="181"/>
                  </a:cubicBezTo>
                  <a:cubicBezTo>
                    <a:pt x="287" y="120"/>
                    <a:pt x="277" y="62"/>
                    <a:pt x="258" y="8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9">
              <a:extLst>
                <a:ext uri="{FF2B5EF4-FFF2-40B4-BE49-F238E27FC236}">
                  <a16:creationId xmlns:a16="http://schemas.microsoft.com/office/drawing/2014/main" id="{10E521E9-EC3B-4900-8DAB-785E4BA812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93" y="2606"/>
              <a:ext cx="65" cy="41"/>
            </a:xfrm>
            <a:custGeom>
              <a:avLst/>
              <a:gdLst>
                <a:gd name="T0" fmla="*/ 0 w 41"/>
                <a:gd name="T1" fmla="*/ 26 h 26"/>
                <a:gd name="T2" fmla="*/ 18 w 41"/>
                <a:gd name="T3" fmla="*/ 26 h 26"/>
                <a:gd name="T4" fmla="*/ 41 w 41"/>
                <a:gd name="T5" fmla="*/ 4 h 26"/>
                <a:gd name="T6" fmla="*/ 41 w 41"/>
                <a:gd name="T7" fmla="*/ 0 h 26"/>
                <a:gd name="T8" fmla="*/ 0 w 41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6">
                  <a:moveTo>
                    <a:pt x="0" y="26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28" y="9"/>
                    <a:pt x="14" y="18"/>
                    <a:pt x="0" y="26"/>
                  </a:cubicBezTo>
                  <a:close/>
                </a:path>
              </a:pathLst>
            </a:custGeom>
            <a:solidFill>
              <a:srgbClr val="ED8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0">
              <a:extLst>
                <a:ext uri="{FF2B5EF4-FFF2-40B4-BE49-F238E27FC236}">
                  <a16:creationId xmlns:a16="http://schemas.microsoft.com/office/drawing/2014/main" id="{52CA2A34-9B97-4F21-B6B5-9E45EB8C321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944" y="1417"/>
              <a:ext cx="1355" cy="1387"/>
            </a:xfrm>
            <a:custGeom>
              <a:avLst/>
              <a:gdLst>
                <a:gd name="T0" fmla="*/ 834 w 855"/>
                <a:gd name="T1" fmla="*/ 264 h 876"/>
                <a:gd name="T2" fmla="*/ 853 w 855"/>
                <a:gd name="T3" fmla="*/ 213 h 876"/>
                <a:gd name="T4" fmla="*/ 851 w 855"/>
                <a:gd name="T5" fmla="*/ 196 h 876"/>
                <a:gd name="T6" fmla="*/ 840 w 855"/>
                <a:gd name="T7" fmla="*/ 177 h 876"/>
                <a:gd name="T8" fmla="*/ 843 w 855"/>
                <a:gd name="T9" fmla="*/ 158 h 876"/>
                <a:gd name="T10" fmla="*/ 780 w 855"/>
                <a:gd name="T11" fmla="*/ 188 h 876"/>
                <a:gd name="T12" fmla="*/ 822 w 855"/>
                <a:gd name="T13" fmla="*/ 100 h 876"/>
                <a:gd name="T14" fmla="*/ 517 w 855"/>
                <a:gd name="T15" fmla="*/ 0 h 876"/>
                <a:gd name="T16" fmla="*/ 0 w 855"/>
                <a:gd name="T17" fmla="*/ 517 h 876"/>
                <a:gd name="T18" fmla="*/ 134 w 855"/>
                <a:gd name="T19" fmla="*/ 865 h 876"/>
                <a:gd name="T20" fmla="*/ 175 w 855"/>
                <a:gd name="T21" fmla="*/ 857 h 876"/>
                <a:gd name="T22" fmla="*/ 188 w 855"/>
                <a:gd name="T23" fmla="*/ 766 h 876"/>
                <a:gd name="T24" fmla="*/ 188 w 855"/>
                <a:gd name="T25" fmla="*/ 766 h 876"/>
                <a:gd name="T26" fmla="*/ 188 w 855"/>
                <a:gd name="T27" fmla="*/ 766 h 876"/>
                <a:gd name="T28" fmla="*/ 188 w 855"/>
                <a:gd name="T29" fmla="*/ 766 h 876"/>
                <a:gd name="T30" fmla="*/ 236 w 855"/>
                <a:gd name="T31" fmla="*/ 875 h 876"/>
                <a:gd name="T32" fmla="*/ 249 w 855"/>
                <a:gd name="T33" fmla="*/ 876 h 876"/>
                <a:gd name="T34" fmla="*/ 361 w 855"/>
                <a:gd name="T35" fmla="*/ 865 h 876"/>
                <a:gd name="T36" fmla="*/ 434 w 855"/>
                <a:gd name="T37" fmla="*/ 830 h 876"/>
                <a:gd name="T38" fmla="*/ 519 w 855"/>
                <a:gd name="T39" fmla="*/ 812 h 876"/>
                <a:gd name="T40" fmla="*/ 773 w 855"/>
                <a:gd name="T41" fmla="*/ 575 h 876"/>
                <a:gd name="T42" fmla="*/ 808 w 855"/>
                <a:gd name="T43" fmla="*/ 442 h 876"/>
                <a:gd name="T44" fmla="*/ 852 w 855"/>
                <a:gd name="T45" fmla="*/ 336 h 876"/>
                <a:gd name="T46" fmla="*/ 855 w 855"/>
                <a:gd name="T47" fmla="*/ 295 h 876"/>
                <a:gd name="T48" fmla="*/ 834 w 855"/>
                <a:gd name="T49" fmla="*/ 264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55" h="876">
                  <a:moveTo>
                    <a:pt x="834" y="264"/>
                  </a:moveTo>
                  <a:cubicBezTo>
                    <a:pt x="834" y="245"/>
                    <a:pt x="854" y="232"/>
                    <a:pt x="853" y="213"/>
                  </a:cubicBezTo>
                  <a:cubicBezTo>
                    <a:pt x="852" y="208"/>
                    <a:pt x="852" y="202"/>
                    <a:pt x="851" y="196"/>
                  </a:cubicBezTo>
                  <a:cubicBezTo>
                    <a:pt x="850" y="189"/>
                    <a:pt x="841" y="184"/>
                    <a:pt x="840" y="177"/>
                  </a:cubicBezTo>
                  <a:cubicBezTo>
                    <a:pt x="839" y="172"/>
                    <a:pt x="841" y="165"/>
                    <a:pt x="843" y="158"/>
                  </a:cubicBezTo>
                  <a:cubicBezTo>
                    <a:pt x="780" y="188"/>
                    <a:pt x="780" y="188"/>
                    <a:pt x="780" y="188"/>
                  </a:cubicBezTo>
                  <a:cubicBezTo>
                    <a:pt x="822" y="100"/>
                    <a:pt x="822" y="100"/>
                    <a:pt x="822" y="100"/>
                  </a:cubicBezTo>
                  <a:cubicBezTo>
                    <a:pt x="736" y="37"/>
                    <a:pt x="631" y="0"/>
                    <a:pt x="517" y="0"/>
                  </a:cubicBezTo>
                  <a:cubicBezTo>
                    <a:pt x="231" y="0"/>
                    <a:pt x="0" y="231"/>
                    <a:pt x="0" y="517"/>
                  </a:cubicBezTo>
                  <a:cubicBezTo>
                    <a:pt x="0" y="651"/>
                    <a:pt x="51" y="773"/>
                    <a:pt x="134" y="865"/>
                  </a:cubicBezTo>
                  <a:cubicBezTo>
                    <a:pt x="152" y="868"/>
                    <a:pt x="156" y="855"/>
                    <a:pt x="175" y="857"/>
                  </a:cubicBezTo>
                  <a:cubicBezTo>
                    <a:pt x="188" y="766"/>
                    <a:pt x="188" y="766"/>
                    <a:pt x="188" y="766"/>
                  </a:cubicBezTo>
                  <a:cubicBezTo>
                    <a:pt x="188" y="766"/>
                    <a:pt x="188" y="766"/>
                    <a:pt x="188" y="766"/>
                  </a:cubicBezTo>
                  <a:cubicBezTo>
                    <a:pt x="188" y="766"/>
                    <a:pt x="188" y="766"/>
                    <a:pt x="188" y="766"/>
                  </a:cubicBezTo>
                  <a:cubicBezTo>
                    <a:pt x="188" y="766"/>
                    <a:pt x="188" y="766"/>
                    <a:pt x="188" y="766"/>
                  </a:cubicBezTo>
                  <a:cubicBezTo>
                    <a:pt x="236" y="875"/>
                    <a:pt x="236" y="875"/>
                    <a:pt x="236" y="875"/>
                  </a:cubicBezTo>
                  <a:cubicBezTo>
                    <a:pt x="240" y="875"/>
                    <a:pt x="244" y="876"/>
                    <a:pt x="249" y="876"/>
                  </a:cubicBezTo>
                  <a:cubicBezTo>
                    <a:pt x="287" y="876"/>
                    <a:pt x="325" y="872"/>
                    <a:pt x="361" y="865"/>
                  </a:cubicBezTo>
                  <a:cubicBezTo>
                    <a:pt x="368" y="848"/>
                    <a:pt x="409" y="838"/>
                    <a:pt x="434" y="830"/>
                  </a:cubicBezTo>
                  <a:cubicBezTo>
                    <a:pt x="462" y="821"/>
                    <a:pt x="493" y="803"/>
                    <a:pt x="519" y="812"/>
                  </a:cubicBezTo>
                  <a:cubicBezTo>
                    <a:pt x="625" y="759"/>
                    <a:pt x="713" y="677"/>
                    <a:pt x="773" y="575"/>
                  </a:cubicBezTo>
                  <a:cubicBezTo>
                    <a:pt x="760" y="563"/>
                    <a:pt x="794" y="488"/>
                    <a:pt x="808" y="442"/>
                  </a:cubicBezTo>
                  <a:cubicBezTo>
                    <a:pt x="819" y="407"/>
                    <a:pt x="824" y="345"/>
                    <a:pt x="852" y="336"/>
                  </a:cubicBezTo>
                  <a:cubicBezTo>
                    <a:pt x="853" y="323"/>
                    <a:pt x="854" y="309"/>
                    <a:pt x="855" y="295"/>
                  </a:cubicBezTo>
                  <a:cubicBezTo>
                    <a:pt x="855" y="287"/>
                    <a:pt x="834" y="273"/>
                    <a:pt x="834" y="264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1">
              <a:extLst>
                <a:ext uri="{FF2B5EF4-FFF2-40B4-BE49-F238E27FC236}">
                  <a16:creationId xmlns:a16="http://schemas.microsoft.com/office/drawing/2014/main" id="{CB0CD188-F81F-4C96-834F-C8F0EFF9488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091" y="1756"/>
              <a:ext cx="208" cy="191"/>
            </a:xfrm>
            <a:custGeom>
              <a:avLst/>
              <a:gdLst>
                <a:gd name="T0" fmla="*/ 97 w 131"/>
                <a:gd name="T1" fmla="*/ 0 h 121"/>
                <a:gd name="T2" fmla="*/ 77 w 131"/>
                <a:gd name="T3" fmla="*/ 29 h 121"/>
                <a:gd name="T4" fmla="*/ 52 w 131"/>
                <a:gd name="T5" fmla="*/ 29 h 121"/>
                <a:gd name="T6" fmla="*/ 47 w 131"/>
                <a:gd name="T7" fmla="*/ 57 h 121"/>
                <a:gd name="T8" fmla="*/ 61 w 131"/>
                <a:gd name="T9" fmla="*/ 57 h 121"/>
                <a:gd name="T10" fmla="*/ 61 w 131"/>
                <a:gd name="T11" fmla="*/ 74 h 121"/>
                <a:gd name="T12" fmla="*/ 41 w 131"/>
                <a:gd name="T13" fmla="*/ 67 h 121"/>
                <a:gd name="T14" fmla="*/ 21 w 131"/>
                <a:gd name="T15" fmla="*/ 67 h 121"/>
                <a:gd name="T16" fmla="*/ 0 w 131"/>
                <a:gd name="T17" fmla="*/ 76 h 121"/>
                <a:gd name="T18" fmla="*/ 0 w 131"/>
                <a:gd name="T19" fmla="*/ 109 h 121"/>
                <a:gd name="T20" fmla="*/ 15 w 131"/>
                <a:gd name="T21" fmla="*/ 121 h 121"/>
                <a:gd name="T22" fmla="*/ 59 w 131"/>
                <a:gd name="T23" fmla="*/ 121 h 121"/>
                <a:gd name="T24" fmla="*/ 59 w 131"/>
                <a:gd name="T25" fmla="*/ 110 h 121"/>
                <a:gd name="T26" fmla="*/ 89 w 131"/>
                <a:gd name="T27" fmla="*/ 79 h 121"/>
                <a:gd name="T28" fmla="*/ 105 w 131"/>
                <a:gd name="T29" fmla="*/ 79 h 121"/>
                <a:gd name="T30" fmla="*/ 122 w 131"/>
                <a:gd name="T31" fmla="*/ 65 h 121"/>
                <a:gd name="T32" fmla="*/ 122 w 131"/>
                <a:gd name="T33" fmla="*/ 76 h 121"/>
                <a:gd name="T34" fmla="*/ 131 w 131"/>
                <a:gd name="T35" fmla="*/ 81 h 121"/>
                <a:gd name="T36" fmla="*/ 131 w 131"/>
                <a:gd name="T37" fmla="*/ 55 h 121"/>
                <a:gd name="T38" fmla="*/ 129 w 131"/>
                <a:gd name="T39" fmla="*/ 0 h 121"/>
                <a:gd name="T40" fmla="*/ 97 w 131"/>
                <a:gd name="T4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121">
                  <a:moveTo>
                    <a:pt x="97" y="0"/>
                  </a:moveTo>
                  <a:cubicBezTo>
                    <a:pt x="77" y="29"/>
                    <a:pt x="77" y="29"/>
                    <a:pt x="77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9" y="110"/>
                    <a:pt x="59" y="110"/>
                    <a:pt x="59" y="110"/>
                  </a:cubicBezTo>
                  <a:cubicBezTo>
                    <a:pt x="89" y="79"/>
                    <a:pt x="89" y="79"/>
                    <a:pt x="89" y="79"/>
                  </a:cubicBezTo>
                  <a:cubicBezTo>
                    <a:pt x="105" y="79"/>
                    <a:pt x="105" y="79"/>
                    <a:pt x="105" y="79"/>
                  </a:cubicBezTo>
                  <a:cubicBezTo>
                    <a:pt x="122" y="65"/>
                    <a:pt x="122" y="65"/>
                    <a:pt x="122" y="65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31" y="81"/>
                    <a:pt x="131" y="81"/>
                    <a:pt x="131" y="81"/>
                  </a:cubicBezTo>
                  <a:cubicBezTo>
                    <a:pt x="131" y="73"/>
                    <a:pt x="131" y="64"/>
                    <a:pt x="131" y="55"/>
                  </a:cubicBezTo>
                  <a:cubicBezTo>
                    <a:pt x="131" y="36"/>
                    <a:pt x="130" y="18"/>
                    <a:pt x="129" y="0"/>
                  </a:cubicBezTo>
                  <a:lnTo>
                    <a:pt x="97" y="0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2">
              <a:extLst>
                <a:ext uri="{FF2B5EF4-FFF2-40B4-BE49-F238E27FC236}">
                  <a16:creationId xmlns:a16="http://schemas.microsoft.com/office/drawing/2014/main" id="{2D2A66D1-726D-40D4-A8D6-7BF2220065C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987" y="1949"/>
              <a:ext cx="307" cy="372"/>
            </a:xfrm>
            <a:custGeom>
              <a:avLst/>
              <a:gdLst>
                <a:gd name="T0" fmla="*/ 0 w 194"/>
                <a:gd name="T1" fmla="*/ 133 h 235"/>
                <a:gd name="T2" fmla="*/ 0 w 194"/>
                <a:gd name="T3" fmla="*/ 183 h 235"/>
                <a:gd name="T4" fmla="*/ 52 w 194"/>
                <a:gd name="T5" fmla="*/ 235 h 235"/>
                <a:gd name="T6" fmla="*/ 117 w 194"/>
                <a:gd name="T7" fmla="*/ 235 h 235"/>
                <a:gd name="T8" fmla="*/ 117 w 194"/>
                <a:gd name="T9" fmla="*/ 235 h 235"/>
                <a:gd name="T10" fmla="*/ 194 w 194"/>
                <a:gd name="T11" fmla="*/ 0 h 235"/>
                <a:gd name="T12" fmla="*/ 139 w 194"/>
                <a:gd name="T13" fmla="*/ 0 h 235"/>
                <a:gd name="T14" fmla="*/ 123 w 194"/>
                <a:gd name="T15" fmla="*/ 12 h 235"/>
                <a:gd name="T16" fmla="*/ 83 w 194"/>
                <a:gd name="T17" fmla="*/ 12 h 235"/>
                <a:gd name="T18" fmla="*/ 59 w 194"/>
                <a:gd name="T19" fmla="*/ 28 h 235"/>
                <a:gd name="T20" fmla="*/ 59 w 194"/>
                <a:gd name="T21" fmla="*/ 57 h 235"/>
                <a:gd name="T22" fmla="*/ 0 w 194"/>
                <a:gd name="T23" fmla="*/ 98 h 235"/>
                <a:gd name="T24" fmla="*/ 0 w 194"/>
                <a:gd name="T25" fmla="*/ 114 h 235"/>
                <a:gd name="T26" fmla="*/ 17 w 194"/>
                <a:gd name="T27" fmla="*/ 114 h 235"/>
                <a:gd name="T28" fmla="*/ 17 w 194"/>
                <a:gd name="T29" fmla="*/ 133 h 235"/>
                <a:gd name="T30" fmla="*/ 0 w 194"/>
                <a:gd name="T31" fmla="*/ 133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235">
                  <a:moveTo>
                    <a:pt x="0" y="133"/>
                  </a:moveTo>
                  <a:cubicBezTo>
                    <a:pt x="0" y="183"/>
                    <a:pt x="0" y="183"/>
                    <a:pt x="0" y="183"/>
                  </a:cubicBezTo>
                  <a:cubicBezTo>
                    <a:pt x="52" y="235"/>
                    <a:pt x="52" y="235"/>
                    <a:pt x="52" y="235"/>
                  </a:cubicBezTo>
                  <a:cubicBezTo>
                    <a:pt x="117" y="235"/>
                    <a:pt x="117" y="235"/>
                    <a:pt x="117" y="235"/>
                  </a:cubicBezTo>
                  <a:cubicBezTo>
                    <a:pt x="117" y="235"/>
                    <a:pt x="117" y="235"/>
                    <a:pt x="117" y="235"/>
                  </a:cubicBezTo>
                  <a:cubicBezTo>
                    <a:pt x="158" y="164"/>
                    <a:pt x="184" y="85"/>
                    <a:pt x="194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17" y="114"/>
                    <a:pt x="17" y="114"/>
                    <a:pt x="17" y="114"/>
                  </a:cubicBezTo>
                  <a:cubicBezTo>
                    <a:pt x="17" y="133"/>
                    <a:pt x="17" y="133"/>
                    <a:pt x="17" y="133"/>
                  </a:cubicBezTo>
                  <a:lnTo>
                    <a:pt x="0" y="133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3">
              <a:extLst>
                <a:ext uri="{FF2B5EF4-FFF2-40B4-BE49-F238E27FC236}">
                  <a16:creationId xmlns:a16="http://schemas.microsoft.com/office/drawing/2014/main" id="{4DCE2E8F-EA57-4C82-9102-73A5832BDF3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39" y="1662"/>
              <a:ext cx="54" cy="75"/>
            </a:xfrm>
            <a:custGeom>
              <a:avLst/>
              <a:gdLst>
                <a:gd name="T0" fmla="*/ 22 w 34"/>
                <a:gd name="T1" fmla="*/ 47 h 47"/>
                <a:gd name="T2" fmla="*/ 34 w 34"/>
                <a:gd name="T3" fmla="*/ 41 h 47"/>
                <a:gd name="T4" fmla="*/ 28 w 34"/>
                <a:gd name="T5" fmla="*/ 0 h 47"/>
                <a:gd name="T6" fmla="*/ 0 w 34"/>
                <a:gd name="T7" fmla="*/ 15 h 47"/>
                <a:gd name="T8" fmla="*/ 0 w 34"/>
                <a:gd name="T9" fmla="*/ 26 h 47"/>
                <a:gd name="T10" fmla="*/ 17 w 34"/>
                <a:gd name="T11" fmla="*/ 26 h 47"/>
                <a:gd name="T12" fmla="*/ 22 w 34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7">
                  <a:moveTo>
                    <a:pt x="22" y="47"/>
                  </a:moveTo>
                  <a:cubicBezTo>
                    <a:pt x="34" y="41"/>
                    <a:pt x="34" y="41"/>
                    <a:pt x="34" y="41"/>
                  </a:cubicBezTo>
                  <a:cubicBezTo>
                    <a:pt x="32" y="29"/>
                    <a:pt x="31" y="12"/>
                    <a:pt x="28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7" y="26"/>
                    <a:pt x="17" y="26"/>
                    <a:pt x="17" y="26"/>
                  </a:cubicBezTo>
                  <a:lnTo>
                    <a:pt x="22" y="47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4">
              <a:extLst>
                <a:ext uri="{FF2B5EF4-FFF2-40B4-BE49-F238E27FC236}">
                  <a16:creationId xmlns:a16="http://schemas.microsoft.com/office/drawing/2014/main" id="{303AF218-DB6A-42CD-88DC-2631C4B002BB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4993" y="1536"/>
              <a:ext cx="911" cy="1250"/>
            </a:xfrm>
            <a:custGeom>
              <a:avLst/>
              <a:gdLst>
                <a:gd name="T0" fmla="*/ 546 w 575"/>
                <a:gd name="T1" fmla="*/ 680 h 790"/>
                <a:gd name="T2" fmla="*/ 554 w 575"/>
                <a:gd name="T3" fmla="*/ 571 h 790"/>
                <a:gd name="T4" fmla="*/ 454 w 575"/>
                <a:gd name="T5" fmla="*/ 500 h 790"/>
                <a:gd name="T6" fmla="*/ 376 w 575"/>
                <a:gd name="T7" fmla="*/ 458 h 790"/>
                <a:gd name="T8" fmla="*/ 232 w 575"/>
                <a:gd name="T9" fmla="*/ 459 h 790"/>
                <a:gd name="T10" fmla="*/ 212 w 575"/>
                <a:gd name="T11" fmla="*/ 378 h 790"/>
                <a:gd name="T12" fmla="*/ 141 w 575"/>
                <a:gd name="T13" fmla="*/ 355 h 790"/>
                <a:gd name="T14" fmla="*/ 246 w 575"/>
                <a:gd name="T15" fmla="*/ 312 h 790"/>
                <a:gd name="T16" fmla="*/ 269 w 575"/>
                <a:gd name="T17" fmla="*/ 308 h 790"/>
                <a:gd name="T18" fmla="*/ 385 w 575"/>
                <a:gd name="T19" fmla="*/ 206 h 790"/>
                <a:gd name="T20" fmla="*/ 424 w 575"/>
                <a:gd name="T21" fmla="*/ 179 h 790"/>
                <a:gd name="T22" fmla="*/ 421 w 575"/>
                <a:gd name="T23" fmla="*/ 158 h 790"/>
                <a:gd name="T24" fmla="*/ 470 w 575"/>
                <a:gd name="T25" fmla="*/ 159 h 790"/>
                <a:gd name="T26" fmla="*/ 498 w 575"/>
                <a:gd name="T27" fmla="*/ 188 h 790"/>
                <a:gd name="T28" fmla="*/ 492 w 575"/>
                <a:gd name="T29" fmla="*/ 144 h 790"/>
                <a:gd name="T30" fmla="*/ 447 w 575"/>
                <a:gd name="T31" fmla="*/ 110 h 790"/>
                <a:gd name="T32" fmla="*/ 384 w 575"/>
                <a:gd name="T33" fmla="*/ 124 h 790"/>
                <a:gd name="T34" fmla="*/ 306 w 575"/>
                <a:gd name="T35" fmla="*/ 126 h 790"/>
                <a:gd name="T36" fmla="*/ 351 w 575"/>
                <a:gd name="T37" fmla="*/ 65 h 790"/>
                <a:gd name="T38" fmla="*/ 377 w 575"/>
                <a:gd name="T39" fmla="*/ 69 h 790"/>
                <a:gd name="T40" fmla="*/ 411 w 575"/>
                <a:gd name="T41" fmla="*/ 39 h 790"/>
                <a:gd name="T42" fmla="*/ 432 w 575"/>
                <a:gd name="T43" fmla="*/ 65 h 790"/>
                <a:gd name="T44" fmla="*/ 483 w 575"/>
                <a:gd name="T45" fmla="*/ 65 h 790"/>
                <a:gd name="T46" fmla="*/ 493 w 575"/>
                <a:gd name="T47" fmla="*/ 28 h 790"/>
                <a:gd name="T48" fmla="*/ 385 w 575"/>
                <a:gd name="T49" fmla="*/ 42 h 790"/>
                <a:gd name="T50" fmla="*/ 375 w 575"/>
                <a:gd name="T51" fmla="*/ 9 h 790"/>
                <a:gd name="T52" fmla="*/ 350 w 575"/>
                <a:gd name="T53" fmla="*/ 30 h 790"/>
                <a:gd name="T54" fmla="*/ 315 w 575"/>
                <a:gd name="T55" fmla="*/ 49 h 790"/>
                <a:gd name="T56" fmla="*/ 332 w 575"/>
                <a:gd name="T57" fmla="*/ 12 h 790"/>
                <a:gd name="T58" fmla="*/ 290 w 575"/>
                <a:gd name="T59" fmla="*/ 19 h 790"/>
                <a:gd name="T60" fmla="*/ 221 w 575"/>
                <a:gd name="T61" fmla="*/ 17 h 790"/>
                <a:gd name="T62" fmla="*/ 245 w 575"/>
                <a:gd name="T63" fmla="*/ 40 h 790"/>
                <a:gd name="T64" fmla="*/ 232 w 575"/>
                <a:gd name="T65" fmla="*/ 43 h 790"/>
                <a:gd name="T66" fmla="*/ 41 w 575"/>
                <a:gd name="T67" fmla="*/ 179 h 790"/>
                <a:gd name="T68" fmla="*/ 21 w 575"/>
                <a:gd name="T69" fmla="*/ 288 h 790"/>
                <a:gd name="T70" fmla="*/ 52 w 575"/>
                <a:gd name="T71" fmla="*/ 353 h 790"/>
                <a:gd name="T72" fmla="*/ 73 w 575"/>
                <a:gd name="T73" fmla="*/ 354 h 790"/>
                <a:gd name="T74" fmla="*/ 136 w 575"/>
                <a:gd name="T75" fmla="*/ 421 h 790"/>
                <a:gd name="T76" fmla="*/ 157 w 575"/>
                <a:gd name="T77" fmla="*/ 416 h 790"/>
                <a:gd name="T78" fmla="*/ 222 w 575"/>
                <a:gd name="T79" fmla="*/ 473 h 790"/>
                <a:gd name="T80" fmla="*/ 239 w 575"/>
                <a:gd name="T81" fmla="*/ 584 h 790"/>
                <a:gd name="T82" fmla="*/ 328 w 575"/>
                <a:gd name="T83" fmla="*/ 760 h 790"/>
                <a:gd name="T84" fmla="*/ 180 w 575"/>
                <a:gd name="T85" fmla="*/ 89 h 790"/>
                <a:gd name="T86" fmla="*/ 206 w 575"/>
                <a:gd name="T87" fmla="*/ 89 h 790"/>
                <a:gd name="T88" fmla="*/ 282 w 575"/>
                <a:gd name="T89" fmla="*/ 229 h 790"/>
                <a:gd name="T90" fmla="*/ 309 w 575"/>
                <a:gd name="T91" fmla="*/ 201 h 790"/>
                <a:gd name="T92" fmla="*/ 292 w 575"/>
                <a:gd name="T93" fmla="*/ 196 h 790"/>
                <a:gd name="T94" fmla="*/ 329 w 575"/>
                <a:gd name="T95" fmla="*/ 199 h 790"/>
                <a:gd name="T96" fmla="*/ 331 w 575"/>
                <a:gd name="T97" fmla="*/ 210 h 790"/>
                <a:gd name="T98" fmla="*/ 313 w 575"/>
                <a:gd name="T99" fmla="*/ 215 h 790"/>
                <a:gd name="T100" fmla="*/ 308 w 575"/>
                <a:gd name="T101" fmla="*/ 191 h 790"/>
                <a:gd name="T102" fmla="*/ 267 w 575"/>
                <a:gd name="T103" fmla="*/ 191 h 790"/>
                <a:gd name="T104" fmla="*/ 285 w 575"/>
                <a:gd name="T105" fmla="*/ 172 h 790"/>
                <a:gd name="T106" fmla="*/ 260 w 575"/>
                <a:gd name="T107" fmla="*/ 226 h 790"/>
                <a:gd name="T108" fmla="*/ 237 w 575"/>
                <a:gd name="T109" fmla="*/ 134 h 790"/>
                <a:gd name="T110" fmla="*/ 229 w 575"/>
                <a:gd name="T111" fmla="*/ 154 h 790"/>
                <a:gd name="T112" fmla="*/ 188 w 575"/>
                <a:gd name="T113" fmla="*/ 50 h 790"/>
                <a:gd name="T114" fmla="*/ 176 w 575"/>
                <a:gd name="T115" fmla="*/ 66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75" h="790">
                  <a:moveTo>
                    <a:pt x="488" y="737"/>
                  </a:moveTo>
                  <a:cubicBezTo>
                    <a:pt x="483" y="716"/>
                    <a:pt x="483" y="716"/>
                    <a:pt x="483" y="716"/>
                  </a:cubicBezTo>
                  <a:cubicBezTo>
                    <a:pt x="493" y="702"/>
                    <a:pt x="493" y="702"/>
                    <a:pt x="493" y="702"/>
                  </a:cubicBezTo>
                  <a:cubicBezTo>
                    <a:pt x="523" y="702"/>
                    <a:pt x="523" y="702"/>
                    <a:pt x="523" y="702"/>
                  </a:cubicBezTo>
                  <a:cubicBezTo>
                    <a:pt x="546" y="680"/>
                    <a:pt x="546" y="680"/>
                    <a:pt x="546" y="680"/>
                  </a:cubicBezTo>
                  <a:cubicBezTo>
                    <a:pt x="548" y="623"/>
                    <a:pt x="548" y="623"/>
                    <a:pt x="548" y="623"/>
                  </a:cubicBezTo>
                  <a:cubicBezTo>
                    <a:pt x="566" y="602"/>
                    <a:pt x="566" y="602"/>
                    <a:pt x="566" y="602"/>
                  </a:cubicBezTo>
                  <a:cubicBezTo>
                    <a:pt x="572" y="596"/>
                    <a:pt x="575" y="588"/>
                    <a:pt x="575" y="580"/>
                  </a:cubicBezTo>
                  <a:cubicBezTo>
                    <a:pt x="575" y="576"/>
                    <a:pt x="575" y="576"/>
                    <a:pt x="575" y="576"/>
                  </a:cubicBezTo>
                  <a:cubicBezTo>
                    <a:pt x="554" y="571"/>
                    <a:pt x="554" y="571"/>
                    <a:pt x="554" y="571"/>
                  </a:cubicBezTo>
                  <a:cubicBezTo>
                    <a:pt x="543" y="549"/>
                    <a:pt x="543" y="549"/>
                    <a:pt x="543" y="549"/>
                  </a:cubicBezTo>
                  <a:cubicBezTo>
                    <a:pt x="495" y="549"/>
                    <a:pt x="495" y="549"/>
                    <a:pt x="495" y="549"/>
                  </a:cubicBezTo>
                  <a:cubicBezTo>
                    <a:pt x="458" y="533"/>
                    <a:pt x="458" y="533"/>
                    <a:pt x="458" y="533"/>
                  </a:cubicBezTo>
                  <a:cubicBezTo>
                    <a:pt x="458" y="515"/>
                    <a:pt x="458" y="515"/>
                    <a:pt x="458" y="515"/>
                  </a:cubicBezTo>
                  <a:cubicBezTo>
                    <a:pt x="458" y="510"/>
                    <a:pt x="457" y="505"/>
                    <a:pt x="454" y="500"/>
                  </a:cubicBezTo>
                  <a:cubicBezTo>
                    <a:pt x="446" y="487"/>
                    <a:pt x="446" y="487"/>
                    <a:pt x="446" y="487"/>
                  </a:cubicBezTo>
                  <a:cubicBezTo>
                    <a:pt x="413" y="487"/>
                    <a:pt x="413" y="487"/>
                    <a:pt x="413" y="487"/>
                  </a:cubicBezTo>
                  <a:cubicBezTo>
                    <a:pt x="390" y="452"/>
                    <a:pt x="390" y="452"/>
                    <a:pt x="390" y="452"/>
                  </a:cubicBezTo>
                  <a:cubicBezTo>
                    <a:pt x="376" y="448"/>
                    <a:pt x="376" y="448"/>
                    <a:pt x="376" y="448"/>
                  </a:cubicBezTo>
                  <a:cubicBezTo>
                    <a:pt x="376" y="458"/>
                    <a:pt x="376" y="458"/>
                    <a:pt x="376" y="458"/>
                  </a:cubicBezTo>
                  <a:cubicBezTo>
                    <a:pt x="344" y="458"/>
                    <a:pt x="344" y="458"/>
                    <a:pt x="344" y="458"/>
                  </a:cubicBezTo>
                  <a:cubicBezTo>
                    <a:pt x="331" y="440"/>
                    <a:pt x="331" y="440"/>
                    <a:pt x="331" y="440"/>
                  </a:cubicBezTo>
                  <a:cubicBezTo>
                    <a:pt x="299" y="436"/>
                    <a:pt x="299" y="436"/>
                    <a:pt x="299" y="436"/>
                  </a:cubicBezTo>
                  <a:cubicBezTo>
                    <a:pt x="277" y="465"/>
                    <a:pt x="277" y="465"/>
                    <a:pt x="277" y="465"/>
                  </a:cubicBezTo>
                  <a:cubicBezTo>
                    <a:pt x="232" y="459"/>
                    <a:pt x="232" y="459"/>
                    <a:pt x="232" y="459"/>
                  </a:cubicBezTo>
                  <a:cubicBezTo>
                    <a:pt x="232" y="420"/>
                    <a:pt x="232" y="420"/>
                    <a:pt x="232" y="420"/>
                  </a:cubicBezTo>
                  <a:cubicBezTo>
                    <a:pt x="232" y="416"/>
                    <a:pt x="229" y="412"/>
                    <a:pt x="224" y="412"/>
                  </a:cubicBezTo>
                  <a:cubicBezTo>
                    <a:pt x="199" y="408"/>
                    <a:pt x="199" y="408"/>
                    <a:pt x="199" y="408"/>
                  </a:cubicBezTo>
                  <a:cubicBezTo>
                    <a:pt x="212" y="387"/>
                    <a:pt x="212" y="387"/>
                    <a:pt x="212" y="387"/>
                  </a:cubicBezTo>
                  <a:cubicBezTo>
                    <a:pt x="212" y="378"/>
                    <a:pt x="212" y="378"/>
                    <a:pt x="212" y="378"/>
                  </a:cubicBezTo>
                  <a:cubicBezTo>
                    <a:pt x="212" y="373"/>
                    <a:pt x="206" y="370"/>
                    <a:pt x="202" y="373"/>
                  </a:cubicBezTo>
                  <a:cubicBezTo>
                    <a:pt x="170" y="397"/>
                    <a:pt x="170" y="397"/>
                    <a:pt x="170" y="397"/>
                  </a:cubicBezTo>
                  <a:cubicBezTo>
                    <a:pt x="144" y="397"/>
                    <a:pt x="144" y="397"/>
                    <a:pt x="144" y="397"/>
                  </a:cubicBezTo>
                  <a:cubicBezTo>
                    <a:pt x="142" y="392"/>
                    <a:pt x="142" y="392"/>
                    <a:pt x="142" y="392"/>
                  </a:cubicBezTo>
                  <a:cubicBezTo>
                    <a:pt x="136" y="380"/>
                    <a:pt x="136" y="367"/>
                    <a:pt x="141" y="355"/>
                  </a:cubicBezTo>
                  <a:cubicBezTo>
                    <a:pt x="146" y="343"/>
                    <a:pt x="146" y="343"/>
                    <a:pt x="146" y="343"/>
                  </a:cubicBezTo>
                  <a:cubicBezTo>
                    <a:pt x="150" y="333"/>
                    <a:pt x="158" y="325"/>
                    <a:pt x="167" y="321"/>
                  </a:cubicBezTo>
                  <a:cubicBezTo>
                    <a:pt x="175" y="317"/>
                    <a:pt x="175" y="317"/>
                    <a:pt x="175" y="317"/>
                  </a:cubicBezTo>
                  <a:cubicBezTo>
                    <a:pt x="181" y="314"/>
                    <a:pt x="188" y="312"/>
                    <a:pt x="195" y="312"/>
                  </a:cubicBezTo>
                  <a:cubicBezTo>
                    <a:pt x="246" y="312"/>
                    <a:pt x="246" y="312"/>
                    <a:pt x="246" y="312"/>
                  </a:cubicBezTo>
                  <a:cubicBezTo>
                    <a:pt x="246" y="326"/>
                    <a:pt x="246" y="326"/>
                    <a:pt x="246" y="326"/>
                  </a:cubicBezTo>
                  <a:cubicBezTo>
                    <a:pt x="246" y="334"/>
                    <a:pt x="250" y="341"/>
                    <a:pt x="257" y="345"/>
                  </a:cubicBezTo>
                  <a:cubicBezTo>
                    <a:pt x="261" y="347"/>
                    <a:pt x="261" y="347"/>
                    <a:pt x="261" y="347"/>
                  </a:cubicBezTo>
                  <a:cubicBezTo>
                    <a:pt x="264" y="349"/>
                    <a:pt x="269" y="347"/>
                    <a:pt x="269" y="343"/>
                  </a:cubicBezTo>
                  <a:cubicBezTo>
                    <a:pt x="269" y="308"/>
                    <a:pt x="269" y="308"/>
                    <a:pt x="269" y="308"/>
                  </a:cubicBezTo>
                  <a:cubicBezTo>
                    <a:pt x="293" y="285"/>
                    <a:pt x="293" y="285"/>
                    <a:pt x="293" y="285"/>
                  </a:cubicBezTo>
                  <a:cubicBezTo>
                    <a:pt x="317" y="272"/>
                    <a:pt x="317" y="272"/>
                    <a:pt x="317" y="272"/>
                  </a:cubicBezTo>
                  <a:cubicBezTo>
                    <a:pt x="317" y="257"/>
                    <a:pt x="317" y="257"/>
                    <a:pt x="317" y="257"/>
                  </a:cubicBezTo>
                  <a:cubicBezTo>
                    <a:pt x="350" y="223"/>
                    <a:pt x="350" y="223"/>
                    <a:pt x="350" y="223"/>
                  </a:cubicBezTo>
                  <a:cubicBezTo>
                    <a:pt x="385" y="206"/>
                    <a:pt x="385" y="206"/>
                    <a:pt x="385" y="206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404" y="182"/>
                    <a:pt x="404" y="182"/>
                    <a:pt x="404" y="182"/>
                  </a:cubicBezTo>
                  <a:cubicBezTo>
                    <a:pt x="410" y="184"/>
                    <a:pt x="410" y="184"/>
                    <a:pt x="410" y="184"/>
                  </a:cubicBezTo>
                  <a:cubicBezTo>
                    <a:pt x="415" y="185"/>
                    <a:pt x="421" y="183"/>
                    <a:pt x="424" y="179"/>
                  </a:cubicBezTo>
                  <a:cubicBezTo>
                    <a:pt x="424" y="179"/>
                    <a:pt x="424" y="179"/>
                    <a:pt x="424" y="179"/>
                  </a:cubicBezTo>
                  <a:cubicBezTo>
                    <a:pt x="425" y="178"/>
                    <a:pt x="424" y="175"/>
                    <a:pt x="422" y="175"/>
                  </a:cubicBezTo>
                  <a:cubicBezTo>
                    <a:pt x="416" y="175"/>
                    <a:pt x="416" y="175"/>
                    <a:pt x="416" y="175"/>
                  </a:cubicBezTo>
                  <a:cubicBezTo>
                    <a:pt x="411" y="175"/>
                    <a:pt x="408" y="172"/>
                    <a:pt x="407" y="168"/>
                  </a:cubicBezTo>
                  <a:cubicBezTo>
                    <a:pt x="406" y="163"/>
                    <a:pt x="410" y="158"/>
                    <a:pt x="415" y="158"/>
                  </a:cubicBezTo>
                  <a:cubicBezTo>
                    <a:pt x="421" y="158"/>
                    <a:pt x="421" y="158"/>
                    <a:pt x="421" y="158"/>
                  </a:cubicBezTo>
                  <a:cubicBezTo>
                    <a:pt x="426" y="158"/>
                    <a:pt x="430" y="161"/>
                    <a:pt x="433" y="165"/>
                  </a:cubicBezTo>
                  <a:cubicBezTo>
                    <a:pt x="435" y="169"/>
                    <a:pt x="435" y="169"/>
                    <a:pt x="435" y="169"/>
                  </a:cubicBezTo>
                  <a:cubicBezTo>
                    <a:pt x="453" y="169"/>
                    <a:pt x="453" y="169"/>
                    <a:pt x="453" y="169"/>
                  </a:cubicBezTo>
                  <a:cubicBezTo>
                    <a:pt x="463" y="159"/>
                    <a:pt x="463" y="159"/>
                    <a:pt x="463" y="159"/>
                  </a:cubicBezTo>
                  <a:cubicBezTo>
                    <a:pt x="470" y="159"/>
                    <a:pt x="470" y="159"/>
                    <a:pt x="470" y="159"/>
                  </a:cubicBezTo>
                  <a:cubicBezTo>
                    <a:pt x="470" y="169"/>
                    <a:pt x="470" y="169"/>
                    <a:pt x="470" y="169"/>
                  </a:cubicBezTo>
                  <a:cubicBezTo>
                    <a:pt x="462" y="177"/>
                    <a:pt x="462" y="177"/>
                    <a:pt x="462" y="177"/>
                  </a:cubicBezTo>
                  <a:cubicBezTo>
                    <a:pt x="460" y="180"/>
                    <a:pt x="460" y="184"/>
                    <a:pt x="464" y="185"/>
                  </a:cubicBezTo>
                  <a:cubicBezTo>
                    <a:pt x="490" y="194"/>
                    <a:pt x="490" y="194"/>
                    <a:pt x="490" y="194"/>
                  </a:cubicBezTo>
                  <a:cubicBezTo>
                    <a:pt x="494" y="195"/>
                    <a:pt x="498" y="192"/>
                    <a:pt x="498" y="188"/>
                  </a:cubicBezTo>
                  <a:cubicBezTo>
                    <a:pt x="498" y="182"/>
                    <a:pt x="498" y="182"/>
                    <a:pt x="498" y="182"/>
                  </a:cubicBezTo>
                  <a:cubicBezTo>
                    <a:pt x="475" y="171"/>
                    <a:pt x="475" y="171"/>
                    <a:pt x="475" y="171"/>
                  </a:cubicBezTo>
                  <a:cubicBezTo>
                    <a:pt x="475" y="164"/>
                    <a:pt x="475" y="164"/>
                    <a:pt x="475" y="164"/>
                  </a:cubicBezTo>
                  <a:cubicBezTo>
                    <a:pt x="492" y="158"/>
                    <a:pt x="492" y="158"/>
                    <a:pt x="492" y="158"/>
                  </a:cubicBezTo>
                  <a:cubicBezTo>
                    <a:pt x="492" y="144"/>
                    <a:pt x="492" y="144"/>
                    <a:pt x="492" y="144"/>
                  </a:cubicBezTo>
                  <a:cubicBezTo>
                    <a:pt x="492" y="140"/>
                    <a:pt x="490" y="136"/>
                    <a:pt x="487" y="134"/>
                  </a:cubicBezTo>
                  <a:cubicBezTo>
                    <a:pt x="472" y="126"/>
                    <a:pt x="472" y="126"/>
                    <a:pt x="472" y="126"/>
                  </a:cubicBezTo>
                  <a:cubicBezTo>
                    <a:pt x="472" y="107"/>
                    <a:pt x="472" y="107"/>
                    <a:pt x="472" y="107"/>
                  </a:cubicBezTo>
                  <a:cubicBezTo>
                    <a:pt x="472" y="102"/>
                    <a:pt x="467" y="99"/>
                    <a:pt x="462" y="101"/>
                  </a:cubicBezTo>
                  <a:cubicBezTo>
                    <a:pt x="447" y="110"/>
                    <a:pt x="447" y="110"/>
                    <a:pt x="447" y="110"/>
                  </a:cubicBezTo>
                  <a:cubicBezTo>
                    <a:pt x="435" y="110"/>
                    <a:pt x="435" y="110"/>
                    <a:pt x="435" y="110"/>
                  </a:cubicBezTo>
                  <a:cubicBezTo>
                    <a:pt x="437" y="87"/>
                    <a:pt x="437" y="87"/>
                    <a:pt x="437" y="87"/>
                  </a:cubicBezTo>
                  <a:cubicBezTo>
                    <a:pt x="401" y="78"/>
                    <a:pt x="401" y="78"/>
                    <a:pt x="401" y="78"/>
                  </a:cubicBezTo>
                  <a:cubicBezTo>
                    <a:pt x="384" y="89"/>
                    <a:pt x="384" y="89"/>
                    <a:pt x="384" y="89"/>
                  </a:cubicBezTo>
                  <a:cubicBezTo>
                    <a:pt x="384" y="124"/>
                    <a:pt x="384" y="124"/>
                    <a:pt x="384" y="124"/>
                  </a:cubicBezTo>
                  <a:cubicBezTo>
                    <a:pt x="357" y="134"/>
                    <a:pt x="357" y="134"/>
                    <a:pt x="357" y="134"/>
                  </a:cubicBezTo>
                  <a:cubicBezTo>
                    <a:pt x="345" y="157"/>
                    <a:pt x="345" y="157"/>
                    <a:pt x="345" y="157"/>
                  </a:cubicBezTo>
                  <a:cubicBezTo>
                    <a:pt x="334" y="157"/>
                    <a:pt x="334" y="157"/>
                    <a:pt x="334" y="157"/>
                  </a:cubicBezTo>
                  <a:cubicBezTo>
                    <a:pt x="334" y="130"/>
                    <a:pt x="334" y="130"/>
                    <a:pt x="334" y="130"/>
                  </a:cubicBezTo>
                  <a:cubicBezTo>
                    <a:pt x="306" y="126"/>
                    <a:pt x="306" y="126"/>
                    <a:pt x="306" y="126"/>
                  </a:cubicBezTo>
                  <a:cubicBezTo>
                    <a:pt x="293" y="115"/>
                    <a:pt x="293" y="115"/>
                    <a:pt x="293" y="115"/>
                  </a:cubicBezTo>
                  <a:cubicBezTo>
                    <a:pt x="292" y="104"/>
                    <a:pt x="292" y="104"/>
                    <a:pt x="292" y="104"/>
                  </a:cubicBezTo>
                  <a:cubicBezTo>
                    <a:pt x="292" y="99"/>
                    <a:pt x="294" y="95"/>
                    <a:pt x="298" y="92"/>
                  </a:cubicBezTo>
                  <a:cubicBezTo>
                    <a:pt x="334" y="70"/>
                    <a:pt x="334" y="70"/>
                    <a:pt x="334" y="70"/>
                  </a:cubicBezTo>
                  <a:cubicBezTo>
                    <a:pt x="351" y="65"/>
                    <a:pt x="351" y="65"/>
                    <a:pt x="351" y="65"/>
                  </a:cubicBezTo>
                  <a:cubicBezTo>
                    <a:pt x="356" y="64"/>
                    <a:pt x="360" y="68"/>
                    <a:pt x="360" y="72"/>
                  </a:cubicBezTo>
                  <a:cubicBezTo>
                    <a:pt x="360" y="80"/>
                    <a:pt x="360" y="80"/>
                    <a:pt x="360" y="80"/>
                  </a:cubicBezTo>
                  <a:cubicBezTo>
                    <a:pt x="370" y="80"/>
                    <a:pt x="370" y="80"/>
                    <a:pt x="370" y="80"/>
                  </a:cubicBezTo>
                  <a:cubicBezTo>
                    <a:pt x="374" y="80"/>
                    <a:pt x="377" y="77"/>
                    <a:pt x="377" y="73"/>
                  </a:cubicBezTo>
                  <a:cubicBezTo>
                    <a:pt x="377" y="69"/>
                    <a:pt x="377" y="69"/>
                    <a:pt x="377" y="69"/>
                  </a:cubicBezTo>
                  <a:cubicBezTo>
                    <a:pt x="384" y="69"/>
                    <a:pt x="384" y="69"/>
                    <a:pt x="384" y="69"/>
                  </a:cubicBezTo>
                  <a:cubicBezTo>
                    <a:pt x="386" y="69"/>
                    <a:pt x="388" y="66"/>
                    <a:pt x="386" y="64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98" y="56"/>
                    <a:pt x="398" y="56"/>
                    <a:pt x="398" y="56"/>
                  </a:cubicBezTo>
                  <a:cubicBezTo>
                    <a:pt x="411" y="39"/>
                    <a:pt x="411" y="39"/>
                    <a:pt x="411" y="39"/>
                  </a:cubicBezTo>
                  <a:cubicBezTo>
                    <a:pt x="440" y="37"/>
                    <a:pt x="440" y="37"/>
                    <a:pt x="440" y="37"/>
                  </a:cubicBezTo>
                  <a:cubicBezTo>
                    <a:pt x="444" y="36"/>
                    <a:pt x="448" y="38"/>
                    <a:pt x="451" y="40"/>
                  </a:cubicBezTo>
                  <a:cubicBezTo>
                    <a:pt x="454" y="44"/>
                    <a:pt x="454" y="44"/>
                    <a:pt x="454" y="44"/>
                  </a:cubicBezTo>
                  <a:cubicBezTo>
                    <a:pt x="457" y="47"/>
                    <a:pt x="456" y="52"/>
                    <a:pt x="452" y="54"/>
                  </a:cubicBezTo>
                  <a:cubicBezTo>
                    <a:pt x="446" y="57"/>
                    <a:pt x="438" y="61"/>
                    <a:pt x="432" y="65"/>
                  </a:cubicBezTo>
                  <a:cubicBezTo>
                    <a:pt x="429" y="66"/>
                    <a:pt x="429" y="70"/>
                    <a:pt x="432" y="71"/>
                  </a:cubicBezTo>
                  <a:cubicBezTo>
                    <a:pt x="465" y="80"/>
                    <a:pt x="465" y="80"/>
                    <a:pt x="465" y="80"/>
                  </a:cubicBezTo>
                  <a:cubicBezTo>
                    <a:pt x="469" y="81"/>
                    <a:pt x="473" y="79"/>
                    <a:pt x="475" y="74"/>
                  </a:cubicBezTo>
                  <a:cubicBezTo>
                    <a:pt x="475" y="71"/>
                    <a:pt x="475" y="71"/>
                    <a:pt x="475" y="71"/>
                  </a:cubicBezTo>
                  <a:cubicBezTo>
                    <a:pt x="476" y="67"/>
                    <a:pt x="480" y="65"/>
                    <a:pt x="483" y="65"/>
                  </a:cubicBezTo>
                  <a:cubicBezTo>
                    <a:pt x="501" y="65"/>
                    <a:pt x="501" y="65"/>
                    <a:pt x="501" y="65"/>
                  </a:cubicBezTo>
                  <a:cubicBezTo>
                    <a:pt x="506" y="54"/>
                    <a:pt x="506" y="54"/>
                    <a:pt x="506" y="54"/>
                  </a:cubicBezTo>
                  <a:cubicBezTo>
                    <a:pt x="508" y="51"/>
                    <a:pt x="506" y="48"/>
                    <a:pt x="503" y="48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93" y="28"/>
                    <a:pt x="493" y="28"/>
                    <a:pt x="493" y="28"/>
                  </a:cubicBezTo>
                  <a:cubicBezTo>
                    <a:pt x="460" y="13"/>
                    <a:pt x="460" y="13"/>
                    <a:pt x="460" y="13"/>
                  </a:cubicBezTo>
                  <a:cubicBezTo>
                    <a:pt x="446" y="7"/>
                    <a:pt x="431" y="6"/>
                    <a:pt x="417" y="11"/>
                  </a:cubicBezTo>
                  <a:cubicBezTo>
                    <a:pt x="391" y="20"/>
                    <a:pt x="391" y="20"/>
                    <a:pt x="391" y="20"/>
                  </a:cubicBezTo>
                  <a:cubicBezTo>
                    <a:pt x="391" y="36"/>
                    <a:pt x="391" y="36"/>
                    <a:pt x="391" y="36"/>
                  </a:cubicBezTo>
                  <a:cubicBezTo>
                    <a:pt x="391" y="40"/>
                    <a:pt x="388" y="42"/>
                    <a:pt x="385" y="42"/>
                  </a:cubicBezTo>
                  <a:cubicBezTo>
                    <a:pt x="374" y="41"/>
                    <a:pt x="374" y="41"/>
                    <a:pt x="374" y="41"/>
                  </a:cubicBezTo>
                  <a:cubicBezTo>
                    <a:pt x="371" y="41"/>
                    <a:pt x="369" y="38"/>
                    <a:pt x="369" y="35"/>
                  </a:cubicBezTo>
                  <a:cubicBezTo>
                    <a:pt x="369" y="26"/>
                    <a:pt x="369" y="26"/>
                    <a:pt x="369" y="26"/>
                  </a:cubicBezTo>
                  <a:cubicBezTo>
                    <a:pt x="378" y="17"/>
                    <a:pt x="378" y="17"/>
                    <a:pt x="378" y="17"/>
                  </a:cubicBezTo>
                  <a:cubicBezTo>
                    <a:pt x="381" y="14"/>
                    <a:pt x="379" y="9"/>
                    <a:pt x="375" y="9"/>
                  </a:cubicBezTo>
                  <a:cubicBezTo>
                    <a:pt x="352" y="9"/>
                    <a:pt x="352" y="9"/>
                    <a:pt x="352" y="9"/>
                  </a:cubicBezTo>
                  <a:cubicBezTo>
                    <a:pt x="348" y="9"/>
                    <a:pt x="345" y="11"/>
                    <a:pt x="343" y="14"/>
                  </a:cubicBezTo>
                  <a:cubicBezTo>
                    <a:pt x="339" y="24"/>
                    <a:pt x="339" y="24"/>
                    <a:pt x="339" y="24"/>
                  </a:cubicBezTo>
                  <a:cubicBezTo>
                    <a:pt x="344" y="24"/>
                    <a:pt x="344" y="24"/>
                    <a:pt x="344" y="24"/>
                  </a:cubicBezTo>
                  <a:cubicBezTo>
                    <a:pt x="347" y="24"/>
                    <a:pt x="350" y="27"/>
                    <a:pt x="350" y="30"/>
                  </a:cubicBezTo>
                  <a:cubicBezTo>
                    <a:pt x="350" y="33"/>
                    <a:pt x="350" y="33"/>
                    <a:pt x="350" y="33"/>
                  </a:cubicBezTo>
                  <a:cubicBezTo>
                    <a:pt x="350" y="37"/>
                    <a:pt x="347" y="40"/>
                    <a:pt x="344" y="40"/>
                  </a:cubicBezTo>
                  <a:cubicBezTo>
                    <a:pt x="326" y="40"/>
                    <a:pt x="326" y="40"/>
                    <a:pt x="326" y="40"/>
                  </a:cubicBezTo>
                  <a:cubicBezTo>
                    <a:pt x="323" y="45"/>
                    <a:pt x="323" y="45"/>
                    <a:pt x="323" y="45"/>
                  </a:cubicBezTo>
                  <a:cubicBezTo>
                    <a:pt x="321" y="47"/>
                    <a:pt x="318" y="49"/>
                    <a:pt x="315" y="49"/>
                  </a:cubicBezTo>
                  <a:cubicBezTo>
                    <a:pt x="298" y="49"/>
                    <a:pt x="298" y="49"/>
                    <a:pt x="298" y="49"/>
                  </a:cubicBezTo>
                  <a:cubicBezTo>
                    <a:pt x="293" y="49"/>
                    <a:pt x="289" y="45"/>
                    <a:pt x="289" y="40"/>
                  </a:cubicBezTo>
                  <a:cubicBezTo>
                    <a:pt x="289" y="30"/>
                    <a:pt x="289" y="30"/>
                    <a:pt x="289" y="30"/>
                  </a:cubicBezTo>
                  <a:cubicBezTo>
                    <a:pt x="317" y="30"/>
                    <a:pt x="317" y="30"/>
                    <a:pt x="317" y="30"/>
                  </a:cubicBezTo>
                  <a:cubicBezTo>
                    <a:pt x="332" y="12"/>
                    <a:pt x="332" y="12"/>
                    <a:pt x="332" y="12"/>
                  </a:cubicBezTo>
                  <a:cubicBezTo>
                    <a:pt x="327" y="8"/>
                    <a:pt x="327" y="8"/>
                    <a:pt x="327" y="8"/>
                  </a:cubicBezTo>
                  <a:cubicBezTo>
                    <a:pt x="324" y="6"/>
                    <a:pt x="320" y="7"/>
                    <a:pt x="318" y="9"/>
                  </a:cubicBezTo>
                  <a:cubicBezTo>
                    <a:pt x="312" y="16"/>
                    <a:pt x="312" y="16"/>
                    <a:pt x="312" y="16"/>
                  </a:cubicBezTo>
                  <a:cubicBezTo>
                    <a:pt x="310" y="18"/>
                    <a:pt x="307" y="19"/>
                    <a:pt x="304" y="19"/>
                  </a:cubicBezTo>
                  <a:cubicBezTo>
                    <a:pt x="290" y="19"/>
                    <a:pt x="290" y="19"/>
                    <a:pt x="290" y="19"/>
                  </a:cubicBezTo>
                  <a:cubicBezTo>
                    <a:pt x="287" y="19"/>
                    <a:pt x="283" y="18"/>
                    <a:pt x="281" y="14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242" y="0"/>
                    <a:pt x="237" y="2"/>
                    <a:pt x="233" y="6"/>
                  </a:cubicBezTo>
                  <a:cubicBezTo>
                    <a:pt x="221" y="17"/>
                    <a:pt x="221" y="17"/>
                    <a:pt x="221" y="17"/>
                  </a:cubicBezTo>
                  <a:cubicBezTo>
                    <a:pt x="219" y="19"/>
                    <a:pt x="220" y="22"/>
                    <a:pt x="223" y="22"/>
                  </a:cubicBezTo>
                  <a:cubicBezTo>
                    <a:pt x="244" y="22"/>
                    <a:pt x="244" y="22"/>
                    <a:pt x="244" y="22"/>
                  </a:cubicBezTo>
                  <a:cubicBezTo>
                    <a:pt x="244" y="31"/>
                    <a:pt x="244" y="31"/>
                    <a:pt x="244" y="31"/>
                  </a:cubicBezTo>
                  <a:cubicBezTo>
                    <a:pt x="243" y="33"/>
                    <a:pt x="243" y="33"/>
                    <a:pt x="243" y="33"/>
                  </a:cubicBezTo>
                  <a:cubicBezTo>
                    <a:pt x="240" y="35"/>
                    <a:pt x="242" y="40"/>
                    <a:pt x="245" y="40"/>
                  </a:cubicBezTo>
                  <a:cubicBezTo>
                    <a:pt x="261" y="40"/>
                    <a:pt x="261" y="40"/>
                    <a:pt x="261" y="40"/>
                  </a:cubicBezTo>
                  <a:cubicBezTo>
                    <a:pt x="265" y="40"/>
                    <a:pt x="269" y="42"/>
                    <a:pt x="270" y="47"/>
                  </a:cubicBezTo>
                  <a:cubicBezTo>
                    <a:pt x="271" y="50"/>
                    <a:pt x="271" y="50"/>
                    <a:pt x="271" y="50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7" y="50"/>
                    <a:pt x="233" y="47"/>
                    <a:pt x="232" y="43"/>
                  </a:cubicBezTo>
                  <a:cubicBezTo>
                    <a:pt x="230" y="39"/>
                    <a:pt x="230" y="39"/>
                    <a:pt x="230" y="39"/>
                  </a:cubicBezTo>
                  <a:cubicBezTo>
                    <a:pt x="199" y="27"/>
                    <a:pt x="199" y="27"/>
                    <a:pt x="199" y="27"/>
                  </a:cubicBezTo>
                  <a:cubicBezTo>
                    <a:pt x="179" y="28"/>
                    <a:pt x="179" y="28"/>
                    <a:pt x="179" y="28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20" y="71"/>
                    <a:pt x="75" y="121"/>
                    <a:pt x="41" y="179"/>
                  </a:cubicBezTo>
                  <a:cubicBezTo>
                    <a:pt x="41" y="185"/>
                    <a:pt x="41" y="185"/>
                    <a:pt x="41" y="185"/>
                  </a:cubicBezTo>
                  <a:cubicBezTo>
                    <a:pt x="33" y="193"/>
                    <a:pt x="33" y="193"/>
                    <a:pt x="33" y="193"/>
                  </a:cubicBezTo>
                  <a:cubicBezTo>
                    <a:pt x="20" y="216"/>
                    <a:pt x="9" y="241"/>
                    <a:pt x="0" y="266"/>
                  </a:cubicBezTo>
                  <a:cubicBezTo>
                    <a:pt x="0" y="276"/>
                    <a:pt x="0" y="276"/>
                    <a:pt x="0" y="276"/>
                  </a:cubicBezTo>
                  <a:cubicBezTo>
                    <a:pt x="21" y="288"/>
                    <a:pt x="21" y="288"/>
                    <a:pt x="21" y="288"/>
                  </a:cubicBezTo>
                  <a:cubicBezTo>
                    <a:pt x="21" y="317"/>
                    <a:pt x="21" y="317"/>
                    <a:pt x="21" y="317"/>
                  </a:cubicBezTo>
                  <a:cubicBezTo>
                    <a:pt x="21" y="325"/>
                    <a:pt x="23" y="332"/>
                    <a:pt x="27" y="339"/>
                  </a:cubicBezTo>
                  <a:cubicBezTo>
                    <a:pt x="43" y="367"/>
                    <a:pt x="43" y="367"/>
                    <a:pt x="43" y="367"/>
                  </a:cubicBezTo>
                  <a:cubicBezTo>
                    <a:pt x="52" y="367"/>
                    <a:pt x="52" y="367"/>
                    <a:pt x="52" y="367"/>
                  </a:cubicBezTo>
                  <a:cubicBezTo>
                    <a:pt x="52" y="353"/>
                    <a:pt x="52" y="353"/>
                    <a:pt x="52" y="353"/>
                  </a:cubicBezTo>
                  <a:cubicBezTo>
                    <a:pt x="41" y="322"/>
                    <a:pt x="41" y="322"/>
                    <a:pt x="41" y="322"/>
                  </a:cubicBezTo>
                  <a:cubicBezTo>
                    <a:pt x="41" y="304"/>
                    <a:pt x="41" y="304"/>
                    <a:pt x="41" y="304"/>
                  </a:cubicBezTo>
                  <a:cubicBezTo>
                    <a:pt x="41" y="299"/>
                    <a:pt x="45" y="294"/>
                    <a:pt x="50" y="294"/>
                  </a:cubicBezTo>
                  <a:cubicBezTo>
                    <a:pt x="50" y="320"/>
                    <a:pt x="50" y="320"/>
                    <a:pt x="50" y="320"/>
                  </a:cubicBezTo>
                  <a:cubicBezTo>
                    <a:pt x="73" y="354"/>
                    <a:pt x="73" y="354"/>
                    <a:pt x="73" y="354"/>
                  </a:cubicBezTo>
                  <a:cubicBezTo>
                    <a:pt x="73" y="369"/>
                    <a:pt x="73" y="369"/>
                    <a:pt x="73" y="369"/>
                  </a:cubicBezTo>
                  <a:cubicBezTo>
                    <a:pt x="78" y="369"/>
                    <a:pt x="78" y="369"/>
                    <a:pt x="78" y="369"/>
                  </a:cubicBezTo>
                  <a:cubicBezTo>
                    <a:pt x="78" y="380"/>
                    <a:pt x="78" y="380"/>
                    <a:pt x="78" y="380"/>
                  </a:cubicBezTo>
                  <a:cubicBezTo>
                    <a:pt x="92" y="408"/>
                    <a:pt x="92" y="408"/>
                    <a:pt x="92" y="408"/>
                  </a:cubicBezTo>
                  <a:cubicBezTo>
                    <a:pt x="136" y="421"/>
                    <a:pt x="136" y="421"/>
                    <a:pt x="136" y="421"/>
                  </a:cubicBezTo>
                  <a:cubicBezTo>
                    <a:pt x="138" y="421"/>
                    <a:pt x="140" y="420"/>
                    <a:pt x="140" y="418"/>
                  </a:cubicBezTo>
                  <a:cubicBezTo>
                    <a:pt x="140" y="414"/>
                    <a:pt x="140" y="414"/>
                    <a:pt x="140" y="414"/>
                  </a:cubicBezTo>
                  <a:cubicBezTo>
                    <a:pt x="140" y="412"/>
                    <a:pt x="141" y="411"/>
                    <a:pt x="142" y="412"/>
                  </a:cubicBezTo>
                  <a:cubicBezTo>
                    <a:pt x="155" y="415"/>
                    <a:pt x="155" y="415"/>
                    <a:pt x="155" y="415"/>
                  </a:cubicBezTo>
                  <a:cubicBezTo>
                    <a:pt x="156" y="415"/>
                    <a:pt x="157" y="416"/>
                    <a:pt x="157" y="416"/>
                  </a:cubicBezTo>
                  <a:cubicBezTo>
                    <a:pt x="157" y="425"/>
                    <a:pt x="157" y="425"/>
                    <a:pt x="157" y="425"/>
                  </a:cubicBezTo>
                  <a:cubicBezTo>
                    <a:pt x="157" y="426"/>
                    <a:pt x="158" y="427"/>
                    <a:pt x="159" y="427"/>
                  </a:cubicBezTo>
                  <a:cubicBezTo>
                    <a:pt x="188" y="436"/>
                    <a:pt x="188" y="436"/>
                    <a:pt x="188" y="436"/>
                  </a:cubicBezTo>
                  <a:cubicBezTo>
                    <a:pt x="190" y="436"/>
                    <a:pt x="192" y="438"/>
                    <a:pt x="193" y="439"/>
                  </a:cubicBezTo>
                  <a:cubicBezTo>
                    <a:pt x="222" y="473"/>
                    <a:pt x="222" y="473"/>
                    <a:pt x="222" y="473"/>
                  </a:cubicBezTo>
                  <a:cubicBezTo>
                    <a:pt x="257" y="473"/>
                    <a:pt x="257" y="473"/>
                    <a:pt x="257" y="473"/>
                  </a:cubicBezTo>
                  <a:cubicBezTo>
                    <a:pt x="262" y="473"/>
                    <a:pt x="265" y="477"/>
                    <a:pt x="265" y="482"/>
                  </a:cubicBezTo>
                  <a:cubicBezTo>
                    <a:pt x="265" y="502"/>
                    <a:pt x="265" y="502"/>
                    <a:pt x="265" y="502"/>
                  </a:cubicBezTo>
                  <a:cubicBezTo>
                    <a:pt x="239" y="529"/>
                    <a:pt x="239" y="529"/>
                    <a:pt x="239" y="529"/>
                  </a:cubicBezTo>
                  <a:cubicBezTo>
                    <a:pt x="239" y="584"/>
                    <a:pt x="239" y="584"/>
                    <a:pt x="239" y="584"/>
                  </a:cubicBezTo>
                  <a:cubicBezTo>
                    <a:pt x="280" y="625"/>
                    <a:pt x="280" y="625"/>
                    <a:pt x="280" y="625"/>
                  </a:cubicBezTo>
                  <a:cubicBezTo>
                    <a:pt x="280" y="639"/>
                    <a:pt x="280" y="639"/>
                    <a:pt x="280" y="639"/>
                  </a:cubicBezTo>
                  <a:cubicBezTo>
                    <a:pt x="297" y="639"/>
                    <a:pt x="297" y="639"/>
                    <a:pt x="297" y="639"/>
                  </a:cubicBezTo>
                  <a:cubicBezTo>
                    <a:pt x="328" y="670"/>
                    <a:pt x="328" y="670"/>
                    <a:pt x="328" y="670"/>
                  </a:cubicBezTo>
                  <a:cubicBezTo>
                    <a:pt x="328" y="760"/>
                    <a:pt x="328" y="760"/>
                    <a:pt x="328" y="760"/>
                  </a:cubicBezTo>
                  <a:cubicBezTo>
                    <a:pt x="337" y="760"/>
                    <a:pt x="337" y="760"/>
                    <a:pt x="337" y="760"/>
                  </a:cubicBezTo>
                  <a:cubicBezTo>
                    <a:pt x="331" y="790"/>
                    <a:pt x="331" y="790"/>
                    <a:pt x="331" y="790"/>
                  </a:cubicBezTo>
                  <a:cubicBezTo>
                    <a:pt x="386" y="780"/>
                    <a:pt x="439" y="762"/>
                    <a:pt x="488" y="737"/>
                  </a:cubicBezTo>
                  <a:close/>
                  <a:moveTo>
                    <a:pt x="206" y="89"/>
                  </a:moveTo>
                  <a:cubicBezTo>
                    <a:pt x="180" y="89"/>
                    <a:pt x="180" y="89"/>
                    <a:pt x="180" y="89"/>
                  </a:cubicBezTo>
                  <a:cubicBezTo>
                    <a:pt x="178" y="89"/>
                    <a:pt x="177" y="86"/>
                    <a:pt x="179" y="85"/>
                  </a:cubicBezTo>
                  <a:cubicBezTo>
                    <a:pt x="187" y="80"/>
                    <a:pt x="187" y="80"/>
                    <a:pt x="187" y="80"/>
                  </a:cubicBezTo>
                  <a:cubicBezTo>
                    <a:pt x="189" y="79"/>
                    <a:pt x="192" y="78"/>
                    <a:pt x="194" y="78"/>
                  </a:cubicBezTo>
                  <a:cubicBezTo>
                    <a:pt x="206" y="78"/>
                    <a:pt x="206" y="78"/>
                    <a:pt x="206" y="78"/>
                  </a:cubicBezTo>
                  <a:lnTo>
                    <a:pt x="206" y="89"/>
                  </a:lnTo>
                  <a:close/>
                  <a:moveTo>
                    <a:pt x="307" y="226"/>
                  </a:moveTo>
                  <a:cubicBezTo>
                    <a:pt x="303" y="230"/>
                    <a:pt x="303" y="230"/>
                    <a:pt x="303" y="230"/>
                  </a:cubicBezTo>
                  <a:cubicBezTo>
                    <a:pt x="300" y="233"/>
                    <a:pt x="297" y="234"/>
                    <a:pt x="293" y="234"/>
                  </a:cubicBezTo>
                  <a:cubicBezTo>
                    <a:pt x="286" y="234"/>
                    <a:pt x="286" y="234"/>
                    <a:pt x="286" y="234"/>
                  </a:cubicBezTo>
                  <a:cubicBezTo>
                    <a:pt x="283" y="234"/>
                    <a:pt x="281" y="231"/>
                    <a:pt x="282" y="229"/>
                  </a:cubicBezTo>
                  <a:cubicBezTo>
                    <a:pt x="285" y="222"/>
                    <a:pt x="285" y="222"/>
                    <a:pt x="285" y="222"/>
                  </a:cubicBezTo>
                  <a:cubicBezTo>
                    <a:pt x="301" y="216"/>
                    <a:pt x="301" y="216"/>
                    <a:pt x="301" y="216"/>
                  </a:cubicBezTo>
                  <a:cubicBezTo>
                    <a:pt x="304" y="216"/>
                    <a:pt x="307" y="218"/>
                    <a:pt x="307" y="221"/>
                  </a:cubicBezTo>
                  <a:lnTo>
                    <a:pt x="307" y="226"/>
                  </a:lnTo>
                  <a:close/>
                  <a:moveTo>
                    <a:pt x="309" y="201"/>
                  </a:moveTo>
                  <a:cubicBezTo>
                    <a:pt x="309" y="203"/>
                    <a:pt x="309" y="205"/>
                    <a:pt x="307" y="206"/>
                  </a:cubicBezTo>
                  <a:cubicBezTo>
                    <a:pt x="304" y="209"/>
                    <a:pt x="304" y="209"/>
                    <a:pt x="304" y="209"/>
                  </a:cubicBezTo>
                  <a:cubicBezTo>
                    <a:pt x="302" y="210"/>
                    <a:pt x="301" y="211"/>
                    <a:pt x="299" y="211"/>
                  </a:cubicBezTo>
                  <a:cubicBezTo>
                    <a:pt x="292" y="211"/>
                    <a:pt x="292" y="211"/>
                    <a:pt x="292" y="211"/>
                  </a:cubicBezTo>
                  <a:cubicBezTo>
                    <a:pt x="292" y="196"/>
                    <a:pt x="292" y="196"/>
                    <a:pt x="292" y="196"/>
                  </a:cubicBezTo>
                  <a:cubicBezTo>
                    <a:pt x="309" y="196"/>
                    <a:pt x="309" y="196"/>
                    <a:pt x="309" y="196"/>
                  </a:cubicBezTo>
                  <a:lnTo>
                    <a:pt x="309" y="201"/>
                  </a:lnTo>
                  <a:close/>
                  <a:moveTo>
                    <a:pt x="323" y="198"/>
                  </a:moveTo>
                  <a:cubicBezTo>
                    <a:pt x="323" y="196"/>
                    <a:pt x="325" y="195"/>
                    <a:pt x="326" y="196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1" y="201"/>
                    <a:pt x="330" y="203"/>
                    <a:pt x="328" y="203"/>
                  </a:cubicBezTo>
                  <a:cubicBezTo>
                    <a:pt x="323" y="203"/>
                    <a:pt x="323" y="203"/>
                    <a:pt x="323" y="203"/>
                  </a:cubicBezTo>
                  <a:lnTo>
                    <a:pt x="323" y="198"/>
                  </a:lnTo>
                  <a:close/>
                  <a:moveTo>
                    <a:pt x="313" y="206"/>
                  </a:moveTo>
                  <a:cubicBezTo>
                    <a:pt x="331" y="210"/>
                    <a:pt x="331" y="210"/>
                    <a:pt x="331" y="210"/>
                  </a:cubicBezTo>
                  <a:cubicBezTo>
                    <a:pt x="334" y="211"/>
                    <a:pt x="336" y="213"/>
                    <a:pt x="336" y="216"/>
                  </a:cubicBezTo>
                  <a:cubicBezTo>
                    <a:pt x="336" y="225"/>
                    <a:pt x="336" y="225"/>
                    <a:pt x="336" y="225"/>
                  </a:cubicBezTo>
                  <a:cubicBezTo>
                    <a:pt x="326" y="225"/>
                    <a:pt x="326" y="225"/>
                    <a:pt x="326" y="225"/>
                  </a:cubicBezTo>
                  <a:cubicBezTo>
                    <a:pt x="322" y="225"/>
                    <a:pt x="318" y="223"/>
                    <a:pt x="316" y="219"/>
                  </a:cubicBezTo>
                  <a:cubicBezTo>
                    <a:pt x="313" y="215"/>
                    <a:pt x="313" y="215"/>
                    <a:pt x="313" y="215"/>
                  </a:cubicBezTo>
                  <a:lnTo>
                    <a:pt x="313" y="206"/>
                  </a:lnTo>
                  <a:close/>
                  <a:moveTo>
                    <a:pt x="300" y="183"/>
                  </a:moveTo>
                  <a:cubicBezTo>
                    <a:pt x="300" y="181"/>
                    <a:pt x="302" y="180"/>
                    <a:pt x="304" y="181"/>
                  </a:cubicBezTo>
                  <a:cubicBezTo>
                    <a:pt x="309" y="187"/>
                    <a:pt x="309" y="187"/>
                    <a:pt x="309" y="187"/>
                  </a:cubicBezTo>
                  <a:cubicBezTo>
                    <a:pt x="311" y="188"/>
                    <a:pt x="310" y="191"/>
                    <a:pt x="308" y="191"/>
                  </a:cubicBezTo>
                  <a:cubicBezTo>
                    <a:pt x="300" y="191"/>
                    <a:pt x="300" y="191"/>
                    <a:pt x="300" y="191"/>
                  </a:cubicBezTo>
                  <a:lnTo>
                    <a:pt x="300" y="183"/>
                  </a:lnTo>
                  <a:close/>
                  <a:moveTo>
                    <a:pt x="250" y="213"/>
                  </a:moveTo>
                  <a:cubicBezTo>
                    <a:pt x="250" y="210"/>
                    <a:pt x="251" y="208"/>
                    <a:pt x="253" y="206"/>
                  </a:cubicBezTo>
                  <a:cubicBezTo>
                    <a:pt x="267" y="191"/>
                    <a:pt x="267" y="191"/>
                    <a:pt x="267" y="191"/>
                  </a:cubicBezTo>
                  <a:cubicBezTo>
                    <a:pt x="250" y="191"/>
                    <a:pt x="250" y="191"/>
                    <a:pt x="250" y="191"/>
                  </a:cubicBezTo>
                  <a:cubicBezTo>
                    <a:pt x="250" y="183"/>
                    <a:pt x="250" y="183"/>
                    <a:pt x="250" y="183"/>
                  </a:cubicBezTo>
                  <a:cubicBezTo>
                    <a:pt x="268" y="173"/>
                    <a:pt x="268" y="173"/>
                    <a:pt x="268" y="173"/>
                  </a:cubicBezTo>
                  <a:cubicBezTo>
                    <a:pt x="269" y="172"/>
                    <a:pt x="271" y="172"/>
                    <a:pt x="272" y="172"/>
                  </a:cubicBezTo>
                  <a:cubicBezTo>
                    <a:pt x="285" y="172"/>
                    <a:pt x="285" y="172"/>
                    <a:pt x="285" y="172"/>
                  </a:cubicBezTo>
                  <a:cubicBezTo>
                    <a:pt x="288" y="172"/>
                    <a:pt x="291" y="174"/>
                    <a:pt x="292" y="177"/>
                  </a:cubicBezTo>
                  <a:cubicBezTo>
                    <a:pt x="294" y="180"/>
                    <a:pt x="294" y="180"/>
                    <a:pt x="294" y="180"/>
                  </a:cubicBezTo>
                  <a:cubicBezTo>
                    <a:pt x="294" y="191"/>
                    <a:pt x="294" y="191"/>
                    <a:pt x="294" y="191"/>
                  </a:cubicBezTo>
                  <a:cubicBezTo>
                    <a:pt x="281" y="191"/>
                    <a:pt x="281" y="191"/>
                    <a:pt x="281" y="191"/>
                  </a:cubicBezTo>
                  <a:cubicBezTo>
                    <a:pt x="260" y="226"/>
                    <a:pt x="260" y="226"/>
                    <a:pt x="260" y="226"/>
                  </a:cubicBezTo>
                  <a:cubicBezTo>
                    <a:pt x="257" y="225"/>
                    <a:pt x="257" y="225"/>
                    <a:pt x="257" y="225"/>
                  </a:cubicBezTo>
                  <a:cubicBezTo>
                    <a:pt x="253" y="223"/>
                    <a:pt x="250" y="219"/>
                    <a:pt x="250" y="214"/>
                  </a:cubicBezTo>
                  <a:lnTo>
                    <a:pt x="250" y="213"/>
                  </a:lnTo>
                  <a:close/>
                  <a:moveTo>
                    <a:pt x="232" y="135"/>
                  </a:moveTo>
                  <a:cubicBezTo>
                    <a:pt x="233" y="134"/>
                    <a:pt x="235" y="133"/>
                    <a:pt x="237" y="134"/>
                  </a:cubicBezTo>
                  <a:cubicBezTo>
                    <a:pt x="242" y="135"/>
                    <a:pt x="242" y="135"/>
                    <a:pt x="242" y="135"/>
                  </a:cubicBezTo>
                  <a:cubicBezTo>
                    <a:pt x="245" y="136"/>
                    <a:pt x="247" y="138"/>
                    <a:pt x="247" y="141"/>
                  </a:cubicBezTo>
                  <a:cubicBezTo>
                    <a:pt x="247" y="152"/>
                    <a:pt x="247" y="152"/>
                    <a:pt x="247" y="152"/>
                  </a:cubicBezTo>
                  <a:cubicBezTo>
                    <a:pt x="237" y="156"/>
                    <a:pt x="237" y="156"/>
                    <a:pt x="237" y="156"/>
                  </a:cubicBezTo>
                  <a:cubicBezTo>
                    <a:pt x="234" y="158"/>
                    <a:pt x="231" y="157"/>
                    <a:pt x="229" y="154"/>
                  </a:cubicBezTo>
                  <a:cubicBezTo>
                    <a:pt x="222" y="142"/>
                    <a:pt x="222" y="142"/>
                    <a:pt x="222" y="142"/>
                  </a:cubicBezTo>
                  <a:lnTo>
                    <a:pt x="232" y="135"/>
                  </a:lnTo>
                  <a:close/>
                  <a:moveTo>
                    <a:pt x="170" y="59"/>
                  </a:moveTo>
                  <a:cubicBezTo>
                    <a:pt x="170" y="56"/>
                    <a:pt x="172" y="53"/>
                    <a:pt x="175" y="53"/>
                  </a:cubicBezTo>
                  <a:cubicBezTo>
                    <a:pt x="188" y="50"/>
                    <a:pt x="188" y="50"/>
                    <a:pt x="188" y="50"/>
                  </a:cubicBezTo>
                  <a:cubicBezTo>
                    <a:pt x="206" y="50"/>
                    <a:pt x="206" y="50"/>
                    <a:pt x="206" y="50"/>
                  </a:cubicBezTo>
                  <a:cubicBezTo>
                    <a:pt x="206" y="61"/>
                    <a:pt x="206" y="61"/>
                    <a:pt x="206" y="61"/>
                  </a:cubicBezTo>
                  <a:cubicBezTo>
                    <a:pt x="201" y="64"/>
                    <a:pt x="201" y="64"/>
                    <a:pt x="201" y="64"/>
                  </a:cubicBezTo>
                  <a:cubicBezTo>
                    <a:pt x="199" y="66"/>
                    <a:pt x="197" y="66"/>
                    <a:pt x="195" y="66"/>
                  </a:cubicBezTo>
                  <a:cubicBezTo>
                    <a:pt x="176" y="66"/>
                    <a:pt x="176" y="66"/>
                    <a:pt x="176" y="66"/>
                  </a:cubicBezTo>
                  <a:cubicBezTo>
                    <a:pt x="172" y="66"/>
                    <a:pt x="170" y="64"/>
                    <a:pt x="170" y="60"/>
                  </a:cubicBezTo>
                  <a:lnTo>
                    <a:pt x="170" y="59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5">
              <a:extLst>
                <a:ext uri="{FF2B5EF4-FFF2-40B4-BE49-F238E27FC236}">
                  <a16:creationId xmlns:a16="http://schemas.microsoft.com/office/drawing/2014/main" id="{C9CD9395-B97F-4CBE-91B8-ADDB5CFABED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642" y="1574"/>
              <a:ext cx="232" cy="653"/>
            </a:xfrm>
            <a:custGeom>
              <a:avLst/>
              <a:gdLst>
                <a:gd name="T0" fmla="*/ 17 w 147"/>
                <a:gd name="T1" fmla="*/ 413 h 413"/>
                <a:gd name="T2" fmla="*/ 0 w 147"/>
                <a:gd name="T3" fmla="*/ 413 h 413"/>
                <a:gd name="T4" fmla="*/ 133 w 147"/>
                <a:gd name="T5" fmla="*/ 0 h 413"/>
                <a:gd name="T6" fmla="*/ 147 w 147"/>
                <a:gd name="T7" fmla="*/ 11 h 413"/>
                <a:gd name="T8" fmla="*/ 17 w 147"/>
                <a:gd name="T9" fmla="*/ 413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413">
                  <a:moveTo>
                    <a:pt x="17" y="413"/>
                  </a:moveTo>
                  <a:cubicBezTo>
                    <a:pt x="0" y="413"/>
                    <a:pt x="0" y="413"/>
                    <a:pt x="0" y="413"/>
                  </a:cubicBezTo>
                  <a:cubicBezTo>
                    <a:pt x="0" y="264"/>
                    <a:pt x="46" y="121"/>
                    <a:pt x="133" y="0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62" y="128"/>
                    <a:pt x="17" y="267"/>
                    <a:pt x="17" y="413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6">
              <a:extLst>
                <a:ext uri="{FF2B5EF4-FFF2-40B4-BE49-F238E27FC236}">
                  <a16:creationId xmlns:a16="http://schemas.microsoft.com/office/drawing/2014/main" id="{255DDA2F-E3FA-4956-935C-2EBA20B0A1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012" y="2780"/>
              <a:ext cx="1715" cy="568"/>
            </a:xfrm>
            <a:custGeom>
              <a:avLst/>
              <a:gdLst>
                <a:gd name="T0" fmla="*/ 472 w 1082"/>
                <a:gd name="T1" fmla="*/ 359 h 359"/>
                <a:gd name="T2" fmla="*/ 0 w 1082"/>
                <a:gd name="T3" fmla="*/ 178 h 359"/>
                <a:gd name="T4" fmla="*/ 11 w 1082"/>
                <a:gd name="T5" fmla="*/ 166 h 359"/>
                <a:gd name="T6" fmla="*/ 472 w 1082"/>
                <a:gd name="T7" fmla="*/ 342 h 359"/>
                <a:gd name="T8" fmla="*/ 820 w 1082"/>
                <a:gd name="T9" fmla="*/ 248 h 359"/>
                <a:gd name="T10" fmla="*/ 1067 w 1082"/>
                <a:gd name="T11" fmla="*/ 0 h 359"/>
                <a:gd name="T12" fmla="*/ 1082 w 1082"/>
                <a:gd name="T13" fmla="*/ 9 h 359"/>
                <a:gd name="T14" fmla="*/ 829 w 1082"/>
                <a:gd name="T15" fmla="*/ 262 h 359"/>
                <a:gd name="T16" fmla="*/ 472 w 1082"/>
                <a:gd name="T17" fmla="*/ 35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2" h="359">
                  <a:moveTo>
                    <a:pt x="472" y="359"/>
                  </a:moveTo>
                  <a:cubicBezTo>
                    <a:pt x="297" y="359"/>
                    <a:pt x="130" y="295"/>
                    <a:pt x="0" y="178"/>
                  </a:cubicBezTo>
                  <a:cubicBezTo>
                    <a:pt x="11" y="166"/>
                    <a:pt x="11" y="166"/>
                    <a:pt x="11" y="166"/>
                  </a:cubicBezTo>
                  <a:cubicBezTo>
                    <a:pt x="138" y="279"/>
                    <a:pt x="302" y="342"/>
                    <a:pt x="472" y="342"/>
                  </a:cubicBezTo>
                  <a:cubicBezTo>
                    <a:pt x="594" y="342"/>
                    <a:pt x="715" y="309"/>
                    <a:pt x="820" y="248"/>
                  </a:cubicBezTo>
                  <a:cubicBezTo>
                    <a:pt x="922" y="188"/>
                    <a:pt x="1008" y="102"/>
                    <a:pt x="1067" y="0"/>
                  </a:cubicBezTo>
                  <a:cubicBezTo>
                    <a:pt x="1082" y="9"/>
                    <a:pt x="1082" y="9"/>
                    <a:pt x="1082" y="9"/>
                  </a:cubicBezTo>
                  <a:cubicBezTo>
                    <a:pt x="1021" y="113"/>
                    <a:pt x="933" y="201"/>
                    <a:pt x="829" y="262"/>
                  </a:cubicBezTo>
                  <a:cubicBezTo>
                    <a:pt x="721" y="326"/>
                    <a:pt x="597" y="359"/>
                    <a:pt x="472" y="359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7">
              <a:extLst>
                <a:ext uri="{FF2B5EF4-FFF2-40B4-BE49-F238E27FC236}">
                  <a16:creationId xmlns:a16="http://schemas.microsoft.com/office/drawing/2014/main" id="{190A67DA-A755-4483-885C-A1BCCBAA96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865" y="1048"/>
              <a:ext cx="1352" cy="425"/>
            </a:xfrm>
            <a:custGeom>
              <a:avLst/>
              <a:gdLst>
                <a:gd name="T0" fmla="*/ 14 w 853"/>
                <a:gd name="T1" fmla="*/ 268 h 268"/>
                <a:gd name="T2" fmla="*/ 0 w 853"/>
                <a:gd name="T3" fmla="*/ 257 h 268"/>
                <a:gd name="T4" fmla="*/ 564 w 853"/>
                <a:gd name="T5" fmla="*/ 0 h 268"/>
                <a:gd name="T6" fmla="*/ 853 w 853"/>
                <a:gd name="T7" fmla="*/ 58 h 268"/>
                <a:gd name="T8" fmla="*/ 846 w 853"/>
                <a:gd name="T9" fmla="*/ 74 h 268"/>
                <a:gd name="T10" fmla="*/ 564 w 853"/>
                <a:gd name="T11" fmla="*/ 17 h 268"/>
                <a:gd name="T12" fmla="*/ 14 w 853"/>
                <a:gd name="T13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268">
                  <a:moveTo>
                    <a:pt x="14" y="268"/>
                  </a:moveTo>
                  <a:cubicBezTo>
                    <a:pt x="0" y="257"/>
                    <a:pt x="0" y="257"/>
                    <a:pt x="0" y="257"/>
                  </a:cubicBezTo>
                  <a:cubicBezTo>
                    <a:pt x="142" y="93"/>
                    <a:pt x="348" y="0"/>
                    <a:pt x="564" y="0"/>
                  </a:cubicBezTo>
                  <a:cubicBezTo>
                    <a:pt x="664" y="0"/>
                    <a:pt x="761" y="19"/>
                    <a:pt x="853" y="58"/>
                  </a:cubicBezTo>
                  <a:cubicBezTo>
                    <a:pt x="846" y="74"/>
                    <a:pt x="846" y="74"/>
                    <a:pt x="846" y="74"/>
                  </a:cubicBezTo>
                  <a:cubicBezTo>
                    <a:pt x="757" y="36"/>
                    <a:pt x="662" y="17"/>
                    <a:pt x="564" y="17"/>
                  </a:cubicBezTo>
                  <a:cubicBezTo>
                    <a:pt x="353" y="17"/>
                    <a:pt x="152" y="109"/>
                    <a:pt x="14" y="268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8">
              <a:extLst>
                <a:ext uri="{FF2B5EF4-FFF2-40B4-BE49-F238E27FC236}">
                  <a16:creationId xmlns:a16="http://schemas.microsoft.com/office/drawing/2014/main" id="{23BD9CB0-9820-4B24-A2B8-1ACF9BBA959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478" y="1262"/>
              <a:ext cx="764" cy="581"/>
            </a:xfrm>
            <a:custGeom>
              <a:avLst/>
              <a:gdLst>
                <a:gd name="T0" fmla="*/ 0 w 482"/>
                <a:gd name="T1" fmla="*/ 70 h 367"/>
                <a:gd name="T2" fmla="*/ 0 w 482"/>
                <a:gd name="T3" fmla="*/ 297 h 367"/>
                <a:gd name="T4" fmla="*/ 70 w 482"/>
                <a:gd name="T5" fmla="*/ 367 h 367"/>
                <a:gd name="T6" fmla="*/ 482 w 482"/>
                <a:gd name="T7" fmla="*/ 366 h 367"/>
                <a:gd name="T8" fmla="*/ 385 w 482"/>
                <a:gd name="T9" fmla="*/ 301 h 367"/>
                <a:gd name="T10" fmla="*/ 385 w 482"/>
                <a:gd name="T11" fmla="*/ 297 h 367"/>
                <a:gd name="T12" fmla="*/ 385 w 482"/>
                <a:gd name="T13" fmla="*/ 70 h 367"/>
                <a:gd name="T14" fmla="*/ 315 w 482"/>
                <a:gd name="T15" fmla="*/ 0 h 367"/>
                <a:gd name="T16" fmla="*/ 70 w 482"/>
                <a:gd name="T17" fmla="*/ 0 h 367"/>
                <a:gd name="T18" fmla="*/ 0 w 482"/>
                <a:gd name="T19" fmla="*/ 7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2" h="367">
                  <a:moveTo>
                    <a:pt x="0" y="70"/>
                  </a:moveTo>
                  <a:cubicBezTo>
                    <a:pt x="0" y="297"/>
                    <a:pt x="0" y="297"/>
                    <a:pt x="0" y="297"/>
                  </a:cubicBezTo>
                  <a:cubicBezTo>
                    <a:pt x="0" y="336"/>
                    <a:pt x="31" y="367"/>
                    <a:pt x="70" y="367"/>
                  </a:cubicBezTo>
                  <a:cubicBezTo>
                    <a:pt x="482" y="366"/>
                    <a:pt x="482" y="366"/>
                    <a:pt x="482" y="366"/>
                  </a:cubicBezTo>
                  <a:cubicBezTo>
                    <a:pt x="385" y="301"/>
                    <a:pt x="385" y="301"/>
                    <a:pt x="385" y="301"/>
                  </a:cubicBezTo>
                  <a:cubicBezTo>
                    <a:pt x="385" y="300"/>
                    <a:pt x="385" y="298"/>
                    <a:pt x="385" y="297"/>
                  </a:cubicBezTo>
                  <a:cubicBezTo>
                    <a:pt x="385" y="70"/>
                    <a:pt x="385" y="70"/>
                    <a:pt x="385" y="70"/>
                  </a:cubicBezTo>
                  <a:cubicBezTo>
                    <a:pt x="385" y="31"/>
                    <a:pt x="353" y="0"/>
                    <a:pt x="315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1" y="0"/>
                    <a:pt x="0" y="31"/>
                    <a:pt x="0" y="70"/>
                  </a:cubicBez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9">
              <a:extLst>
                <a:ext uri="{FF2B5EF4-FFF2-40B4-BE49-F238E27FC236}">
                  <a16:creationId xmlns:a16="http://schemas.microsoft.com/office/drawing/2014/main" id="{67B53DE3-576C-451D-AC6D-07E047D07B0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802" y="2629"/>
              <a:ext cx="440" cy="510"/>
            </a:xfrm>
            <a:custGeom>
              <a:avLst/>
              <a:gdLst>
                <a:gd name="T0" fmla="*/ 53 w 278"/>
                <a:gd name="T1" fmla="*/ 322 h 322"/>
                <a:gd name="T2" fmla="*/ 225 w 278"/>
                <a:gd name="T3" fmla="*/ 322 h 322"/>
                <a:gd name="T4" fmla="*/ 278 w 278"/>
                <a:gd name="T5" fmla="*/ 269 h 322"/>
                <a:gd name="T6" fmla="*/ 278 w 278"/>
                <a:gd name="T7" fmla="*/ 0 h 322"/>
                <a:gd name="T8" fmla="*/ 228 w 278"/>
                <a:gd name="T9" fmla="*/ 74 h 322"/>
                <a:gd name="T10" fmla="*/ 225 w 278"/>
                <a:gd name="T11" fmla="*/ 74 h 322"/>
                <a:gd name="T12" fmla="*/ 53 w 278"/>
                <a:gd name="T13" fmla="*/ 74 h 322"/>
                <a:gd name="T14" fmla="*/ 0 w 278"/>
                <a:gd name="T15" fmla="*/ 127 h 322"/>
                <a:gd name="T16" fmla="*/ 0 w 278"/>
                <a:gd name="T17" fmla="*/ 269 h 322"/>
                <a:gd name="T18" fmla="*/ 53 w 278"/>
                <a:gd name="T19" fmla="*/ 32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8" h="322">
                  <a:moveTo>
                    <a:pt x="53" y="322"/>
                  </a:moveTo>
                  <a:cubicBezTo>
                    <a:pt x="225" y="322"/>
                    <a:pt x="225" y="322"/>
                    <a:pt x="225" y="322"/>
                  </a:cubicBezTo>
                  <a:cubicBezTo>
                    <a:pt x="255" y="322"/>
                    <a:pt x="278" y="298"/>
                    <a:pt x="278" y="269"/>
                  </a:cubicBezTo>
                  <a:cubicBezTo>
                    <a:pt x="278" y="0"/>
                    <a:pt x="278" y="0"/>
                    <a:pt x="278" y="0"/>
                  </a:cubicBezTo>
                  <a:cubicBezTo>
                    <a:pt x="228" y="74"/>
                    <a:pt x="228" y="74"/>
                    <a:pt x="228" y="74"/>
                  </a:cubicBezTo>
                  <a:cubicBezTo>
                    <a:pt x="227" y="74"/>
                    <a:pt x="226" y="74"/>
                    <a:pt x="225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24" y="74"/>
                    <a:pt x="0" y="98"/>
                    <a:pt x="0" y="127"/>
                  </a:cubicBezTo>
                  <a:cubicBezTo>
                    <a:pt x="0" y="269"/>
                    <a:pt x="0" y="269"/>
                    <a:pt x="0" y="269"/>
                  </a:cubicBezTo>
                  <a:cubicBezTo>
                    <a:pt x="0" y="298"/>
                    <a:pt x="24" y="322"/>
                    <a:pt x="53" y="322"/>
                  </a:cubicBez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20">
              <a:extLst>
                <a:ext uri="{FF2B5EF4-FFF2-40B4-BE49-F238E27FC236}">
                  <a16:creationId xmlns:a16="http://schemas.microsoft.com/office/drawing/2014/main" id="{70EF90CB-E193-43E5-8F00-D1B1EC022C5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90" y="3057"/>
              <a:ext cx="321" cy="323"/>
            </a:xfrm>
            <a:prstGeom prst="ellipse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1">
              <a:extLst>
                <a:ext uri="{FF2B5EF4-FFF2-40B4-BE49-F238E27FC236}">
                  <a16:creationId xmlns:a16="http://schemas.microsoft.com/office/drawing/2014/main" id="{63517138-CAAB-49C6-8CF6-EAF5E67B597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58" y="3153"/>
              <a:ext cx="188" cy="140"/>
            </a:xfrm>
            <a:custGeom>
              <a:avLst/>
              <a:gdLst>
                <a:gd name="T0" fmla="*/ 79 w 188"/>
                <a:gd name="T1" fmla="*/ 30 h 140"/>
                <a:gd name="T2" fmla="*/ 79 w 188"/>
                <a:gd name="T3" fmla="*/ 0 h 140"/>
                <a:gd name="T4" fmla="*/ 30 w 188"/>
                <a:gd name="T5" fmla="*/ 0 h 140"/>
                <a:gd name="T6" fmla="*/ 30 w 188"/>
                <a:gd name="T7" fmla="*/ 30 h 140"/>
                <a:gd name="T8" fmla="*/ 0 w 188"/>
                <a:gd name="T9" fmla="*/ 30 h 140"/>
                <a:gd name="T10" fmla="*/ 0 w 188"/>
                <a:gd name="T11" fmla="*/ 140 h 140"/>
                <a:gd name="T12" fmla="*/ 188 w 188"/>
                <a:gd name="T13" fmla="*/ 140 h 140"/>
                <a:gd name="T14" fmla="*/ 188 w 188"/>
                <a:gd name="T15" fmla="*/ 30 h 140"/>
                <a:gd name="T16" fmla="*/ 79 w 188"/>
                <a:gd name="T17" fmla="*/ 3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140">
                  <a:moveTo>
                    <a:pt x="79" y="30"/>
                  </a:moveTo>
                  <a:lnTo>
                    <a:pt x="79" y="0"/>
                  </a:lnTo>
                  <a:lnTo>
                    <a:pt x="30" y="0"/>
                  </a:lnTo>
                  <a:lnTo>
                    <a:pt x="30" y="30"/>
                  </a:lnTo>
                  <a:lnTo>
                    <a:pt x="0" y="30"/>
                  </a:lnTo>
                  <a:lnTo>
                    <a:pt x="0" y="140"/>
                  </a:lnTo>
                  <a:lnTo>
                    <a:pt x="188" y="140"/>
                  </a:lnTo>
                  <a:lnTo>
                    <a:pt x="188" y="30"/>
                  </a:lnTo>
                  <a:lnTo>
                    <a:pt x="79" y="30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Oval 22">
              <a:extLst>
                <a:ext uri="{FF2B5EF4-FFF2-40B4-BE49-F238E27FC236}">
                  <a16:creationId xmlns:a16="http://schemas.microsoft.com/office/drawing/2014/main" id="{D0AA6A0C-433E-40DE-AA81-7648C894134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562" y="947"/>
              <a:ext cx="231" cy="231"/>
            </a:xfrm>
            <a:prstGeom prst="ellipse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3">
              <a:extLst>
                <a:ext uri="{FF2B5EF4-FFF2-40B4-BE49-F238E27FC236}">
                  <a16:creationId xmlns:a16="http://schemas.microsoft.com/office/drawing/2014/main" id="{CF277A0E-50D0-4834-8D0D-B59853498E4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5610" y="993"/>
              <a:ext cx="139" cy="139"/>
            </a:xfrm>
            <a:custGeom>
              <a:avLst/>
              <a:gdLst>
                <a:gd name="T0" fmla="*/ 88 w 88"/>
                <a:gd name="T1" fmla="*/ 48 h 88"/>
                <a:gd name="T2" fmla="*/ 88 w 88"/>
                <a:gd name="T3" fmla="*/ 40 h 88"/>
                <a:gd name="T4" fmla="*/ 72 w 88"/>
                <a:gd name="T5" fmla="*/ 40 h 88"/>
                <a:gd name="T6" fmla="*/ 66 w 88"/>
                <a:gd name="T7" fmla="*/ 27 h 88"/>
                <a:gd name="T8" fmla="*/ 78 w 88"/>
                <a:gd name="T9" fmla="*/ 16 h 88"/>
                <a:gd name="T10" fmla="*/ 72 w 88"/>
                <a:gd name="T11" fmla="*/ 10 h 88"/>
                <a:gd name="T12" fmla="*/ 61 w 88"/>
                <a:gd name="T13" fmla="*/ 22 h 88"/>
                <a:gd name="T14" fmla="*/ 48 w 88"/>
                <a:gd name="T15" fmla="*/ 17 h 88"/>
                <a:gd name="T16" fmla="*/ 48 w 88"/>
                <a:gd name="T17" fmla="*/ 0 h 88"/>
                <a:gd name="T18" fmla="*/ 40 w 88"/>
                <a:gd name="T19" fmla="*/ 0 h 88"/>
                <a:gd name="T20" fmla="*/ 40 w 88"/>
                <a:gd name="T21" fmla="*/ 17 h 88"/>
                <a:gd name="T22" fmla="*/ 27 w 88"/>
                <a:gd name="T23" fmla="*/ 22 h 88"/>
                <a:gd name="T24" fmla="*/ 15 w 88"/>
                <a:gd name="T25" fmla="*/ 10 h 88"/>
                <a:gd name="T26" fmla="*/ 10 w 88"/>
                <a:gd name="T27" fmla="*/ 16 h 88"/>
                <a:gd name="T28" fmla="*/ 21 w 88"/>
                <a:gd name="T29" fmla="*/ 27 h 88"/>
                <a:gd name="T30" fmla="*/ 16 w 88"/>
                <a:gd name="T31" fmla="*/ 40 h 88"/>
                <a:gd name="T32" fmla="*/ 0 w 88"/>
                <a:gd name="T33" fmla="*/ 40 h 88"/>
                <a:gd name="T34" fmla="*/ 0 w 88"/>
                <a:gd name="T35" fmla="*/ 48 h 88"/>
                <a:gd name="T36" fmla="*/ 15 w 88"/>
                <a:gd name="T37" fmla="*/ 48 h 88"/>
                <a:gd name="T38" fmla="*/ 21 w 88"/>
                <a:gd name="T39" fmla="*/ 62 h 88"/>
                <a:gd name="T40" fmla="*/ 10 w 88"/>
                <a:gd name="T41" fmla="*/ 73 h 88"/>
                <a:gd name="T42" fmla="*/ 15 w 88"/>
                <a:gd name="T43" fmla="*/ 78 h 88"/>
                <a:gd name="T44" fmla="*/ 26 w 88"/>
                <a:gd name="T45" fmla="*/ 68 h 88"/>
                <a:gd name="T46" fmla="*/ 40 w 88"/>
                <a:gd name="T47" fmla="*/ 73 h 88"/>
                <a:gd name="T48" fmla="*/ 40 w 88"/>
                <a:gd name="T49" fmla="*/ 88 h 88"/>
                <a:gd name="T50" fmla="*/ 48 w 88"/>
                <a:gd name="T51" fmla="*/ 88 h 88"/>
                <a:gd name="T52" fmla="*/ 48 w 88"/>
                <a:gd name="T53" fmla="*/ 73 h 88"/>
                <a:gd name="T54" fmla="*/ 61 w 88"/>
                <a:gd name="T55" fmla="*/ 68 h 88"/>
                <a:gd name="T56" fmla="*/ 72 w 88"/>
                <a:gd name="T57" fmla="*/ 78 h 88"/>
                <a:gd name="T58" fmla="*/ 78 w 88"/>
                <a:gd name="T59" fmla="*/ 73 h 88"/>
                <a:gd name="T60" fmla="*/ 67 w 88"/>
                <a:gd name="T61" fmla="*/ 62 h 88"/>
                <a:gd name="T62" fmla="*/ 72 w 88"/>
                <a:gd name="T63" fmla="*/ 48 h 88"/>
                <a:gd name="T64" fmla="*/ 88 w 88"/>
                <a:gd name="T65" fmla="*/ 48 h 88"/>
                <a:gd name="T66" fmla="*/ 44 w 88"/>
                <a:gd name="T67" fmla="*/ 63 h 88"/>
                <a:gd name="T68" fmla="*/ 25 w 88"/>
                <a:gd name="T69" fmla="*/ 44 h 88"/>
                <a:gd name="T70" fmla="*/ 44 w 88"/>
                <a:gd name="T71" fmla="*/ 25 h 88"/>
                <a:gd name="T72" fmla="*/ 63 w 88"/>
                <a:gd name="T73" fmla="*/ 44 h 88"/>
                <a:gd name="T74" fmla="*/ 44 w 88"/>
                <a:gd name="T75" fmla="*/ 6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8" h="88">
                  <a:moveTo>
                    <a:pt x="88" y="48"/>
                  </a:moveTo>
                  <a:cubicBezTo>
                    <a:pt x="88" y="40"/>
                    <a:pt x="88" y="40"/>
                    <a:pt x="88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1" y="35"/>
                    <a:pt x="69" y="31"/>
                    <a:pt x="66" y="2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2" y="10"/>
                    <a:pt x="72" y="10"/>
                    <a:pt x="72" y="10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7" y="19"/>
                    <a:pt x="53" y="17"/>
                    <a:pt x="48" y="17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35" y="17"/>
                    <a:pt x="31" y="19"/>
                    <a:pt x="27" y="22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18" y="31"/>
                    <a:pt x="16" y="35"/>
                    <a:pt x="16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6" y="53"/>
                    <a:pt x="18" y="58"/>
                    <a:pt x="21" y="62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30" y="71"/>
                    <a:pt x="35" y="73"/>
                    <a:pt x="40" y="73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53" y="73"/>
                    <a:pt x="58" y="71"/>
                    <a:pt x="61" y="68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70" y="58"/>
                    <a:pt x="72" y="53"/>
                    <a:pt x="72" y="48"/>
                  </a:cubicBezTo>
                  <a:lnTo>
                    <a:pt x="88" y="48"/>
                  </a:lnTo>
                  <a:close/>
                  <a:moveTo>
                    <a:pt x="44" y="63"/>
                  </a:moveTo>
                  <a:cubicBezTo>
                    <a:pt x="33" y="63"/>
                    <a:pt x="25" y="55"/>
                    <a:pt x="25" y="44"/>
                  </a:cubicBezTo>
                  <a:cubicBezTo>
                    <a:pt x="25" y="34"/>
                    <a:pt x="33" y="25"/>
                    <a:pt x="44" y="25"/>
                  </a:cubicBezTo>
                  <a:cubicBezTo>
                    <a:pt x="54" y="25"/>
                    <a:pt x="63" y="34"/>
                    <a:pt x="63" y="44"/>
                  </a:cubicBezTo>
                  <a:cubicBezTo>
                    <a:pt x="63" y="55"/>
                    <a:pt x="54" y="63"/>
                    <a:pt x="44" y="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4">
              <a:extLst>
                <a:ext uri="{FF2B5EF4-FFF2-40B4-BE49-F238E27FC236}">
                  <a16:creationId xmlns:a16="http://schemas.microsoft.com/office/drawing/2014/main" id="{4001D529-5F08-4BAA-9A63-F5FEFB92355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78" y="1044"/>
              <a:ext cx="582" cy="671"/>
            </a:xfrm>
            <a:custGeom>
              <a:avLst/>
              <a:gdLst>
                <a:gd name="T0" fmla="*/ 297 w 367"/>
                <a:gd name="T1" fmla="*/ 0 h 424"/>
                <a:gd name="T2" fmla="*/ 70 w 367"/>
                <a:gd name="T3" fmla="*/ 0 h 424"/>
                <a:gd name="T4" fmla="*/ 0 w 367"/>
                <a:gd name="T5" fmla="*/ 70 h 424"/>
                <a:gd name="T6" fmla="*/ 0 w 367"/>
                <a:gd name="T7" fmla="*/ 424 h 424"/>
                <a:gd name="T8" fmla="*/ 66 w 367"/>
                <a:gd name="T9" fmla="*/ 327 h 424"/>
                <a:gd name="T10" fmla="*/ 297 w 367"/>
                <a:gd name="T11" fmla="*/ 327 h 424"/>
                <a:gd name="T12" fmla="*/ 367 w 367"/>
                <a:gd name="T13" fmla="*/ 257 h 424"/>
                <a:gd name="T14" fmla="*/ 367 w 367"/>
                <a:gd name="T15" fmla="*/ 70 h 424"/>
                <a:gd name="T16" fmla="*/ 297 w 367"/>
                <a:gd name="T17" fmla="*/ 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424">
                  <a:moveTo>
                    <a:pt x="297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32" y="0"/>
                    <a:pt x="0" y="31"/>
                    <a:pt x="0" y="70"/>
                  </a:cubicBezTo>
                  <a:cubicBezTo>
                    <a:pt x="0" y="424"/>
                    <a:pt x="0" y="424"/>
                    <a:pt x="0" y="424"/>
                  </a:cubicBezTo>
                  <a:cubicBezTo>
                    <a:pt x="66" y="327"/>
                    <a:pt x="66" y="327"/>
                    <a:pt x="66" y="327"/>
                  </a:cubicBezTo>
                  <a:cubicBezTo>
                    <a:pt x="67" y="327"/>
                    <a:pt x="297" y="327"/>
                    <a:pt x="297" y="327"/>
                  </a:cubicBezTo>
                  <a:cubicBezTo>
                    <a:pt x="336" y="327"/>
                    <a:pt x="367" y="295"/>
                    <a:pt x="367" y="257"/>
                  </a:cubicBezTo>
                  <a:cubicBezTo>
                    <a:pt x="367" y="70"/>
                    <a:pt x="367" y="70"/>
                    <a:pt x="367" y="70"/>
                  </a:cubicBezTo>
                  <a:cubicBezTo>
                    <a:pt x="367" y="31"/>
                    <a:pt x="336" y="0"/>
                    <a:pt x="297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25">
              <a:extLst>
                <a:ext uri="{FF2B5EF4-FFF2-40B4-BE49-F238E27FC236}">
                  <a16:creationId xmlns:a16="http://schemas.microsoft.com/office/drawing/2014/main" id="{AF4CDB61-64A7-439C-9190-D18F38465AF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299" y="1343"/>
              <a:ext cx="76" cy="125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26">
              <a:extLst>
                <a:ext uri="{FF2B5EF4-FFF2-40B4-BE49-F238E27FC236}">
                  <a16:creationId xmlns:a16="http://schemas.microsoft.com/office/drawing/2014/main" id="{AACBB3DA-628C-4F5D-8B0F-33E39F6482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421" y="1203"/>
              <a:ext cx="76" cy="265"/>
            </a:xfrm>
            <a:prstGeom prst="rect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27">
              <a:extLst>
                <a:ext uri="{FF2B5EF4-FFF2-40B4-BE49-F238E27FC236}">
                  <a16:creationId xmlns:a16="http://schemas.microsoft.com/office/drawing/2014/main" id="{C6C90BAD-6B53-4D36-85B9-24920F9692C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543" y="1121"/>
              <a:ext cx="76" cy="347"/>
            </a:xfrm>
            <a:prstGeom prst="rect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8">
              <a:extLst>
                <a:ext uri="{FF2B5EF4-FFF2-40B4-BE49-F238E27FC236}">
                  <a16:creationId xmlns:a16="http://schemas.microsoft.com/office/drawing/2014/main" id="{669CAC33-595B-4759-BF26-38E8D3B0DA3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16" y="1245"/>
              <a:ext cx="287" cy="155"/>
            </a:xfrm>
            <a:custGeom>
              <a:avLst/>
              <a:gdLst>
                <a:gd name="T0" fmla="*/ 167 w 181"/>
                <a:gd name="T1" fmla="*/ 23 h 98"/>
                <a:gd name="T2" fmla="*/ 157 w 181"/>
                <a:gd name="T3" fmla="*/ 28 h 98"/>
                <a:gd name="T4" fmla="*/ 106 w 181"/>
                <a:gd name="T5" fmla="*/ 14 h 98"/>
                <a:gd name="T6" fmla="*/ 106 w 181"/>
                <a:gd name="T7" fmla="*/ 13 h 98"/>
                <a:gd name="T8" fmla="*/ 92 w 181"/>
                <a:gd name="T9" fmla="*/ 0 h 98"/>
                <a:gd name="T10" fmla="*/ 79 w 181"/>
                <a:gd name="T11" fmla="*/ 13 h 98"/>
                <a:gd name="T12" fmla="*/ 80 w 181"/>
                <a:gd name="T13" fmla="*/ 19 h 98"/>
                <a:gd name="T14" fmla="*/ 21 w 181"/>
                <a:gd name="T15" fmla="*/ 73 h 98"/>
                <a:gd name="T16" fmla="*/ 13 w 181"/>
                <a:gd name="T17" fmla="*/ 71 h 98"/>
                <a:gd name="T18" fmla="*/ 0 w 181"/>
                <a:gd name="T19" fmla="*/ 84 h 98"/>
                <a:gd name="T20" fmla="*/ 13 w 181"/>
                <a:gd name="T21" fmla="*/ 98 h 98"/>
                <a:gd name="T22" fmla="*/ 27 w 181"/>
                <a:gd name="T23" fmla="*/ 84 h 98"/>
                <a:gd name="T24" fmla="*/ 26 w 181"/>
                <a:gd name="T25" fmla="*/ 80 h 98"/>
                <a:gd name="T26" fmla="*/ 86 w 181"/>
                <a:gd name="T27" fmla="*/ 25 h 98"/>
                <a:gd name="T28" fmla="*/ 92 w 181"/>
                <a:gd name="T29" fmla="*/ 27 h 98"/>
                <a:gd name="T30" fmla="*/ 103 w 181"/>
                <a:gd name="T31" fmla="*/ 22 h 98"/>
                <a:gd name="T32" fmla="*/ 154 w 181"/>
                <a:gd name="T33" fmla="*/ 36 h 98"/>
                <a:gd name="T34" fmla="*/ 154 w 181"/>
                <a:gd name="T35" fmla="*/ 36 h 98"/>
                <a:gd name="T36" fmla="*/ 167 w 181"/>
                <a:gd name="T37" fmla="*/ 50 h 98"/>
                <a:gd name="T38" fmla="*/ 181 w 181"/>
                <a:gd name="T39" fmla="*/ 36 h 98"/>
                <a:gd name="T40" fmla="*/ 167 w 181"/>
                <a:gd name="T41" fmla="*/ 23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1" h="98">
                  <a:moveTo>
                    <a:pt x="167" y="23"/>
                  </a:moveTo>
                  <a:cubicBezTo>
                    <a:pt x="163" y="23"/>
                    <a:pt x="159" y="25"/>
                    <a:pt x="157" y="28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4"/>
                    <a:pt x="106" y="13"/>
                    <a:pt x="106" y="13"/>
                  </a:cubicBezTo>
                  <a:cubicBezTo>
                    <a:pt x="106" y="6"/>
                    <a:pt x="100" y="0"/>
                    <a:pt x="92" y="0"/>
                  </a:cubicBezTo>
                  <a:cubicBezTo>
                    <a:pt x="85" y="0"/>
                    <a:pt x="79" y="6"/>
                    <a:pt x="79" y="13"/>
                  </a:cubicBezTo>
                  <a:cubicBezTo>
                    <a:pt x="79" y="15"/>
                    <a:pt x="79" y="17"/>
                    <a:pt x="80" y="19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19" y="72"/>
                    <a:pt x="16" y="71"/>
                    <a:pt x="13" y="71"/>
                  </a:cubicBezTo>
                  <a:cubicBezTo>
                    <a:pt x="6" y="71"/>
                    <a:pt x="0" y="77"/>
                    <a:pt x="0" y="84"/>
                  </a:cubicBezTo>
                  <a:cubicBezTo>
                    <a:pt x="0" y="92"/>
                    <a:pt x="6" y="98"/>
                    <a:pt x="13" y="98"/>
                  </a:cubicBezTo>
                  <a:cubicBezTo>
                    <a:pt x="21" y="98"/>
                    <a:pt x="27" y="92"/>
                    <a:pt x="27" y="84"/>
                  </a:cubicBezTo>
                  <a:cubicBezTo>
                    <a:pt x="27" y="83"/>
                    <a:pt x="27" y="81"/>
                    <a:pt x="26" y="80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8" y="26"/>
                    <a:pt x="90" y="27"/>
                    <a:pt x="92" y="27"/>
                  </a:cubicBezTo>
                  <a:cubicBezTo>
                    <a:pt x="97" y="27"/>
                    <a:pt x="100" y="25"/>
                    <a:pt x="103" y="22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36"/>
                    <a:pt x="154" y="36"/>
                    <a:pt x="154" y="36"/>
                  </a:cubicBezTo>
                  <a:cubicBezTo>
                    <a:pt x="154" y="44"/>
                    <a:pt x="160" y="50"/>
                    <a:pt x="167" y="50"/>
                  </a:cubicBezTo>
                  <a:cubicBezTo>
                    <a:pt x="175" y="50"/>
                    <a:pt x="181" y="44"/>
                    <a:pt x="181" y="36"/>
                  </a:cubicBezTo>
                  <a:cubicBezTo>
                    <a:pt x="181" y="29"/>
                    <a:pt x="175" y="23"/>
                    <a:pt x="167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AF24C837-5452-4F7F-9DE5-E556B702C1C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681" y="1422"/>
              <a:ext cx="201" cy="274"/>
            </a:xfrm>
            <a:custGeom>
              <a:avLst/>
              <a:gdLst>
                <a:gd name="T0" fmla="*/ 127 w 127"/>
                <a:gd name="T1" fmla="*/ 65 h 173"/>
                <a:gd name="T2" fmla="*/ 62 w 127"/>
                <a:gd name="T3" fmla="*/ 2 h 173"/>
                <a:gd name="T4" fmla="*/ 1 w 127"/>
                <a:gd name="T5" fmla="*/ 61 h 173"/>
                <a:gd name="T6" fmla="*/ 17 w 127"/>
                <a:gd name="T7" fmla="*/ 107 h 173"/>
                <a:gd name="T8" fmla="*/ 38 w 127"/>
                <a:gd name="T9" fmla="*/ 159 h 173"/>
                <a:gd name="T10" fmla="*/ 38 w 127"/>
                <a:gd name="T11" fmla="*/ 173 h 173"/>
                <a:gd name="T12" fmla="*/ 90 w 127"/>
                <a:gd name="T13" fmla="*/ 173 h 173"/>
                <a:gd name="T14" fmla="*/ 90 w 127"/>
                <a:gd name="T15" fmla="*/ 159 h 173"/>
                <a:gd name="T16" fmla="*/ 110 w 127"/>
                <a:gd name="T17" fmla="*/ 108 h 173"/>
                <a:gd name="T18" fmla="*/ 127 w 127"/>
                <a:gd name="T19" fmla="*/ 65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73">
                  <a:moveTo>
                    <a:pt x="127" y="65"/>
                  </a:moveTo>
                  <a:cubicBezTo>
                    <a:pt x="127" y="29"/>
                    <a:pt x="98" y="0"/>
                    <a:pt x="62" y="2"/>
                  </a:cubicBezTo>
                  <a:cubicBezTo>
                    <a:pt x="29" y="3"/>
                    <a:pt x="3" y="29"/>
                    <a:pt x="1" y="61"/>
                  </a:cubicBezTo>
                  <a:cubicBezTo>
                    <a:pt x="0" y="79"/>
                    <a:pt x="7" y="95"/>
                    <a:pt x="17" y="107"/>
                  </a:cubicBezTo>
                  <a:cubicBezTo>
                    <a:pt x="30" y="121"/>
                    <a:pt x="38" y="140"/>
                    <a:pt x="38" y="159"/>
                  </a:cubicBezTo>
                  <a:cubicBezTo>
                    <a:pt x="38" y="173"/>
                    <a:pt x="38" y="173"/>
                    <a:pt x="38" y="173"/>
                  </a:cubicBezTo>
                  <a:cubicBezTo>
                    <a:pt x="90" y="173"/>
                    <a:pt x="90" y="173"/>
                    <a:pt x="90" y="173"/>
                  </a:cubicBezTo>
                  <a:cubicBezTo>
                    <a:pt x="90" y="159"/>
                    <a:pt x="90" y="159"/>
                    <a:pt x="90" y="159"/>
                  </a:cubicBezTo>
                  <a:cubicBezTo>
                    <a:pt x="90" y="140"/>
                    <a:pt x="97" y="122"/>
                    <a:pt x="110" y="108"/>
                  </a:cubicBezTo>
                  <a:cubicBezTo>
                    <a:pt x="121" y="97"/>
                    <a:pt x="127" y="81"/>
                    <a:pt x="127" y="65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CC14EA29-5063-4BCC-9AD8-ED40AD9D13D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681" y="1423"/>
              <a:ext cx="162" cy="273"/>
            </a:xfrm>
            <a:custGeom>
              <a:avLst/>
              <a:gdLst>
                <a:gd name="T0" fmla="*/ 83 w 102"/>
                <a:gd name="T1" fmla="*/ 101 h 172"/>
                <a:gd name="T2" fmla="*/ 102 w 102"/>
                <a:gd name="T3" fmla="*/ 53 h 172"/>
                <a:gd name="T4" fmla="*/ 80 w 102"/>
                <a:gd name="T5" fmla="*/ 3 h 172"/>
                <a:gd name="T6" fmla="*/ 62 w 102"/>
                <a:gd name="T7" fmla="*/ 1 h 172"/>
                <a:gd name="T8" fmla="*/ 1 w 102"/>
                <a:gd name="T9" fmla="*/ 60 h 172"/>
                <a:gd name="T10" fmla="*/ 17 w 102"/>
                <a:gd name="T11" fmla="*/ 106 h 172"/>
                <a:gd name="T12" fmla="*/ 38 w 102"/>
                <a:gd name="T13" fmla="*/ 158 h 172"/>
                <a:gd name="T14" fmla="*/ 38 w 102"/>
                <a:gd name="T15" fmla="*/ 172 h 172"/>
                <a:gd name="T16" fmla="*/ 61 w 102"/>
                <a:gd name="T17" fmla="*/ 172 h 172"/>
                <a:gd name="T18" fmla="*/ 61 w 102"/>
                <a:gd name="T19" fmla="*/ 157 h 172"/>
                <a:gd name="T20" fmla="*/ 83 w 102"/>
                <a:gd name="T21" fmla="*/ 101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2" h="172">
                  <a:moveTo>
                    <a:pt x="83" y="101"/>
                  </a:moveTo>
                  <a:cubicBezTo>
                    <a:pt x="95" y="88"/>
                    <a:pt x="102" y="71"/>
                    <a:pt x="102" y="53"/>
                  </a:cubicBezTo>
                  <a:cubicBezTo>
                    <a:pt x="102" y="33"/>
                    <a:pt x="94" y="15"/>
                    <a:pt x="80" y="3"/>
                  </a:cubicBezTo>
                  <a:cubicBezTo>
                    <a:pt x="74" y="1"/>
                    <a:pt x="68" y="0"/>
                    <a:pt x="62" y="1"/>
                  </a:cubicBezTo>
                  <a:cubicBezTo>
                    <a:pt x="29" y="2"/>
                    <a:pt x="3" y="28"/>
                    <a:pt x="1" y="60"/>
                  </a:cubicBezTo>
                  <a:cubicBezTo>
                    <a:pt x="0" y="78"/>
                    <a:pt x="7" y="94"/>
                    <a:pt x="17" y="106"/>
                  </a:cubicBezTo>
                  <a:cubicBezTo>
                    <a:pt x="30" y="120"/>
                    <a:pt x="38" y="139"/>
                    <a:pt x="38" y="158"/>
                  </a:cubicBezTo>
                  <a:cubicBezTo>
                    <a:pt x="38" y="172"/>
                    <a:pt x="38" y="172"/>
                    <a:pt x="38" y="172"/>
                  </a:cubicBezTo>
                  <a:cubicBezTo>
                    <a:pt x="61" y="172"/>
                    <a:pt x="61" y="172"/>
                    <a:pt x="61" y="172"/>
                  </a:cubicBezTo>
                  <a:cubicBezTo>
                    <a:pt x="61" y="157"/>
                    <a:pt x="61" y="157"/>
                    <a:pt x="61" y="157"/>
                  </a:cubicBezTo>
                  <a:cubicBezTo>
                    <a:pt x="61" y="136"/>
                    <a:pt x="69" y="116"/>
                    <a:pt x="83" y="1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">
              <a:extLst>
                <a:ext uri="{FF2B5EF4-FFF2-40B4-BE49-F238E27FC236}">
                  <a16:creationId xmlns:a16="http://schemas.microsoft.com/office/drawing/2014/main" id="{C2033F87-1394-4609-B621-F64150812CF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741" y="1696"/>
              <a:ext cx="83" cy="47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11CF9579-292F-449E-BDCD-B237D58F363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765" y="1696"/>
              <a:ext cx="59" cy="61"/>
            </a:xfrm>
            <a:custGeom>
              <a:avLst/>
              <a:gdLst>
                <a:gd name="T0" fmla="*/ 13 w 59"/>
                <a:gd name="T1" fmla="*/ 0 h 61"/>
                <a:gd name="T2" fmla="*/ 13 w 59"/>
                <a:gd name="T3" fmla="*/ 47 h 61"/>
                <a:gd name="T4" fmla="*/ 0 w 59"/>
                <a:gd name="T5" fmla="*/ 47 h 61"/>
                <a:gd name="T6" fmla="*/ 0 w 59"/>
                <a:gd name="T7" fmla="*/ 61 h 61"/>
                <a:gd name="T8" fmla="*/ 35 w 59"/>
                <a:gd name="T9" fmla="*/ 61 h 61"/>
                <a:gd name="T10" fmla="*/ 35 w 59"/>
                <a:gd name="T11" fmla="*/ 47 h 61"/>
                <a:gd name="T12" fmla="*/ 59 w 59"/>
                <a:gd name="T13" fmla="*/ 47 h 61"/>
                <a:gd name="T14" fmla="*/ 59 w 59"/>
                <a:gd name="T15" fmla="*/ 0 h 61"/>
                <a:gd name="T16" fmla="*/ 13 w 59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61">
                  <a:moveTo>
                    <a:pt x="13" y="0"/>
                  </a:moveTo>
                  <a:lnTo>
                    <a:pt x="13" y="47"/>
                  </a:lnTo>
                  <a:lnTo>
                    <a:pt x="0" y="47"/>
                  </a:lnTo>
                  <a:lnTo>
                    <a:pt x="0" y="61"/>
                  </a:lnTo>
                  <a:lnTo>
                    <a:pt x="35" y="61"/>
                  </a:lnTo>
                  <a:lnTo>
                    <a:pt x="35" y="47"/>
                  </a:lnTo>
                  <a:lnTo>
                    <a:pt x="59" y="47"/>
                  </a:lnTo>
                  <a:lnTo>
                    <a:pt x="59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33">
              <a:extLst>
                <a:ext uri="{FF2B5EF4-FFF2-40B4-BE49-F238E27FC236}">
                  <a16:creationId xmlns:a16="http://schemas.microsoft.com/office/drawing/2014/main" id="{68232DF2-CFAA-45E1-8015-36DD63DBA55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784" y="1321"/>
              <a:ext cx="18" cy="58"/>
            </a:xfrm>
            <a:prstGeom prst="rect">
              <a:avLst/>
            </a:pr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4">
              <a:extLst>
                <a:ext uri="{FF2B5EF4-FFF2-40B4-BE49-F238E27FC236}">
                  <a16:creationId xmlns:a16="http://schemas.microsoft.com/office/drawing/2014/main" id="{D3258737-B7C7-4F2F-BB52-913FAEF1D6B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640" y="1365"/>
              <a:ext cx="52" cy="54"/>
            </a:xfrm>
            <a:custGeom>
              <a:avLst/>
              <a:gdLst>
                <a:gd name="T0" fmla="*/ 41 w 52"/>
                <a:gd name="T1" fmla="*/ 54 h 54"/>
                <a:gd name="T2" fmla="*/ 0 w 52"/>
                <a:gd name="T3" fmla="*/ 13 h 54"/>
                <a:gd name="T4" fmla="*/ 11 w 52"/>
                <a:gd name="T5" fmla="*/ 0 h 54"/>
                <a:gd name="T6" fmla="*/ 52 w 52"/>
                <a:gd name="T7" fmla="*/ 41 h 54"/>
                <a:gd name="T8" fmla="*/ 41 w 52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4">
                  <a:moveTo>
                    <a:pt x="41" y="54"/>
                  </a:moveTo>
                  <a:lnTo>
                    <a:pt x="0" y="13"/>
                  </a:lnTo>
                  <a:lnTo>
                    <a:pt x="11" y="0"/>
                  </a:lnTo>
                  <a:lnTo>
                    <a:pt x="52" y="41"/>
                  </a:lnTo>
                  <a:lnTo>
                    <a:pt x="41" y="54"/>
                  </a:ln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5">
              <a:extLst>
                <a:ext uri="{FF2B5EF4-FFF2-40B4-BE49-F238E27FC236}">
                  <a16:creationId xmlns:a16="http://schemas.microsoft.com/office/drawing/2014/main" id="{99A67019-597B-4140-B1A9-8FF4BA1AF1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887" y="1382"/>
              <a:ext cx="52" cy="54"/>
            </a:xfrm>
            <a:custGeom>
              <a:avLst/>
              <a:gdLst>
                <a:gd name="T0" fmla="*/ 11 w 52"/>
                <a:gd name="T1" fmla="*/ 54 h 54"/>
                <a:gd name="T2" fmla="*/ 0 w 52"/>
                <a:gd name="T3" fmla="*/ 41 h 54"/>
                <a:gd name="T4" fmla="*/ 41 w 52"/>
                <a:gd name="T5" fmla="*/ 0 h 54"/>
                <a:gd name="T6" fmla="*/ 52 w 52"/>
                <a:gd name="T7" fmla="*/ 13 h 54"/>
                <a:gd name="T8" fmla="*/ 11 w 52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4">
                  <a:moveTo>
                    <a:pt x="11" y="54"/>
                  </a:moveTo>
                  <a:lnTo>
                    <a:pt x="0" y="41"/>
                  </a:lnTo>
                  <a:lnTo>
                    <a:pt x="41" y="0"/>
                  </a:lnTo>
                  <a:lnTo>
                    <a:pt x="52" y="13"/>
                  </a:lnTo>
                  <a:lnTo>
                    <a:pt x="11" y="54"/>
                  </a:ln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6">
              <a:extLst>
                <a:ext uri="{FF2B5EF4-FFF2-40B4-BE49-F238E27FC236}">
                  <a16:creationId xmlns:a16="http://schemas.microsoft.com/office/drawing/2014/main" id="{0548B59E-0364-4414-B15C-B0EAF97A4697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4865" y="2840"/>
              <a:ext cx="317" cy="166"/>
            </a:xfrm>
            <a:custGeom>
              <a:avLst/>
              <a:gdLst>
                <a:gd name="T0" fmla="*/ 176 w 200"/>
                <a:gd name="T1" fmla="*/ 69 h 105"/>
                <a:gd name="T2" fmla="*/ 186 w 200"/>
                <a:gd name="T3" fmla="*/ 49 h 105"/>
                <a:gd name="T4" fmla="*/ 160 w 200"/>
                <a:gd name="T5" fmla="*/ 23 h 105"/>
                <a:gd name="T6" fmla="*/ 134 w 200"/>
                <a:gd name="T7" fmla="*/ 49 h 105"/>
                <a:gd name="T8" fmla="*/ 144 w 200"/>
                <a:gd name="T9" fmla="*/ 69 h 105"/>
                <a:gd name="T10" fmla="*/ 137 w 200"/>
                <a:gd name="T11" fmla="*/ 72 h 105"/>
                <a:gd name="T12" fmla="*/ 115 w 200"/>
                <a:gd name="T13" fmla="*/ 45 h 105"/>
                <a:gd name="T14" fmla="*/ 125 w 200"/>
                <a:gd name="T15" fmla="*/ 25 h 105"/>
                <a:gd name="T16" fmla="*/ 99 w 200"/>
                <a:gd name="T17" fmla="*/ 0 h 105"/>
                <a:gd name="T18" fmla="*/ 73 w 200"/>
                <a:gd name="T19" fmla="*/ 25 h 105"/>
                <a:gd name="T20" fmla="*/ 82 w 200"/>
                <a:gd name="T21" fmla="*/ 45 h 105"/>
                <a:gd name="T22" fmla="*/ 61 w 200"/>
                <a:gd name="T23" fmla="*/ 71 h 105"/>
                <a:gd name="T24" fmla="*/ 56 w 200"/>
                <a:gd name="T25" fmla="*/ 69 h 105"/>
                <a:gd name="T26" fmla="*/ 65 w 200"/>
                <a:gd name="T27" fmla="*/ 49 h 105"/>
                <a:gd name="T28" fmla="*/ 39 w 200"/>
                <a:gd name="T29" fmla="*/ 23 h 105"/>
                <a:gd name="T30" fmla="*/ 14 w 200"/>
                <a:gd name="T31" fmla="*/ 49 h 105"/>
                <a:gd name="T32" fmla="*/ 23 w 200"/>
                <a:gd name="T33" fmla="*/ 69 h 105"/>
                <a:gd name="T34" fmla="*/ 0 w 200"/>
                <a:gd name="T35" fmla="*/ 105 h 105"/>
                <a:gd name="T36" fmla="*/ 9 w 200"/>
                <a:gd name="T37" fmla="*/ 105 h 105"/>
                <a:gd name="T38" fmla="*/ 39 w 200"/>
                <a:gd name="T39" fmla="*/ 75 h 105"/>
                <a:gd name="T40" fmla="*/ 69 w 200"/>
                <a:gd name="T41" fmla="*/ 105 h 105"/>
                <a:gd name="T42" fmla="*/ 79 w 200"/>
                <a:gd name="T43" fmla="*/ 105 h 105"/>
                <a:gd name="T44" fmla="*/ 69 w 200"/>
                <a:gd name="T45" fmla="*/ 78 h 105"/>
                <a:gd name="T46" fmla="*/ 99 w 200"/>
                <a:gd name="T47" fmla="*/ 51 h 105"/>
                <a:gd name="T48" fmla="*/ 129 w 200"/>
                <a:gd name="T49" fmla="*/ 80 h 105"/>
                <a:gd name="T50" fmla="*/ 120 w 200"/>
                <a:gd name="T51" fmla="*/ 105 h 105"/>
                <a:gd name="T52" fmla="*/ 130 w 200"/>
                <a:gd name="T53" fmla="*/ 105 h 105"/>
                <a:gd name="T54" fmla="*/ 160 w 200"/>
                <a:gd name="T55" fmla="*/ 75 h 105"/>
                <a:gd name="T56" fmla="*/ 190 w 200"/>
                <a:gd name="T57" fmla="*/ 105 h 105"/>
                <a:gd name="T58" fmla="*/ 200 w 200"/>
                <a:gd name="T59" fmla="*/ 105 h 105"/>
                <a:gd name="T60" fmla="*/ 176 w 200"/>
                <a:gd name="T61" fmla="*/ 69 h 105"/>
                <a:gd name="T62" fmla="*/ 23 w 200"/>
                <a:gd name="T63" fmla="*/ 49 h 105"/>
                <a:gd name="T64" fmla="*/ 39 w 200"/>
                <a:gd name="T65" fmla="*/ 33 h 105"/>
                <a:gd name="T66" fmla="*/ 56 w 200"/>
                <a:gd name="T67" fmla="*/ 49 h 105"/>
                <a:gd name="T68" fmla="*/ 39 w 200"/>
                <a:gd name="T69" fmla="*/ 65 h 105"/>
                <a:gd name="T70" fmla="*/ 23 w 200"/>
                <a:gd name="T71" fmla="*/ 49 h 105"/>
                <a:gd name="T72" fmla="*/ 83 w 200"/>
                <a:gd name="T73" fmla="*/ 25 h 105"/>
                <a:gd name="T74" fmla="*/ 99 w 200"/>
                <a:gd name="T75" fmla="*/ 9 h 105"/>
                <a:gd name="T76" fmla="*/ 115 w 200"/>
                <a:gd name="T77" fmla="*/ 25 h 105"/>
                <a:gd name="T78" fmla="*/ 99 w 200"/>
                <a:gd name="T79" fmla="*/ 41 h 105"/>
                <a:gd name="T80" fmla="*/ 83 w 200"/>
                <a:gd name="T81" fmla="*/ 25 h 105"/>
                <a:gd name="T82" fmla="*/ 144 w 200"/>
                <a:gd name="T83" fmla="*/ 49 h 105"/>
                <a:gd name="T84" fmla="*/ 160 w 200"/>
                <a:gd name="T85" fmla="*/ 33 h 105"/>
                <a:gd name="T86" fmla="*/ 176 w 200"/>
                <a:gd name="T87" fmla="*/ 49 h 105"/>
                <a:gd name="T88" fmla="*/ 160 w 200"/>
                <a:gd name="T89" fmla="*/ 65 h 105"/>
                <a:gd name="T90" fmla="*/ 144 w 200"/>
                <a:gd name="T91" fmla="*/ 4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0" h="105">
                  <a:moveTo>
                    <a:pt x="176" y="69"/>
                  </a:moveTo>
                  <a:cubicBezTo>
                    <a:pt x="182" y="64"/>
                    <a:pt x="186" y="57"/>
                    <a:pt x="186" y="49"/>
                  </a:cubicBezTo>
                  <a:cubicBezTo>
                    <a:pt x="186" y="35"/>
                    <a:pt x="174" y="23"/>
                    <a:pt x="160" y="23"/>
                  </a:cubicBezTo>
                  <a:cubicBezTo>
                    <a:pt x="146" y="23"/>
                    <a:pt x="134" y="35"/>
                    <a:pt x="134" y="49"/>
                  </a:cubicBezTo>
                  <a:cubicBezTo>
                    <a:pt x="134" y="57"/>
                    <a:pt x="138" y="64"/>
                    <a:pt x="144" y="69"/>
                  </a:cubicBezTo>
                  <a:cubicBezTo>
                    <a:pt x="141" y="70"/>
                    <a:pt x="139" y="71"/>
                    <a:pt x="137" y="72"/>
                  </a:cubicBezTo>
                  <a:cubicBezTo>
                    <a:pt x="135" y="60"/>
                    <a:pt x="126" y="50"/>
                    <a:pt x="115" y="45"/>
                  </a:cubicBezTo>
                  <a:cubicBezTo>
                    <a:pt x="121" y="40"/>
                    <a:pt x="125" y="33"/>
                    <a:pt x="125" y="25"/>
                  </a:cubicBezTo>
                  <a:cubicBezTo>
                    <a:pt x="125" y="11"/>
                    <a:pt x="113" y="0"/>
                    <a:pt x="99" y="0"/>
                  </a:cubicBezTo>
                  <a:cubicBezTo>
                    <a:pt x="85" y="0"/>
                    <a:pt x="73" y="11"/>
                    <a:pt x="73" y="25"/>
                  </a:cubicBezTo>
                  <a:cubicBezTo>
                    <a:pt x="73" y="33"/>
                    <a:pt x="77" y="40"/>
                    <a:pt x="82" y="45"/>
                  </a:cubicBezTo>
                  <a:cubicBezTo>
                    <a:pt x="72" y="50"/>
                    <a:pt x="64" y="60"/>
                    <a:pt x="61" y="71"/>
                  </a:cubicBezTo>
                  <a:cubicBezTo>
                    <a:pt x="59" y="70"/>
                    <a:pt x="58" y="69"/>
                    <a:pt x="56" y="69"/>
                  </a:cubicBezTo>
                  <a:cubicBezTo>
                    <a:pt x="62" y="64"/>
                    <a:pt x="65" y="57"/>
                    <a:pt x="65" y="49"/>
                  </a:cubicBezTo>
                  <a:cubicBezTo>
                    <a:pt x="65" y="35"/>
                    <a:pt x="54" y="23"/>
                    <a:pt x="39" y="23"/>
                  </a:cubicBezTo>
                  <a:cubicBezTo>
                    <a:pt x="25" y="23"/>
                    <a:pt x="14" y="35"/>
                    <a:pt x="14" y="49"/>
                  </a:cubicBezTo>
                  <a:cubicBezTo>
                    <a:pt x="14" y="57"/>
                    <a:pt x="17" y="64"/>
                    <a:pt x="23" y="69"/>
                  </a:cubicBezTo>
                  <a:cubicBezTo>
                    <a:pt x="9" y="75"/>
                    <a:pt x="0" y="89"/>
                    <a:pt x="0" y="105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88"/>
                    <a:pt x="23" y="75"/>
                    <a:pt x="39" y="75"/>
                  </a:cubicBezTo>
                  <a:cubicBezTo>
                    <a:pt x="56" y="75"/>
                    <a:pt x="69" y="88"/>
                    <a:pt x="69" y="105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79" y="95"/>
                    <a:pt x="75" y="85"/>
                    <a:pt x="69" y="78"/>
                  </a:cubicBezTo>
                  <a:cubicBezTo>
                    <a:pt x="70" y="63"/>
                    <a:pt x="83" y="51"/>
                    <a:pt x="99" y="51"/>
                  </a:cubicBezTo>
                  <a:cubicBezTo>
                    <a:pt x="115" y="51"/>
                    <a:pt x="128" y="64"/>
                    <a:pt x="129" y="80"/>
                  </a:cubicBezTo>
                  <a:cubicBezTo>
                    <a:pt x="124" y="87"/>
                    <a:pt x="120" y="95"/>
                    <a:pt x="120" y="105"/>
                  </a:cubicBezTo>
                  <a:cubicBezTo>
                    <a:pt x="130" y="105"/>
                    <a:pt x="130" y="105"/>
                    <a:pt x="130" y="105"/>
                  </a:cubicBezTo>
                  <a:cubicBezTo>
                    <a:pt x="130" y="88"/>
                    <a:pt x="143" y="75"/>
                    <a:pt x="160" y="75"/>
                  </a:cubicBezTo>
                  <a:cubicBezTo>
                    <a:pt x="177" y="75"/>
                    <a:pt x="190" y="88"/>
                    <a:pt x="190" y="105"/>
                  </a:cubicBezTo>
                  <a:cubicBezTo>
                    <a:pt x="200" y="105"/>
                    <a:pt x="200" y="105"/>
                    <a:pt x="200" y="105"/>
                  </a:cubicBezTo>
                  <a:cubicBezTo>
                    <a:pt x="200" y="89"/>
                    <a:pt x="190" y="75"/>
                    <a:pt x="176" y="69"/>
                  </a:cubicBezTo>
                  <a:close/>
                  <a:moveTo>
                    <a:pt x="23" y="49"/>
                  </a:moveTo>
                  <a:cubicBezTo>
                    <a:pt x="23" y="40"/>
                    <a:pt x="31" y="33"/>
                    <a:pt x="39" y="33"/>
                  </a:cubicBezTo>
                  <a:cubicBezTo>
                    <a:pt x="48" y="33"/>
                    <a:pt x="56" y="40"/>
                    <a:pt x="56" y="49"/>
                  </a:cubicBezTo>
                  <a:cubicBezTo>
                    <a:pt x="56" y="58"/>
                    <a:pt x="48" y="65"/>
                    <a:pt x="39" y="65"/>
                  </a:cubicBezTo>
                  <a:cubicBezTo>
                    <a:pt x="31" y="65"/>
                    <a:pt x="23" y="58"/>
                    <a:pt x="23" y="49"/>
                  </a:cubicBezTo>
                  <a:close/>
                  <a:moveTo>
                    <a:pt x="83" y="25"/>
                  </a:moveTo>
                  <a:cubicBezTo>
                    <a:pt x="83" y="17"/>
                    <a:pt x="90" y="9"/>
                    <a:pt x="99" y="9"/>
                  </a:cubicBezTo>
                  <a:cubicBezTo>
                    <a:pt x="108" y="9"/>
                    <a:pt x="115" y="17"/>
                    <a:pt x="115" y="25"/>
                  </a:cubicBezTo>
                  <a:cubicBezTo>
                    <a:pt x="115" y="34"/>
                    <a:pt x="108" y="41"/>
                    <a:pt x="99" y="41"/>
                  </a:cubicBezTo>
                  <a:cubicBezTo>
                    <a:pt x="90" y="41"/>
                    <a:pt x="83" y="34"/>
                    <a:pt x="83" y="25"/>
                  </a:cubicBezTo>
                  <a:close/>
                  <a:moveTo>
                    <a:pt x="144" y="49"/>
                  </a:moveTo>
                  <a:cubicBezTo>
                    <a:pt x="144" y="40"/>
                    <a:pt x="151" y="33"/>
                    <a:pt x="160" y="33"/>
                  </a:cubicBezTo>
                  <a:cubicBezTo>
                    <a:pt x="169" y="33"/>
                    <a:pt x="176" y="40"/>
                    <a:pt x="176" y="49"/>
                  </a:cubicBezTo>
                  <a:cubicBezTo>
                    <a:pt x="176" y="58"/>
                    <a:pt x="169" y="65"/>
                    <a:pt x="160" y="65"/>
                  </a:cubicBezTo>
                  <a:cubicBezTo>
                    <a:pt x="151" y="65"/>
                    <a:pt x="144" y="58"/>
                    <a:pt x="144" y="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Oval 37">
              <a:extLst>
                <a:ext uri="{FF2B5EF4-FFF2-40B4-BE49-F238E27FC236}">
                  <a16:creationId xmlns:a16="http://schemas.microsoft.com/office/drawing/2014/main" id="{8BB45199-B495-4FF3-8DD9-32FDF11462A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575" y="2742"/>
              <a:ext cx="207" cy="207"/>
            </a:xfrm>
            <a:prstGeom prst="ellipse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Oval 38">
              <a:extLst>
                <a:ext uri="{FF2B5EF4-FFF2-40B4-BE49-F238E27FC236}">
                  <a16:creationId xmlns:a16="http://schemas.microsoft.com/office/drawing/2014/main" id="{4F1E11C5-6F89-47AF-A8E8-BC5887B55E7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716" y="2864"/>
              <a:ext cx="85" cy="85"/>
            </a:xfrm>
            <a:prstGeom prst="ellipse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9">
              <a:extLst>
                <a:ext uri="{FF2B5EF4-FFF2-40B4-BE49-F238E27FC236}">
                  <a16:creationId xmlns:a16="http://schemas.microsoft.com/office/drawing/2014/main" id="{1D407434-D22D-4EF0-8D08-3A7CAAE44AA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33" y="2892"/>
              <a:ext cx="49" cy="35"/>
            </a:xfrm>
            <a:custGeom>
              <a:avLst/>
              <a:gdLst>
                <a:gd name="T0" fmla="*/ 21 w 49"/>
                <a:gd name="T1" fmla="*/ 35 h 35"/>
                <a:gd name="T2" fmla="*/ 0 w 49"/>
                <a:gd name="T3" fmla="*/ 14 h 35"/>
                <a:gd name="T4" fmla="*/ 6 w 49"/>
                <a:gd name="T5" fmla="*/ 8 h 35"/>
                <a:gd name="T6" fmla="*/ 21 w 49"/>
                <a:gd name="T7" fmla="*/ 22 h 35"/>
                <a:gd name="T8" fmla="*/ 43 w 49"/>
                <a:gd name="T9" fmla="*/ 0 h 35"/>
                <a:gd name="T10" fmla="*/ 49 w 49"/>
                <a:gd name="T11" fmla="*/ 7 h 35"/>
                <a:gd name="T12" fmla="*/ 21 w 49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35">
                  <a:moveTo>
                    <a:pt x="21" y="35"/>
                  </a:moveTo>
                  <a:lnTo>
                    <a:pt x="0" y="14"/>
                  </a:lnTo>
                  <a:lnTo>
                    <a:pt x="6" y="8"/>
                  </a:lnTo>
                  <a:lnTo>
                    <a:pt x="21" y="22"/>
                  </a:lnTo>
                  <a:lnTo>
                    <a:pt x="43" y="0"/>
                  </a:lnTo>
                  <a:lnTo>
                    <a:pt x="49" y="7"/>
                  </a:lnTo>
                  <a:lnTo>
                    <a:pt x="21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40">
              <a:extLst>
                <a:ext uri="{FF2B5EF4-FFF2-40B4-BE49-F238E27FC236}">
                  <a16:creationId xmlns:a16="http://schemas.microsoft.com/office/drawing/2014/main" id="{F10D3747-3E9F-48B0-B7E1-32D397481B3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6638" y="2823"/>
              <a:ext cx="40" cy="49"/>
            </a:xfrm>
            <a:custGeom>
              <a:avLst/>
              <a:gdLst>
                <a:gd name="T0" fmla="*/ 0 w 25"/>
                <a:gd name="T1" fmla="*/ 1 h 31"/>
                <a:gd name="T2" fmla="*/ 8 w 25"/>
                <a:gd name="T3" fmla="*/ 0 h 31"/>
                <a:gd name="T4" fmla="*/ 21 w 25"/>
                <a:gd name="T5" fmla="*/ 4 h 31"/>
                <a:gd name="T6" fmla="*/ 25 w 25"/>
                <a:gd name="T7" fmla="*/ 15 h 31"/>
                <a:gd name="T8" fmla="*/ 21 w 25"/>
                <a:gd name="T9" fmla="*/ 27 h 31"/>
                <a:gd name="T10" fmla="*/ 7 w 25"/>
                <a:gd name="T11" fmla="*/ 31 h 31"/>
                <a:gd name="T12" fmla="*/ 0 w 25"/>
                <a:gd name="T13" fmla="*/ 31 h 31"/>
                <a:gd name="T14" fmla="*/ 0 w 25"/>
                <a:gd name="T15" fmla="*/ 1 h 31"/>
                <a:gd name="T16" fmla="*/ 4 w 25"/>
                <a:gd name="T17" fmla="*/ 28 h 31"/>
                <a:gd name="T18" fmla="*/ 8 w 25"/>
                <a:gd name="T19" fmla="*/ 28 h 31"/>
                <a:gd name="T20" fmla="*/ 21 w 25"/>
                <a:gd name="T21" fmla="*/ 15 h 31"/>
                <a:gd name="T22" fmla="*/ 8 w 25"/>
                <a:gd name="T23" fmla="*/ 3 h 31"/>
                <a:gd name="T24" fmla="*/ 4 w 25"/>
                <a:gd name="T25" fmla="*/ 3 h 31"/>
                <a:gd name="T26" fmla="*/ 4 w 25"/>
                <a:gd name="T2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31">
                  <a:moveTo>
                    <a:pt x="0" y="1"/>
                  </a:moveTo>
                  <a:cubicBezTo>
                    <a:pt x="2" y="0"/>
                    <a:pt x="5" y="0"/>
                    <a:pt x="8" y="0"/>
                  </a:cubicBezTo>
                  <a:cubicBezTo>
                    <a:pt x="14" y="0"/>
                    <a:pt x="18" y="1"/>
                    <a:pt x="21" y="4"/>
                  </a:cubicBezTo>
                  <a:cubicBezTo>
                    <a:pt x="23" y="6"/>
                    <a:pt x="25" y="10"/>
                    <a:pt x="25" y="15"/>
                  </a:cubicBezTo>
                  <a:cubicBezTo>
                    <a:pt x="25" y="20"/>
                    <a:pt x="23" y="24"/>
                    <a:pt x="21" y="27"/>
                  </a:cubicBezTo>
                  <a:cubicBezTo>
                    <a:pt x="18" y="30"/>
                    <a:pt x="13" y="31"/>
                    <a:pt x="7" y="31"/>
                  </a:cubicBezTo>
                  <a:cubicBezTo>
                    <a:pt x="4" y="31"/>
                    <a:pt x="2" y="31"/>
                    <a:pt x="0" y="31"/>
                  </a:cubicBezTo>
                  <a:lnTo>
                    <a:pt x="0" y="1"/>
                  </a:lnTo>
                  <a:close/>
                  <a:moveTo>
                    <a:pt x="4" y="28"/>
                  </a:moveTo>
                  <a:cubicBezTo>
                    <a:pt x="5" y="28"/>
                    <a:pt x="6" y="28"/>
                    <a:pt x="8" y="28"/>
                  </a:cubicBezTo>
                  <a:cubicBezTo>
                    <a:pt x="16" y="28"/>
                    <a:pt x="21" y="23"/>
                    <a:pt x="21" y="15"/>
                  </a:cubicBezTo>
                  <a:cubicBezTo>
                    <a:pt x="21" y="8"/>
                    <a:pt x="17" y="3"/>
                    <a:pt x="8" y="3"/>
                  </a:cubicBezTo>
                  <a:cubicBezTo>
                    <a:pt x="6" y="3"/>
                    <a:pt x="5" y="3"/>
                    <a:pt x="4" y="3"/>
                  </a:cubicBezTo>
                  <a:lnTo>
                    <a:pt x="4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41">
              <a:extLst>
                <a:ext uri="{FF2B5EF4-FFF2-40B4-BE49-F238E27FC236}">
                  <a16:creationId xmlns:a16="http://schemas.microsoft.com/office/drawing/2014/main" id="{6D69C498-506E-490F-A7DD-4E412F03B4E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684" y="2823"/>
              <a:ext cx="30" cy="50"/>
            </a:xfrm>
            <a:custGeom>
              <a:avLst/>
              <a:gdLst>
                <a:gd name="T0" fmla="*/ 1 w 19"/>
                <a:gd name="T1" fmla="*/ 26 h 32"/>
                <a:gd name="T2" fmla="*/ 8 w 19"/>
                <a:gd name="T3" fmla="*/ 28 h 32"/>
                <a:gd name="T4" fmla="*/ 14 w 19"/>
                <a:gd name="T5" fmla="*/ 23 h 32"/>
                <a:gd name="T6" fmla="*/ 9 w 19"/>
                <a:gd name="T7" fmla="*/ 17 h 32"/>
                <a:gd name="T8" fmla="*/ 0 w 19"/>
                <a:gd name="T9" fmla="*/ 8 h 32"/>
                <a:gd name="T10" fmla="*/ 10 w 19"/>
                <a:gd name="T11" fmla="*/ 0 h 32"/>
                <a:gd name="T12" fmla="*/ 17 w 19"/>
                <a:gd name="T13" fmla="*/ 1 h 32"/>
                <a:gd name="T14" fmla="*/ 16 w 19"/>
                <a:gd name="T15" fmla="*/ 4 h 32"/>
                <a:gd name="T16" fmla="*/ 10 w 19"/>
                <a:gd name="T17" fmla="*/ 3 h 32"/>
                <a:gd name="T18" fmla="*/ 4 w 19"/>
                <a:gd name="T19" fmla="*/ 8 h 32"/>
                <a:gd name="T20" fmla="*/ 11 w 19"/>
                <a:gd name="T21" fmla="*/ 14 h 32"/>
                <a:gd name="T22" fmla="*/ 19 w 19"/>
                <a:gd name="T23" fmla="*/ 23 h 32"/>
                <a:gd name="T24" fmla="*/ 8 w 19"/>
                <a:gd name="T25" fmla="*/ 32 h 32"/>
                <a:gd name="T26" fmla="*/ 0 w 19"/>
                <a:gd name="T27" fmla="*/ 30 h 32"/>
                <a:gd name="T28" fmla="*/ 1 w 19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32">
                  <a:moveTo>
                    <a:pt x="1" y="26"/>
                  </a:moveTo>
                  <a:cubicBezTo>
                    <a:pt x="3" y="27"/>
                    <a:pt x="5" y="28"/>
                    <a:pt x="8" y="28"/>
                  </a:cubicBezTo>
                  <a:cubicBezTo>
                    <a:pt x="12" y="28"/>
                    <a:pt x="14" y="26"/>
                    <a:pt x="14" y="23"/>
                  </a:cubicBezTo>
                  <a:cubicBezTo>
                    <a:pt x="14" y="20"/>
                    <a:pt x="13" y="18"/>
                    <a:pt x="9" y="17"/>
                  </a:cubicBezTo>
                  <a:cubicBezTo>
                    <a:pt x="3" y="15"/>
                    <a:pt x="0" y="12"/>
                    <a:pt x="0" y="8"/>
                  </a:cubicBezTo>
                  <a:cubicBezTo>
                    <a:pt x="0" y="3"/>
                    <a:pt x="4" y="0"/>
                    <a:pt x="10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4"/>
                    <a:pt x="13" y="3"/>
                    <a:pt x="10" y="3"/>
                  </a:cubicBezTo>
                  <a:cubicBezTo>
                    <a:pt x="6" y="3"/>
                    <a:pt x="4" y="5"/>
                    <a:pt x="4" y="8"/>
                  </a:cubicBezTo>
                  <a:cubicBezTo>
                    <a:pt x="4" y="11"/>
                    <a:pt x="6" y="12"/>
                    <a:pt x="11" y="14"/>
                  </a:cubicBezTo>
                  <a:cubicBezTo>
                    <a:pt x="16" y="16"/>
                    <a:pt x="19" y="18"/>
                    <a:pt x="19" y="23"/>
                  </a:cubicBezTo>
                  <a:cubicBezTo>
                    <a:pt x="19" y="28"/>
                    <a:pt x="15" y="32"/>
                    <a:pt x="8" y="32"/>
                  </a:cubicBezTo>
                  <a:cubicBezTo>
                    <a:pt x="5" y="32"/>
                    <a:pt x="1" y="31"/>
                    <a:pt x="0" y="30"/>
                  </a:cubicBezTo>
                  <a:lnTo>
                    <a:pt x="1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Oval 42">
              <a:extLst>
                <a:ext uri="{FF2B5EF4-FFF2-40B4-BE49-F238E27FC236}">
                  <a16:creationId xmlns:a16="http://schemas.microsoft.com/office/drawing/2014/main" id="{B4D52FFA-9F4F-4E6E-AC74-0A07C9A64EE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951" y="1189"/>
              <a:ext cx="207" cy="208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43">
              <a:extLst>
                <a:ext uri="{FF2B5EF4-FFF2-40B4-BE49-F238E27FC236}">
                  <a16:creationId xmlns:a16="http://schemas.microsoft.com/office/drawing/2014/main" id="{EEDFDB0C-7491-4806-A86D-E33B383D2D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004" y="1268"/>
              <a:ext cx="51" cy="49"/>
            </a:xfrm>
            <a:custGeom>
              <a:avLst/>
              <a:gdLst>
                <a:gd name="T0" fmla="*/ 27 w 32"/>
                <a:gd name="T1" fmla="*/ 18 h 31"/>
                <a:gd name="T2" fmla="*/ 27 w 32"/>
                <a:gd name="T3" fmla="*/ 4 h 31"/>
                <a:gd name="T4" fmla="*/ 26 w 32"/>
                <a:gd name="T5" fmla="*/ 4 h 31"/>
                <a:gd name="T6" fmla="*/ 23 w 32"/>
                <a:gd name="T7" fmla="*/ 16 h 31"/>
                <a:gd name="T8" fmla="*/ 17 w 32"/>
                <a:gd name="T9" fmla="*/ 31 h 31"/>
                <a:gd name="T10" fmla="*/ 14 w 32"/>
                <a:gd name="T11" fmla="*/ 31 h 31"/>
                <a:gd name="T12" fmla="*/ 9 w 32"/>
                <a:gd name="T13" fmla="*/ 16 h 31"/>
                <a:gd name="T14" fmla="*/ 5 w 32"/>
                <a:gd name="T15" fmla="*/ 4 h 31"/>
                <a:gd name="T16" fmla="*/ 5 w 32"/>
                <a:gd name="T17" fmla="*/ 4 h 31"/>
                <a:gd name="T18" fmla="*/ 5 w 32"/>
                <a:gd name="T19" fmla="*/ 18 h 31"/>
                <a:gd name="T20" fmla="*/ 4 w 32"/>
                <a:gd name="T21" fmla="*/ 31 h 31"/>
                <a:gd name="T22" fmla="*/ 0 w 32"/>
                <a:gd name="T23" fmla="*/ 31 h 31"/>
                <a:gd name="T24" fmla="*/ 2 w 32"/>
                <a:gd name="T25" fmla="*/ 0 h 31"/>
                <a:gd name="T26" fmla="*/ 7 w 32"/>
                <a:gd name="T27" fmla="*/ 0 h 31"/>
                <a:gd name="T28" fmla="*/ 13 w 32"/>
                <a:gd name="T29" fmla="*/ 15 h 31"/>
                <a:gd name="T30" fmla="*/ 16 w 32"/>
                <a:gd name="T31" fmla="*/ 26 h 31"/>
                <a:gd name="T32" fmla="*/ 16 w 32"/>
                <a:gd name="T33" fmla="*/ 26 h 31"/>
                <a:gd name="T34" fmla="*/ 19 w 32"/>
                <a:gd name="T35" fmla="*/ 15 h 31"/>
                <a:gd name="T36" fmla="*/ 25 w 32"/>
                <a:gd name="T37" fmla="*/ 0 h 31"/>
                <a:gd name="T38" fmla="*/ 30 w 32"/>
                <a:gd name="T39" fmla="*/ 0 h 31"/>
                <a:gd name="T40" fmla="*/ 32 w 32"/>
                <a:gd name="T41" fmla="*/ 31 h 31"/>
                <a:gd name="T42" fmla="*/ 28 w 32"/>
                <a:gd name="T43" fmla="*/ 31 h 31"/>
                <a:gd name="T44" fmla="*/ 27 w 32"/>
                <a:gd name="T45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7" y="18"/>
                  </a:moveTo>
                  <a:cubicBezTo>
                    <a:pt x="27" y="13"/>
                    <a:pt x="27" y="8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5" y="8"/>
                    <a:pt x="24" y="12"/>
                    <a:pt x="23" y="16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7" y="12"/>
                    <a:pt x="6" y="8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8"/>
                    <a:pt x="5" y="13"/>
                    <a:pt x="5" y="18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4" y="19"/>
                    <a:pt x="15" y="22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7" y="23"/>
                    <a:pt x="18" y="19"/>
                    <a:pt x="19" y="1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28" y="31"/>
                    <a:pt x="28" y="31"/>
                    <a:pt x="28" y="31"/>
                  </a:cubicBezTo>
                  <a:lnTo>
                    <a:pt x="27" y="18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44">
              <a:extLst>
                <a:ext uri="{FF2B5EF4-FFF2-40B4-BE49-F238E27FC236}">
                  <a16:creationId xmlns:a16="http://schemas.microsoft.com/office/drawing/2014/main" id="{ACE836C5-7E0F-49C5-89E4-3E3AE10174B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061" y="1268"/>
              <a:ext cx="42" cy="51"/>
            </a:xfrm>
            <a:custGeom>
              <a:avLst/>
              <a:gdLst>
                <a:gd name="T0" fmla="*/ 26 w 26"/>
                <a:gd name="T1" fmla="*/ 30 h 32"/>
                <a:gd name="T2" fmla="*/ 16 w 26"/>
                <a:gd name="T3" fmla="*/ 32 h 32"/>
                <a:gd name="T4" fmla="*/ 4 w 26"/>
                <a:gd name="T5" fmla="*/ 27 h 32"/>
                <a:gd name="T6" fmla="*/ 0 w 26"/>
                <a:gd name="T7" fmla="*/ 16 h 32"/>
                <a:gd name="T8" fmla="*/ 17 w 26"/>
                <a:gd name="T9" fmla="*/ 0 h 32"/>
                <a:gd name="T10" fmla="*/ 25 w 26"/>
                <a:gd name="T11" fmla="*/ 1 h 32"/>
                <a:gd name="T12" fmla="*/ 24 w 26"/>
                <a:gd name="T13" fmla="*/ 5 h 32"/>
                <a:gd name="T14" fmla="*/ 17 w 26"/>
                <a:gd name="T15" fmla="*/ 3 h 32"/>
                <a:gd name="T16" fmla="*/ 4 w 26"/>
                <a:gd name="T17" fmla="*/ 16 h 32"/>
                <a:gd name="T18" fmla="*/ 16 w 26"/>
                <a:gd name="T19" fmla="*/ 28 h 32"/>
                <a:gd name="T20" fmla="*/ 22 w 26"/>
                <a:gd name="T21" fmla="*/ 27 h 32"/>
                <a:gd name="T22" fmla="*/ 22 w 26"/>
                <a:gd name="T23" fmla="*/ 18 h 32"/>
                <a:gd name="T24" fmla="*/ 15 w 26"/>
                <a:gd name="T25" fmla="*/ 18 h 32"/>
                <a:gd name="T26" fmla="*/ 15 w 26"/>
                <a:gd name="T27" fmla="*/ 15 h 32"/>
                <a:gd name="T28" fmla="*/ 26 w 26"/>
                <a:gd name="T29" fmla="*/ 15 h 32"/>
                <a:gd name="T30" fmla="*/ 26 w 26"/>
                <a:gd name="T31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2">
                  <a:moveTo>
                    <a:pt x="26" y="30"/>
                  </a:moveTo>
                  <a:cubicBezTo>
                    <a:pt x="24" y="31"/>
                    <a:pt x="20" y="32"/>
                    <a:pt x="16" y="32"/>
                  </a:cubicBezTo>
                  <a:cubicBezTo>
                    <a:pt x="11" y="32"/>
                    <a:pt x="8" y="30"/>
                    <a:pt x="4" y="27"/>
                  </a:cubicBezTo>
                  <a:cubicBezTo>
                    <a:pt x="2" y="25"/>
                    <a:pt x="0" y="21"/>
                    <a:pt x="0" y="16"/>
                  </a:cubicBezTo>
                  <a:cubicBezTo>
                    <a:pt x="0" y="7"/>
                    <a:pt x="7" y="0"/>
                    <a:pt x="17" y="0"/>
                  </a:cubicBezTo>
                  <a:cubicBezTo>
                    <a:pt x="21" y="0"/>
                    <a:pt x="23" y="1"/>
                    <a:pt x="25" y="1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2" y="4"/>
                    <a:pt x="20" y="3"/>
                    <a:pt x="17" y="3"/>
                  </a:cubicBezTo>
                  <a:cubicBezTo>
                    <a:pt x="9" y="3"/>
                    <a:pt x="4" y="8"/>
                    <a:pt x="4" y="16"/>
                  </a:cubicBezTo>
                  <a:cubicBezTo>
                    <a:pt x="4" y="24"/>
                    <a:pt x="9" y="28"/>
                    <a:pt x="16" y="28"/>
                  </a:cubicBezTo>
                  <a:cubicBezTo>
                    <a:pt x="19" y="28"/>
                    <a:pt x="21" y="28"/>
                    <a:pt x="22" y="27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6" y="15"/>
                    <a:pt x="26" y="15"/>
                    <a:pt x="26" y="15"/>
                  </a:cubicBezTo>
                  <a:lnTo>
                    <a:pt x="26" y="30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45">
              <a:extLst>
                <a:ext uri="{FF2B5EF4-FFF2-40B4-BE49-F238E27FC236}">
                  <a16:creationId xmlns:a16="http://schemas.microsoft.com/office/drawing/2014/main" id="{5F05C34A-B035-4694-A5FE-72FD6AD67A8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527" y="2204"/>
              <a:ext cx="257" cy="212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46">
              <a:extLst>
                <a:ext uri="{FF2B5EF4-FFF2-40B4-BE49-F238E27FC236}">
                  <a16:creationId xmlns:a16="http://schemas.microsoft.com/office/drawing/2014/main" id="{9A4BADA8-D9A7-44A7-A105-532960F60AC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554" y="2183"/>
              <a:ext cx="18" cy="38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47">
              <a:extLst>
                <a:ext uri="{FF2B5EF4-FFF2-40B4-BE49-F238E27FC236}">
                  <a16:creationId xmlns:a16="http://schemas.microsoft.com/office/drawing/2014/main" id="{63E9CDD1-2CCA-4AD2-8FC5-7B54102A31E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592" y="2183"/>
              <a:ext cx="18" cy="38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48">
              <a:extLst>
                <a:ext uri="{FF2B5EF4-FFF2-40B4-BE49-F238E27FC236}">
                  <a16:creationId xmlns:a16="http://schemas.microsoft.com/office/drawing/2014/main" id="{92915CF4-080B-4F6F-B4F1-3A95191854C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629" y="2183"/>
              <a:ext cx="17" cy="38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Rectangle 49">
              <a:extLst>
                <a:ext uri="{FF2B5EF4-FFF2-40B4-BE49-F238E27FC236}">
                  <a16:creationId xmlns:a16="http://schemas.microsoft.com/office/drawing/2014/main" id="{AA2132B3-752E-4D9C-8FE2-72B9FDF2E94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665" y="2183"/>
              <a:ext cx="18" cy="38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Rectangle 50">
              <a:extLst>
                <a:ext uri="{FF2B5EF4-FFF2-40B4-BE49-F238E27FC236}">
                  <a16:creationId xmlns:a16="http://schemas.microsoft.com/office/drawing/2014/main" id="{5E5EECD8-3638-4A84-B492-81EA4CF8C4E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702" y="2183"/>
              <a:ext cx="17" cy="38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Rectangle 51">
              <a:extLst>
                <a:ext uri="{FF2B5EF4-FFF2-40B4-BE49-F238E27FC236}">
                  <a16:creationId xmlns:a16="http://schemas.microsoft.com/office/drawing/2014/main" id="{D91C08E3-75D9-4311-B44C-EDC3029C32A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738" y="2183"/>
              <a:ext cx="18" cy="38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52">
              <a:extLst>
                <a:ext uri="{FF2B5EF4-FFF2-40B4-BE49-F238E27FC236}">
                  <a16:creationId xmlns:a16="http://schemas.microsoft.com/office/drawing/2014/main" id="{0A202B3F-0B53-46A3-A29A-724B281C0F9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564" y="2267"/>
              <a:ext cx="36" cy="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53">
              <a:extLst>
                <a:ext uri="{FF2B5EF4-FFF2-40B4-BE49-F238E27FC236}">
                  <a16:creationId xmlns:a16="http://schemas.microsoft.com/office/drawing/2014/main" id="{D48F211F-FDE5-446B-A405-147EB65ECAD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637" y="2267"/>
              <a:ext cx="38" cy="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54">
              <a:extLst>
                <a:ext uri="{FF2B5EF4-FFF2-40B4-BE49-F238E27FC236}">
                  <a16:creationId xmlns:a16="http://schemas.microsoft.com/office/drawing/2014/main" id="{2072672C-3295-48B8-ABDE-B218C597E99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711" y="2267"/>
              <a:ext cx="37" cy="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Rectangle 55">
              <a:extLst>
                <a:ext uri="{FF2B5EF4-FFF2-40B4-BE49-F238E27FC236}">
                  <a16:creationId xmlns:a16="http://schemas.microsoft.com/office/drawing/2014/main" id="{F122C28C-0CC6-43A9-9FEE-8FECFD7F229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564" y="2335"/>
              <a:ext cx="36" cy="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Rectangle 56">
              <a:extLst>
                <a:ext uri="{FF2B5EF4-FFF2-40B4-BE49-F238E27FC236}">
                  <a16:creationId xmlns:a16="http://schemas.microsoft.com/office/drawing/2014/main" id="{80A41BE9-0A46-4EF9-8D27-3E8FA5EB7FC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637" y="2335"/>
              <a:ext cx="38" cy="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Rectangle 57">
              <a:extLst>
                <a:ext uri="{FF2B5EF4-FFF2-40B4-BE49-F238E27FC236}">
                  <a16:creationId xmlns:a16="http://schemas.microsoft.com/office/drawing/2014/main" id="{0CB03AEC-6D79-4792-BA6C-243281B4B7A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711" y="2335"/>
              <a:ext cx="37" cy="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58">
              <a:extLst>
                <a:ext uri="{FF2B5EF4-FFF2-40B4-BE49-F238E27FC236}">
                  <a16:creationId xmlns:a16="http://schemas.microsoft.com/office/drawing/2014/main" id="{553D7D7B-BE0A-45C5-A2C5-783262F1EB0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76" y="1648"/>
              <a:ext cx="439" cy="437"/>
            </a:xfrm>
            <a:custGeom>
              <a:avLst/>
              <a:gdLst>
                <a:gd name="T0" fmla="*/ 0 w 277"/>
                <a:gd name="T1" fmla="*/ 0 h 276"/>
                <a:gd name="T2" fmla="*/ 0 w 277"/>
                <a:gd name="T3" fmla="*/ 276 h 276"/>
                <a:gd name="T4" fmla="*/ 277 w 277"/>
                <a:gd name="T5" fmla="*/ 276 h 276"/>
                <a:gd name="T6" fmla="*/ 0 w 277"/>
                <a:gd name="T7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7" h="276">
                  <a:moveTo>
                    <a:pt x="0" y="0"/>
                  </a:moveTo>
                  <a:cubicBezTo>
                    <a:pt x="0" y="276"/>
                    <a:pt x="0" y="276"/>
                    <a:pt x="0" y="276"/>
                  </a:cubicBezTo>
                  <a:cubicBezTo>
                    <a:pt x="277" y="276"/>
                    <a:pt x="277" y="276"/>
                    <a:pt x="277" y="276"/>
                  </a:cubicBezTo>
                  <a:cubicBezTo>
                    <a:pt x="277" y="123"/>
                    <a:pt x="153" y="0"/>
                    <a:pt x="0" y="0"/>
                  </a:cubicBez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59">
              <a:extLst>
                <a:ext uri="{FF2B5EF4-FFF2-40B4-BE49-F238E27FC236}">
                  <a16:creationId xmlns:a16="http://schemas.microsoft.com/office/drawing/2014/main" id="{E68CAE8C-68D3-4138-86B1-1CF39286690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08" y="1772"/>
              <a:ext cx="612" cy="680"/>
            </a:xfrm>
            <a:custGeom>
              <a:avLst/>
              <a:gdLst>
                <a:gd name="T0" fmla="*/ 215 w 386"/>
                <a:gd name="T1" fmla="*/ 215 h 430"/>
                <a:gd name="T2" fmla="*/ 215 w 386"/>
                <a:gd name="T3" fmla="*/ 0 h 430"/>
                <a:gd name="T4" fmla="*/ 215 w 386"/>
                <a:gd name="T5" fmla="*/ 0 h 430"/>
                <a:gd name="T6" fmla="*/ 0 w 386"/>
                <a:gd name="T7" fmla="*/ 215 h 430"/>
                <a:gd name="T8" fmla="*/ 215 w 386"/>
                <a:gd name="T9" fmla="*/ 430 h 430"/>
                <a:gd name="T10" fmla="*/ 328 w 386"/>
                <a:gd name="T11" fmla="*/ 399 h 430"/>
                <a:gd name="T12" fmla="*/ 380 w 386"/>
                <a:gd name="T13" fmla="*/ 229 h 430"/>
                <a:gd name="T14" fmla="*/ 215 w 386"/>
                <a:gd name="T15" fmla="*/ 21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6" h="430">
                  <a:moveTo>
                    <a:pt x="215" y="215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97" y="0"/>
                    <a:pt x="0" y="96"/>
                    <a:pt x="0" y="215"/>
                  </a:cubicBezTo>
                  <a:cubicBezTo>
                    <a:pt x="0" y="334"/>
                    <a:pt x="97" y="430"/>
                    <a:pt x="215" y="430"/>
                  </a:cubicBezTo>
                  <a:cubicBezTo>
                    <a:pt x="257" y="430"/>
                    <a:pt x="295" y="419"/>
                    <a:pt x="328" y="399"/>
                  </a:cubicBezTo>
                  <a:cubicBezTo>
                    <a:pt x="386" y="363"/>
                    <a:pt x="380" y="229"/>
                    <a:pt x="380" y="229"/>
                  </a:cubicBezTo>
                  <a:lnTo>
                    <a:pt x="215" y="215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60">
              <a:extLst>
                <a:ext uri="{FF2B5EF4-FFF2-40B4-BE49-F238E27FC236}">
                  <a16:creationId xmlns:a16="http://schemas.microsoft.com/office/drawing/2014/main" id="{4A41361F-E495-4FEA-903A-A730D34A969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49" y="2112"/>
              <a:ext cx="342" cy="240"/>
            </a:xfrm>
            <a:custGeom>
              <a:avLst/>
              <a:gdLst>
                <a:gd name="T0" fmla="*/ 153 w 216"/>
                <a:gd name="T1" fmla="*/ 152 h 152"/>
                <a:gd name="T2" fmla="*/ 216 w 216"/>
                <a:gd name="T3" fmla="*/ 0 h 152"/>
                <a:gd name="T4" fmla="*/ 0 w 216"/>
                <a:gd name="T5" fmla="*/ 0 h 152"/>
                <a:gd name="T6" fmla="*/ 153 w 216"/>
                <a:gd name="T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" h="152">
                  <a:moveTo>
                    <a:pt x="153" y="152"/>
                  </a:moveTo>
                  <a:cubicBezTo>
                    <a:pt x="192" y="113"/>
                    <a:pt x="216" y="60"/>
                    <a:pt x="21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53" y="152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61">
              <a:extLst>
                <a:ext uri="{FF2B5EF4-FFF2-40B4-BE49-F238E27FC236}">
                  <a16:creationId xmlns:a16="http://schemas.microsoft.com/office/drawing/2014/main" id="{C88AB9B5-53FF-49B4-B8B3-964CC26A45C6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6346" y="2087"/>
              <a:ext cx="96" cy="145"/>
            </a:xfrm>
            <a:custGeom>
              <a:avLst/>
              <a:gdLst>
                <a:gd name="T0" fmla="*/ 30 w 60"/>
                <a:gd name="T1" fmla="*/ 0 h 92"/>
                <a:gd name="T2" fmla="*/ 0 w 60"/>
                <a:gd name="T3" fmla="*/ 30 h 92"/>
                <a:gd name="T4" fmla="*/ 30 w 60"/>
                <a:gd name="T5" fmla="*/ 92 h 92"/>
                <a:gd name="T6" fmla="*/ 60 w 60"/>
                <a:gd name="T7" fmla="*/ 30 h 92"/>
                <a:gd name="T8" fmla="*/ 30 w 60"/>
                <a:gd name="T9" fmla="*/ 0 h 92"/>
                <a:gd name="T10" fmla="*/ 30 w 60"/>
                <a:gd name="T11" fmla="*/ 46 h 92"/>
                <a:gd name="T12" fmla="*/ 14 w 60"/>
                <a:gd name="T13" fmla="*/ 31 h 92"/>
                <a:gd name="T14" fmla="*/ 30 w 60"/>
                <a:gd name="T15" fmla="*/ 15 h 92"/>
                <a:gd name="T16" fmla="*/ 46 w 60"/>
                <a:gd name="T17" fmla="*/ 31 h 92"/>
                <a:gd name="T18" fmla="*/ 30 w 60"/>
                <a:gd name="T1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92">
                  <a:moveTo>
                    <a:pt x="30" y="0"/>
                  </a:moveTo>
                  <a:cubicBezTo>
                    <a:pt x="14" y="0"/>
                    <a:pt x="0" y="13"/>
                    <a:pt x="0" y="30"/>
                  </a:cubicBezTo>
                  <a:cubicBezTo>
                    <a:pt x="0" y="61"/>
                    <a:pt x="30" y="92"/>
                    <a:pt x="30" y="92"/>
                  </a:cubicBezTo>
                  <a:cubicBezTo>
                    <a:pt x="30" y="92"/>
                    <a:pt x="60" y="59"/>
                    <a:pt x="60" y="30"/>
                  </a:cubicBezTo>
                  <a:cubicBezTo>
                    <a:pt x="60" y="13"/>
                    <a:pt x="47" y="0"/>
                    <a:pt x="30" y="0"/>
                  </a:cubicBezTo>
                  <a:close/>
                  <a:moveTo>
                    <a:pt x="30" y="46"/>
                  </a:moveTo>
                  <a:cubicBezTo>
                    <a:pt x="21" y="46"/>
                    <a:pt x="14" y="39"/>
                    <a:pt x="14" y="31"/>
                  </a:cubicBezTo>
                  <a:cubicBezTo>
                    <a:pt x="14" y="22"/>
                    <a:pt x="21" y="15"/>
                    <a:pt x="30" y="15"/>
                  </a:cubicBezTo>
                  <a:cubicBezTo>
                    <a:pt x="39" y="15"/>
                    <a:pt x="46" y="22"/>
                    <a:pt x="46" y="31"/>
                  </a:cubicBezTo>
                  <a:cubicBezTo>
                    <a:pt x="46" y="39"/>
                    <a:pt x="39" y="46"/>
                    <a:pt x="30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62">
              <a:extLst>
                <a:ext uri="{FF2B5EF4-FFF2-40B4-BE49-F238E27FC236}">
                  <a16:creationId xmlns:a16="http://schemas.microsoft.com/office/drawing/2014/main" id="{265DB1DA-AAE3-4EE2-B639-F478A133C5A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6109" y="1849"/>
              <a:ext cx="95" cy="146"/>
            </a:xfrm>
            <a:custGeom>
              <a:avLst/>
              <a:gdLst>
                <a:gd name="T0" fmla="*/ 30 w 60"/>
                <a:gd name="T1" fmla="*/ 0 h 92"/>
                <a:gd name="T2" fmla="*/ 0 w 60"/>
                <a:gd name="T3" fmla="*/ 30 h 92"/>
                <a:gd name="T4" fmla="*/ 30 w 60"/>
                <a:gd name="T5" fmla="*/ 92 h 92"/>
                <a:gd name="T6" fmla="*/ 60 w 60"/>
                <a:gd name="T7" fmla="*/ 30 h 92"/>
                <a:gd name="T8" fmla="*/ 30 w 60"/>
                <a:gd name="T9" fmla="*/ 0 h 92"/>
                <a:gd name="T10" fmla="*/ 30 w 60"/>
                <a:gd name="T11" fmla="*/ 47 h 92"/>
                <a:gd name="T12" fmla="*/ 14 w 60"/>
                <a:gd name="T13" fmla="*/ 31 h 92"/>
                <a:gd name="T14" fmla="*/ 30 w 60"/>
                <a:gd name="T15" fmla="*/ 15 h 92"/>
                <a:gd name="T16" fmla="*/ 46 w 60"/>
                <a:gd name="T17" fmla="*/ 31 h 92"/>
                <a:gd name="T18" fmla="*/ 30 w 60"/>
                <a:gd name="T19" fmla="*/ 4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92">
                  <a:moveTo>
                    <a:pt x="30" y="0"/>
                  </a:moveTo>
                  <a:cubicBezTo>
                    <a:pt x="13" y="0"/>
                    <a:pt x="0" y="14"/>
                    <a:pt x="0" y="30"/>
                  </a:cubicBezTo>
                  <a:cubicBezTo>
                    <a:pt x="0" y="61"/>
                    <a:pt x="30" y="92"/>
                    <a:pt x="30" y="92"/>
                  </a:cubicBezTo>
                  <a:cubicBezTo>
                    <a:pt x="30" y="92"/>
                    <a:pt x="60" y="59"/>
                    <a:pt x="60" y="30"/>
                  </a:cubicBezTo>
                  <a:cubicBezTo>
                    <a:pt x="60" y="14"/>
                    <a:pt x="47" y="0"/>
                    <a:pt x="30" y="0"/>
                  </a:cubicBezTo>
                  <a:close/>
                  <a:moveTo>
                    <a:pt x="30" y="47"/>
                  </a:moveTo>
                  <a:cubicBezTo>
                    <a:pt x="21" y="47"/>
                    <a:pt x="14" y="40"/>
                    <a:pt x="14" y="31"/>
                  </a:cubicBezTo>
                  <a:cubicBezTo>
                    <a:pt x="14" y="22"/>
                    <a:pt x="21" y="15"/>
                    <a:pt x="30" y="15"/>
                  </a:cubicBezTo>
                  <a:cubicBezTo>
                    <a:pt x="39" y="15"/>
                    <a:pt x="46" y="22"/>
                    <a:pt x="46" y="31"/>
                  </a:cubicBezTo>
                  <a:cubicBezTo>
                    <a:pt x="46" y="40"/>
                    <a:pt x="39" y="47"/>
                    <a:pt x="30" y="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63">
              <a:extLst>
                <a:ext uri="{FF2B5EF4-FFF2-40B4-BE49-F238E27FC236}">
                  <a16:creationId xmlns:a16="http://schemas.microsoft.com/office/drawing/2014/main" id="{C30F3395-5F18-437C-81E1-C65B733B0BD7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5496" y="2300"/>
              <a:ext cx="95" cy="144"/>
            </a:xfrm>
            <a:custGeom>
              <a:avLst/>
              <a:gdLst>
                <a:gd name="T0" fmla="*/ 30 w 60"/>
                <a:gd name="T1" fmla="*/ 0 h 91"/>
                <a:gd name="T2" fmla="*/ 0 w 60"/>
                <a:gd name="T3" fmla="*/ 30 h 91"/>
                <a:gd name="T4" fmla="*/ 30 w 60"/>
                <a:gd name="T5" fmla="*/ 91 h 91"/>
                <a:gd name="T6" fmla="*/ 60 w 60"/>
                <a:gd name="T7" fmla="*/ 30 h 91"/>
                <a:gd name="T8" fmla="*/ 30 w 60"/>
                <a:gd name="T9" fmla="*/ 0 h 91"/>
                <a:gd name="T10" fmla="*/ 30 w 60"/>
                <a:gd name="T11" fmla="*/ 46 h 91"/>
                <a:gd name="T12" fmla="*/ 14 w 60"/>
                <a:gd name="T13" fmla="*/ 30 h 91"/>
                <a:gd name="T14" fmla="*/ 30 w 60"/>
                <a:gd name="T15" fmla="*/ 15 h 91"/>
                <a:gd name="T16" fmla="*/ 46 w 60"/>
                <a:gd name="T17" fmla="*/ 30 h 91"/>
                <a:gd name="T18" fmla="*/ 30 w 60"/>
                <a:gd name="T1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91">
                  <a:moveTo>
                    <a:pt x="30" y="0"/>
                  </a:moveTo>
                  <a:cubicBezTo>
                    <a:pt x="14" y="0"/>
                    <a:pt x="0" y="13"/>
                    <a:pt x="0" y="30"/>
                  </a:cubicBezTo>
                  <a:cubicBezTo>
                    <a:pt x="0" y="60"/>
                    <a:pt x="30" y="91"/>
                    <a:pt x="30" y="91"/>
                  </a:cubicBezTo>
                  <a:cubicBezTo>
                    <a:pt x="30" y="91"/>
                    <a:pt x="60" y="59"/>
                    <a:pt x="60" y="30"/>
                  </a:cubicBezTo>
                  <a:cubicBezTo>
                    <a:pt x="60" y="13"/>
                    <a:pt x="47" y="0"/>
                    <a:pt x="30" y="0"/>
                  </a:cubicBezTo>
                  <a:close/>
                  <a:moveTo>
                    <a:pt x="30" y="46"/>
                  </a:moveTo>
                  <a:cubicBezTo>
                    <a:pt x="21" y="46"/>
                    <a:pt x="14" y="39"/>
                    <a:pt x="14" y="30"/>
                  </a:cubicBezTo>
                  <a:cubicBezTo>
                    <a:pt x="14" y="22"/>
                    <a:pt x="21" y="15"/>
                    <a:pt x="30" y="15"/>
                  </a:cubicBezTo>
                  <a:cubicBezTo>
                    <a:pt x="39" y="15"/>
                    <a:pt x="46" y="22"/>
                    <a:pt x="46" y="30"/>
                  </a:cubicBezTo>
                  <a:cubicBezTo>
                    <a:pt x="46" y="39"/>
                    <a:pt x="39" y="46"/>
                    <a:pt x="30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64">
              <a:extLst>
                <a:ext uri="{FF2B5EF4-FFF2-40B4-BE49-F238E27FC236}">
                  <a16:creationId xmlns:a16="http://schemas.microsoft.com/office/drawing/2014/main" id="{8710AAC8-4F3D-4A8A-BD22-948B720B0F5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5492" y="1711"/>
              <a:ext cx="95" cy="145"/>
            </a:xfrm>
            <a:custGeom>
              <a:avLst/>
              <a:gdLst>
                <a:gd name="T0" fmla="*/ 30 w 60"/>
                <a:gd name="T1" fmla="*/ 0 h 91"/>
                <a:gd name="T2" fmla="*/ 0 w 60"/>
                <a:gd name="T3" fmla="*/ 30 h 91"/>
                <a:gd name="T4" fmla="*/ 30 w 60"/>
                <a:gd name="T5" fmla="*/ 91 h 91"/>
                <a:gd name="T6" fmla="*/ 60 w 60"/>
                <a:gd name="T7" fmla="*/ 30 h 91"/>
                <a:gd name="T8" fmla="*/ 30 w 60"/>
                <a:gd name="T9" fmla="*/ 0 h 91"/>
                <a:gd name="T10" fmla="*/ 30 w 60"/>
                <a:gd name="T11" fmla="*/ 46 h 91"/>
                <a:gd name="T12" fmla="*/ 14 w 60"/>
                <a:gd name="T13" fmla="*/ 30 h 91"/>
                <a:gd name="T14" fmla="*/ 30 w 60"/>
                <a:gd name="T15" fmla="*/ 15 h 91"/>
                <a:gd name="T16" fmla="*/ 45 w 60"/>
                <a:gd name="T17" fmla="*/ 30 h 91"/>
                <a:gd name="T18" fmla="*/ 30 w 60"/>
                <a:gd name="T19" fmla="*/ 4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91">
                  <a:moveTo>
                    <a:pt x="30" y="0"/>
                  </a:moveTo>
                  <a:cubicBezTo>
                    <a:pt x="13" y="0"/>
                    <a:pt x="0" y="13"/>
                    <a:pt x="0" y="30"/>
                  </a:cubicBezTo>
                  <a:cubicBezTo>
                    <a:pt x="0" y="60"/>
                    <a:pt x="30" y="91"/>
                    <a:pt x="30" y="91"/>
                  </a:cubicBezTo>
                  <a:cubicBezTo>
                    <a:pt x="30" y="91"/>
                    <a:pt x="60" y="59"/>
                    <a:pt x="60" y="30"/>
                  </a:cubicBezTo>
                  <a:cubicBezTo>
                    <a:pt x="60" y="13"/>
                    <a:pt x="46" y="0"/>
                    <a:pt x="30" y="0"/>
                  </a:cubicBezTo>
                  <a:close/>
                  <a:moveTo>
                    <a:pt x="30" y="46"/>
                  </a:moveTo>
                  <a:cubicBezTo>
                    <a:pt x="21" y="46"/>
                    <a:pt x="14" y="39"/>
                    <a:pt x="14" y="30"/>
                  </a:cubicBezTo>
                  <a:cubicBezTo>
                    <a:pt x="14" y="22"/>
                    <a:pt x="21" y="15"/>
                    <a:pt x="30" y="15"/>
                  </a:cubicBezTo>
                  <a:cubicBezTo>
                    <a:pt x="38" y="15"/>
                    <a:pt x="45" y="22"/>
                    <a:pt x="45" y="30"/>
                  </a:cubicBezTo>
                  <a:cubicBezTo>
                    <a:pt x="45" y="39"/>
                    <a:pt x="38" y="46"/>
                    <a:pt x="30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65">
              <a:extLst>
                <a:ext uri="{FF2B5EF4-FFF2-40B4-BE49-F238E27FC236}">
                  <a16:creationId xmlns:a16="http://schemas.microsoft.com/office/drawing/2014/main" id="{315B323F-AB15-46C7-9020-307D43EF56D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5298" y="1688"/>
              <a:ext cx="95" cy="145"/>
            </a:xfrm>
            <a:custGeom>
              <a:avLst/>
              <a:gdLst>
                <a:gd name="T0" fmla="*/ 30 w 60"/>
                <a:gd name="T1" fmla="*/ 0 h 92"/>
                <a:gd name="T2" fmla="*/ 0 w 60"/>
                <a:gd name="T3" fmla="*/ 30 h 92"/>
                <a:gd name="T4" fmla="*/ 30 w 60"/>
                <a:gd name="T5" fmla="*/ 92 h 92"/>
                <a:gd name="T6" fmla="*/ 60 w 60"/>
                <a:gd name="T7" fmla="*/ 30 h 92"/>
                <a:gd name="T8" fmla="*/ 30 w 60"/>
                <a:gd name="T9" fmla="*/ 0 h 92"/>
                <a:gd name="T10" fmla="*/ 30 w 60"/>
                <a:gd name="T11" fmla="*/ 46 h 92"/>
                <a:gd name="T12" fmla="*/ 14 w 60"/>
                <a:gd name="T13" fmla="*/ 31 h 92"/>
                <a:gd name="T14" fmla="*/ 30 w 60"/>
                <a:gd name="T15" fmla="*/ 15 h 92"/>
                <a:gd name="T16" fmla="*/ 45 w 60"/>
                <a:gd name="T17" fmla="*/ 31 h 92"/>
                <a:gd name="T18" fmla="*/ 30 w 60"/>
                <a:gd name="T1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92">
                  <a:moveTo>
                    <a:pt x="30" y="0"/>
                  </a:moveTo>
                  <a:cubicBezTo>
                    <a:pt x="13" y="0"/>
                    <a:pt x="0" y="13"/>
                    <a:pt x="0" y="30"/>
                  </a:cubicBezTo>
                  <a:cubicBezTo>
                    <a:pt x="0" y="60"/>
                    <a:pt x="30" y="92"/>
                    <a:pt x="30" y="92"/>
                  </a:cubicBezTo>
                  <a:cubicBezTo>
                    <a:pt x="30" y="92"/>
                    <a:pt x="60" y="59"/>
                    <a:pt x="60" y="30"/>
                  </a:cubicBezTo>
                  <a:cubicBezTo>
                    <a:pt x="60" y="13"/>
                    <a:pt x="46" y="0"/>
                    <a:pt x="30" y="0"/>
                  </a:cubicBezTo>
                  <a:close/>
                  <a:moveTo>
                    <a:pt x="30" y="46"/>
                  </a:moveTo>
                  <a:cubicBezTo>
                    <a:pt x="21" y="46"/>
                    <a:pt x="14" y="39"/>
                    <a:pt x="14" y="31"/>
                  </a:cubicBezTo>
                  <a:cubicBezTo>
                    <a:pt x="14" y="22"/>
                    <a:pt x="21" y="15"/>
                    <a:pt x="30" y="15"/>
                  </a:cubicBezTo>
                  <a:cubicBezTo>
                    <a:pt x="38" y="15"/>
                    <a:pt x="45" y="22"/>
                    <a:pt x="45" y="31"/>
                  </a:cubicBezTo>
                  <a:cubicBezTo>
                    <a:pt x="45" y="39"/>
                    <a:pt x="38" y="46"/>
                    <a:pt x="30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66">
              <a:extLst>
                <a:ext uri="{FF2B5EF4-FFF2-40B4-BE49-F238E27FC236}">
                  <a16:creationId xmlns:a16="http://schemas.microsoft.com/office/drawing/2014/main" id="{1E77E736-7699-4F11-9CB4-56B7532F80E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6950" y="1813"/>
              <a:ext cx="205" cy="198"/>
            </a:xfrm>
            <a:custGeom>
              <a:avLst/>
              <a:gdLst>
                <a:gd name="T0" fmla="*/ 28 w 129"/>
                <a:gd name="T1" fmla="*/ 62 h 125"/>
                <a:gd name="T2" fmla="*/ 7 w 129"/>
                <a:gd name="T3" fmla="*/ 54 h 125"/>
                <a:gd name="T4" fmla="*/ 0 w 129"/>
                <a:gd name="T5" fmla="*/ 32 h 125"/>
                <a:gd name="T6" fmla="*/ 8 w 129"/>
                <a:gd name="T7" fmla="*/ 8 h 125"/>
                <a:gd name="T8" fmla="*/ 29 w 129"/>
                <a:gd name="T9" fmla="*/ 0 h 125"/>
                <a:gd name="T10" fmla="*/ 50 w 129"/>
                <a:gd name="T11" fmla="*/ 8 h 125"/>
                <a:gd name="T12" fmla="*/ 57 w 129"/>
                <a:gd name="T13" fmla="*/ 30 h 125"/>
                <a:gd name="T14" fmla="*/ 49 w 129"/>
                <a:gd name="T15" fmla="*/ 54 h 125"/>
                <a:gd name="T16" fmla="*/ 28 w 129"/>
                <a:gd name="T17" fmla="*/ 62 h 125"/>
                <a:gd name="T18" fmla="*/ 29 w 129"/>
                <a:gd name="T19" fmla="*/ 12 h 125"/>
                <a:gd name="T20" fmla="*/ 18 w 129"/>
                <a:gd name="T21" fmla="*/ 17 h 125"/>
                <a:gd name="T22" fmla="*/ 14 w 129"/>
                <a:gd name="T23" fmla="*/ 32 h 125"/>
                <a:gd name="T24" fmla="*/ 18 w 129"/>
                <a:gd name="T25" fmla="*/ 46 h 125"/>
                <a:gd name="T26" fmla="*/ 29 w 129"/>
                <a:gd name="T27" fmla="*/ 51 h 125"/>
                <a:gd name="T28" fmla="*/ 39 w 129"/>
                <a:gd name="T29" fmla="*/ 46 h 125"/>
                <a:gd name="T30" fmla="*/ 43 w 129"/>
                <a:gd name="T31" fmla="*/ 31 h 125"/>
                <a:gd name="T32" fmla="*/ 39 w 129"/>
                <a:gd name="T33" fmla="*/ 17 h 125"/>
                <a:gd name="T34" fmla="*/ 29 w 129"/>
                <a:gd name="T35" fmla="*/ 12 h 125"/>
                <a:gd name="T36" fmla="*/ 110 w 129"/>
                <a:gd name="T37" fmla="*/ 2 h 125"/>
                <a:gd name="T38" fmla="*/ 32 w 129"/>
                <a:gd name="T39" fmla="*/ 124 h 125"/>
                <a:gd name="T40" fmla="*/ 20 w 129"/>
                <a:gd name="T41" fmla="*/ 124 h 125"/>
                <a:gd name="T42" fmla="*/ 98 w 129"/>
                <a:gd name="T43" fmla="*/ 2 h 125"/>
                <a:gd name="T44" fmla="*/ 110 w 129"/>
                <a:gd name="T45" fmla="*/ 2 h 125"/>
                <a:gd name="T46" fmla="*/ 99 w 129"/>
                <a:gd name="T47" fmla="*/ 125 h 125"/>
                <a:gd name="T48" fmla="*/ 78 w 129"/>
                <a:gd name="T49" fmla="*/ 116 h 125"/>
                <a:gd name="T50" fmla="*/ 71 w 129"/>
                <a:gd name="T51" fmla="*/ 94 h 125"/>
                <a:gd name="T52" fmla="*/ 79 w 129"/>
                <a:gd name="T53" fmla="*/ 71 h 125"/>
                <a:gd name="T54" fmla="*/ 101 w 129"/>
                <a:gd name="T55" fmla="*/ 62 h 125"/>
                <a:gd name="T56" fmla="*/ 121 w 129"/>
                <a:gd name="T57" fmla="*/ 70 h 125"/>
                <a:gd name="T58" fmla="*/ 129 w 129"/>
                <a:gd name="T59" fmla="*/ 93 h 125"/>
                <a:gd name="T60" fmla="*/ 120 w 129"/>
                <a:gd name="T61" fmla="*/ 116 h 125"/>
                <a:gd name="T62" fmla="*/ 99 w 129"/>
                <a:gd name="T63" fmla="*/ 125 h 125"/>
                <a:gd name="T64" fmla="*/ 100 w 129"/>
                <a:gd name="T65" fmla="*/ 74 h 125"/>
                <a:gd name="T66" fmla="*/ 89 w 129"/>
                <a:gd name="T67" fmla="*/ 79 h 125"/>
                <a:gd name="T68" fmla="*/ 85 w 129"/>
                <a:gd name="T69" fmla="*/ 94 h 125"/>
                <a:gd name="T70" fmla="*/ 89 w 129"/>
                <a:gd name="T71" fmla="*/ 108 h 125"/>
                <a:gd name="T72" fmla="*/ 100 w 129"/>
                <a:gd name="T73" fmla="*/ 113 h 125"/>
                <a:gd name="T74" fmla="*/ 110 w 129"/>
                <a:gd name="T75" fmla="*/ 108 h 125"/>
                <a:gd name="T76" fmla="*/ 114 w 129"/>
                <a:gd name="T77" fmla="*/ 93 h 125"/>
                <a:gd name="T78" fmla="*/ 111 w 129"/>
                <a:gd name="T79" fmla="*/ 79 h 125"/>
                <a:gd name="T80" fmla="*/ 100 w 129"/>
                <a:gd name="T81" fmla="*/ 7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9" h="125">
                  <a:moveTo>
                    <a:pt x="28" y="62"/>
                  </a:moveTo>
                  <a:cubicBezTo>
                    <a:pt x="19" y="62"/>
                    <a:pt x="12" y="60"/>
                    <a:pt x="7" y="54"/>
                  </a:cubicBezTo>
                  <a:cubicBezTo>
                    <a:pt x="2" y="49"/>
                    <a:pt x="0" y="41"/>
                    <a:pt x="0" y="32"/>
                  </a:cubicBezTo>
                  <a:cubicBezTo>
                    <a:pt x="0" y="22"/>
                    <a:pt x="2" y="14"/>
                    <a:pt x="8" y="8"/>
                  </a:cubicBezTo>
                  <a:cubicBezTo>
                    <a:pt x="13" y="3"/>
                    <a:pt x="20" y="0"/>
                    <a:pt x="29" y="0"/>
                  </a:cubicBezTo>
                  <a:cubicBezTo>
                    <a:pt x="38" y="0"/>
                    <a:pt x="45" y="2"/>
                    <a:pt x="50" y="8"/>
                  </a:cubicBezTo>
                  <a:cubicBezTo>
                    <a:pt x="55" y="13"/>
                    <a:pt x="57" y="21"/>
                    <a:pt x="57" y="30"/>
                  </a:cubicBezTo>
                  <a:cubicBezTo>
                    <a:pt x="57" y="40"/>
                    <a:pt x="55" y="48"/>
                    <a:pt x="49" y="54"/>
                  </a:cubicBezTo>
                  <a:cubicBezTo>
                    <a:pt x="44" y="59"/>
                    <a:pt x="36" y="62"/>
                    <a:pt x="28" y="62"/>
                  </a:cubicBezTo>
                  <a:close/>
                  <a:moveTo>
                    <a:pt x="29" y="12"/>
                  </a:moveTo>
                  <a:cubicBezTo>
                    <a:pt x="24" y="12"/>
                    <a:pt x="21" y="13"/>
                    <a:pt x="18" y="17"/>
                  </a:cubicBezTo>
                  <a:cubicBezTo>
                    <a:pt x="15" y="20"/>
                    <a:pt x="14" y="25"/>
                    <a:pt x="14" y="32"/>
                  </a:cubicBezTo>
                  <a:cubicBezTo>
                    <a:pt x="14" y="38"/>
                    <a:pt x="15" y="42"/>
                    <a:pt x="18" y="46"/>
                  </a:cubicBezTo>
                  <a:cubicBezTo>
                    <a:pt x="20" y="49"/>
                    <a:pt x="24" y="51"/>
                    <a:pt x="29" y="51"/>
                  </a:cubicBezTo>
                  <a:cubicBezTo>
                    <a:pt x="33" y="51"/>
                    <a:pt x="37" y="49"/>
                    <a:pt x="39" y="46"/>
                  </a:cubicBezTo>
                  <a:cubicBezTo>
                    <a:pt x="42" y="42"/>
                    <a:pt x="43" y="37"/>
                    <a:pt x="43" y="31"/>
                  </a:cubicBezTo>
                  <a:cubicBezTo>
                    <a:pt x="43" y="25"/>
                    <a:pt x="42" y="20"/>
                    <a:pt x="39" y="17"/>
                  </a:cubicBezTo>
                  <a:cubicBezTo>
                    <a:pt x="37" y="13"/>
                    <a:pt x="33" y="12"/>
                    <a:pt x="29" y="12"/>
                  </a:cubicBezTo>
                  <a:close/>
                  <a:moveTo>
                    <a:pt x="110" y="2"/>
                  </a:moveTo>
                  <a:cubicBezTo>
                    <a:pt x="32" y="124"/>
                    <a:pt x="32" y="124"/>
                    <a:pt x="32" y="124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98" y="2"/>
                    <a:pt x="98" y="2"/>
                    <a:pt x="98" y="2"/>
                  </a:cubicBezTo>
                  <a:lnTo>
                    <a:pt x="110" y="2"/>
                  </a:lnTo>
                  <a:close/>
                  <a:moveTo>
                    <a:pt x="99" y="125"/>
                  </a:moveTo>
                  <a:cubicBezTo>
                    <a:pt x="90" y="125"/>
                    <a:pt x="83" y="122"/>
                    <a:pt x="78" y="116"/>
                  </a:cubicBezTo>
                  <a:cubicBezTo>
                    <a:pt x="73" y="111"/>
                    <a:pt x="71" y="104"/>
                    <a:pt x="71" y="94"/>
                  </a:cubicBezTo>
                  <a:cubicBezTo>
                    <a:pt x="71" y="84"/>
                    <a:pt x="73" y="76"/>
                    <a:pt x="79" y="71"/>
                  </a:cubicBezTo>
                  <a:cubicBezTo>
                    <a:pt x="84" y="65"/>
                    <a:pt x="91" y="62"/>
                    <a:pt x="101" y="62"/>
                  </a:cubicBezTo>
                  <a:cubicBezTo>
                    <a:pt x="109" y="62"/>
                    <a:pt x="116" y="65"/>
                    <a:pt x="121" y="70"/>
                  </a:cubicBezTo>
                  <a:cubicBezTo>
                    <a:pt x="126" y="75"/>
                    <a:pt x="129" y="83"/>
                    <a:pt x="129" y="93"/>
                  </a:cubicBezTo>
                  <a:cubicBezTo>
                    <a:pt x="129" y="102"/>
                    <a:pt x="126" y="110"/>
                    <a:pt x="120" y="116"/>
                  </a:cubicBezTo>
                  <a:cubicBezTo>
                    <a:pt x="115" y="122"/>
                    <a:pt x="108" y="125"/>
                    <a:pt x="99" y="125"/>
                  </a:cubicBezTo>
                  <a:close/>
                  <a:moveTo>
                    <a:pt x="100" y="74"/>
                  </a:moveTo>
                  <a:cubicBezTo>
                    <a:pt x="95" y="74"/>
                    <a:pt x="92" y="76"/>
                    <a:pt x="89" y="79"/>
                  </a:cubicBezTo>
                  <a:cubicBezTo>
                    <a:pt x="86" y="83"/>
                    <a:pt x="85" y="88"/>
                    <a:pt x="85" y="94"/>
                  </a:cubicBezTo>
                  <a:cubicBezTo>
                    <a:pt x="85" y="100"/>
                    <a:pt x="86" y="105"/>
                    <a:pt x="89" y="108"/>
                  </a:cubicBezTo>
                  <a:cubicBezTo>
                    <a:pt x="92" y="111"/>
                    <a:pt x="95" y="113"/>
                    <a:pt x="100" y="113"/>
                  </a:cubicBezTo>
                  <a:cubicBezTo>
                    <a:pt x="104" y="113"/>
                    <a:pt x="108" y="111"/>
                    <a:pt x="110" y="108"/>
                  </a:cubicBezTo>
                  <a:cubicBezTo>
                    <a:pt x="113" y="104"/>
                    <a:pt x="114" y="99"/>
                    <a:pt x="114" y="93"/>
                  </a:cubicBezTo>
                  <a:cubicBezTo>
                    <a:pt x="114" y="87"/>
                    <a:pt x="113" y="82"/>
                    <a:pt x="111" y="79"/>
                  </a:cubicBezTo>
                  <a:cubicBezTo>
                    <a:pt x="108" y="75"/>
                    <a:pt x="104" y="74"/>
                    <a:pt x="100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67">
              <a:extLst>
                <a:ext uri="{FF2B5EF4-FFF2-40B4-BE49-F238E27FC236}">
                  <a16:creationId xmlns:a16="http://schemas.microsoft.com/office/drawing/2014/main" id="{7025C37A-5DDE-4928-8BF7-E5A7AD21A9A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49" y="2112"/>
              <a:ext cx="242" cy="291"/>
            </a:xfrm>
            <a:custGeom>
              <a:avLst/>
              <a:gdLst>
                <a:gd name="T0" fmla="*/ 153 w 153"/>
                <a:gd name="T1" fmla="*/ 152 h 184"/>
                <a:gd name="T2" fmla="*/ 0 w 153"/>
                <a:gd name="T3" fmla="*/ 0 h 184"/>
                <a:gd name="T4" fmla="*/ 113 w 153"/>
                <a:gd name="T5" fmla="*/ 184 h 184"/>
                <a:gd name="T6" fmla="*/ 153 w 153"/>
                <a:gd name="T7" fmla="*/ 152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3" h="184">
                  <a:moveTo>
                    <a:pt x="153" y="15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3" y="184"/>
                    <a:pt x="113" y="184"/>
                    <a:pt x="113" y="184"/>
                  </a:cubicBezTo>
                  <a:cubicBezTo>
                    <a:pt x="127" y="175"/>
                    <a:pt x="141" y="164"/>
                    <a:pt x="153" y="152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8656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etitive_Context_Title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4">
            <a:extLst>
              <a:ext uri="{FF2B5EF4-FFF2-40B4-BE49-F238E27FC236}">
                <a16:creationId xmlns:a16="http://schemas.microsoft.com/office/drawing/2014/main" id="{EE45C0E1-03B3-4167-99F0-DBD05D6DFDE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6570662" y="2681288"/>
            <a:ext cx="5057774" cy="3586163"/>
            <a:chOff x="4139" y="1689"/>
            <a:chExt cx="3186" cy="2259"/>
          </a:xfrm>
        </p:grpSpPr>
        <p:sp>
          <p:nvSpPr>
            <p:cNvPr id="69" name="Freeform 5">
              <a:extLst>
                <a:ext uri="{FF2B5EF4-FFF2-40B4-BE49-F238E27FC236}">
                  <a16:creationId xmlns:a16="http://schemas.microsoft.com/office/drawing/2014/main" id="{01684558-4CCC-4629-A5ED-A0E2B39CA8A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6" y="3590"/>
              <a:ext cx="72" cy="34"/>
            </a:xfrm>
            <a:custGeom>
              <a:avLst/>
              <a:gdLst>
                <a:gd name="T0" fmla="*/ 72 w 72"/>
                <a:gd name="T1" fmla="*/ 0 h 34"/>
                <a:gd name="T2" fmla="*/ 0 w 72"/>
                <a:gd name="T3" fmla="*/ 0 h 34"/>
                <a:gd name="T4" fmla="*/ 0 w 72"/>
                <a:gd name="T5" fmla="*/ 34 h 34"/>
                <a:gd name="T6" fmla="*/ 72 w 72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34">
                  <a:moveTo>
                    <a:pt x="72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FDA8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B71F4E06-9338-40B7-AD01-B1FCC4497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6" y="3590"/>
              <a:ext cx="226" cy="141"/>
            </a:xfrm>
            <a:custGeom>
              <a:avLst/>
              <a:gdLst>
                <a:gd name="T0" fmla="*/ 0 w 164"/>
                <a:gd name="T1" fmla="*/ 25 h 103"/>
                <a:gd name="T2" fmla="*/ 0 w 164"/>
                <a:gd name="T3" fmla="*/ 76 h 103"/>
                <a:gd name="T4" fmla="*/ 159 w 164"/>
                <a:gd name="T5" fmla="*/ 38 h 103"/>
                <a:gd name="T6" fmla="*/ 151 w 164"/>
                <a:gd name="T7" fmla="*/ 22 h 103"/>
                <a:gd name="T8" fmla="*/ 67 w 164"/>
                <a:gd name="T9" fmla="*/ 22 h 103"/>
                <a:gd name="T10" fmla="*/ 52 w 164"/>
                <a:gd name="T11" fmla="*/ 0 h 103"/>
                <a:gd name="T12" fmla="*/ 0 w 164"/>
                <a:gd name="T13" fmla="*/ 2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03">
                  <a:moveTo>
                    <a:pt x="0" y="25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6"/>
                    <a:pt x="110" y="103"/>
                    <a:pt x="159" y="38"/>
                  </a:cubicBezTo>
                  <a:cubicBezTo>
                    <a:pt x="164" y="32"/>
                    <a:pt x="159" y="22"/>
                    <a:pt x="151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7D55B222-490E-43B8-8FC4-28DADE96D27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" y="3901"/>
              <a:ext cx="2074" cy="47"/>
            </a:xfrm>
            <a:custGeom>
              <a:avLst/>
              <a:gdLst>
                <a:gd name="T0" fmla="*/ 17 w 1507"/>
                <a:gd name="T1" fmla="*/ 0 h 34"/>
                <a:gd name="T2" fmla="*/ 1491 w 1507"/>
                <a:gd name="T3" fmla="*/ 0 h 34"/>
                <a:gd name="T4" fmla="*/ 1507 w 1507"/>
                <a:gd name="T5" fmla="*/ 17 h 34"/>
                <a:gd name="T6" fmla="*/ 1507 w 1507"/>
                <a:gd name="T7" fmla="*/ 17 h 34"/>
                <a:gd name="T8" fmla="*/ 1491 w 1507"/>
                <a:gd name="T9" fmla="*/ 34 h 34"/>
                <a:gd name="T10" fmla="*/ 17 w 1507"/>
                <a:gd name="T11" fmla="*/ 34 h 34"/>
                <a:gd name="T12" fmla="*/ 0 w 1507"/>
                <a:gd name="T13" fmla="*/ 17 h 34"/>
                <a:gd name="T14" fmla="*/ 0 w 1507"/>
                <a:gd name="T15" fmla="*/ 17 h 34"/>
                <a:gd name="T16" fmla="*/ 17 w 1507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7" h="34">
                  <a:moveTo>
                    <a:pt x="17" y="0"/>
                  </a:moveTo>
                  <a:cubicBezTo>
                    <a:pt x="1491" y="0"/>
                    <a:pt x="1491" y="0"/>
                    <a:pt x="1491" y="0"/>
                  </a:cubicBezTo>
                  <a:cubicBezTo>
                    <a:pt x="1500" y="0"/>
                    <a:pt x="1507" y="8"/>
                    <a:pt x="1507" y="17"/>
                  </a:cubicBezTo>
                  <a:cubicBezTo>
                    <a:pt x="1507" y="17"/>
                    <a:pt x="1507" y="17"/>
                    <a:pt x="1507" y="17"/>
                  </a:cubicBezTo>
                  <a:cubicBezTo>
                    <a:pt x="1507" y="26"/>
                    <a:pt x="1500" y="34"/>
                    <a:pt x="1491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A67A809C-47E9-40B7-84A0-49CE4DAF14D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" y="3375"/>
              <a:ext cx="571" cy="571"/>
            </a:xfrm>
            <a:custGeom>
              <a:avLst/>
              <a:gdLst>
                <a:gd name="T0" fmla="*/ 325 w 415"/>
                <a:gd name="T1" fmla="*/ 0 h 415"/>
                <a:gd name="T2" fmla="*/ 163 w 415"/>
                <a:gd name="T3" fmla="*/ 163 h 415"/>
                <a:gd name="T4" fmla="*/ 170 w 415"/>
                <a:gd name="T5" fmla="*/ 164 h 415"/>
                <a:gd name="T6" fmla="*/ 151 w 415"/>
                <a:gd name="T7" fmla="*/ 381 h 415"/>
                <a:gd name="T8" fmla="*/ 138 w 415"/>
                <a:gd name="T9" fmla="*/ 380 h 415"/>
                <a:gd name="T10" fmla="*/ 153 w 415"/>
                <a:gd name="T11" fmla="*/ 193 h 415"/>
                <a:gd name="T12" fmla="*/ 58 w 415"/>
                <a:gd name="T13" fmla="*/ 358 h 415"/>
                <a:gd name="T14" fmla="*/ 46 w 415"/>
                <a:gd name="T15" fmla="*/ 351 h 415"/>
                <a:gd name="T16" fmla="*/ 144 w 415"/>
                <a:gd name="T17" fmla="*/ 182 h 415"/>
                <a:gd name="T18" fmla="*/ 0 w 415"/>
                <a:gd name="T19" fmla="*/ 326 h 415"/>
                <a:gd name="T20" fmla="*/ 325 w 415"/>
                <a:gd name="T21" fmla="*/ 326 h 415"/>
                <a:gd name="T22" fmla="*/ 325 w 415"/>
                <a:gd name="T23" fmla="*/ 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5" h="415">
                  <a:moveTo>
                    <a:pt x="325" y="0"/>
                  </a:moveTo>
                  <a:cubicBezTo>
                    <a:pt x="163" y="163"/>
                    <a:pt x="163" y="163"/>
                    <a:pt x="163" y="163"/>
                  </a:cubicBezTo>
                  <a:cubicBezTo>
                    <a:pt x="170" y="164"/>
                    <a:pt x="170" y="164"/>
                    <a:pt x="170" y="164"/>
                  </a:cubicBezTo>
                  <a:cubicBezTo>
                    <a:pt x="151" y="381"/>
                    <a:pt x="151" y="381"/>
                    <a:pt x="151" y="381"/>
                  </a:cubicBezTo>
                  <a:cubicBezTo>
                    <a:pt x="138" y="380"/>
                    <a:pt x="138" y="380"/>
                    <a:pt x="138" y="380"/>
                  </a:cubicBezTo>
                  <a:cubicBezTo>
                    <a:pt x="153" y="193"/>
                    <a:pt x="153" y="193"/>
                    <a:pt x="153" y="193"/>
                  </a:cubicBezTo>
                  <a:cubicBezTo>
                    <a:pt x="58" y="358"/>
                    <a:pt x="58" y="358"/>
                    <a:pt x="58" y="358"/>
                  </a:cubicBezTo>
                  <a:cubicBezTo>
                    <a:pt x="46" y="351"/>
                    <a:pt x="46" y="351"/>
                    <a:pt x="46" y="351"/>
                  </a:cubicBezTo>
                  <a:cubicBezTo>
                    <a:pt x="144" y="182"/>
                    <a:pt x="144" y="182"/>
                    <a:pt x="144" y="18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90" y="415"/>
                    <a:pt x="236" y="415"/>
                    <a:pt x="325" y="326"/>
                  </a:cubicBezTo>
                  <a:cubicBezTo>
                    <a:pt x="415" y="236"/>
                    <a:pt x="415" y="90"/>
                    <a:pt x="325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3120B7F0-58AB-4AA2-87C5-54141044A721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3" y="3254"/>
              <a:ext cx="929" cy="690"/>
            </a:xfrm>
            <a:custGeom>
              <a:avLst/>
              <a:gdLst>
                <a:gd name="T0" fmla="*/ 425 w 675"/>
                <a:gd name="T1" fmla="*/ 0 h 501"/>
                <a:gd name="T2" fmla="*/ 174 w 675"/>
                <a:gd name="T3" fmla="*/ 242 h 501"/>
                <a:gd name="T4" fmla="*/ 90 w 675"/>
                <a:gd name="T5" fmla="*/ 242 h 501"/>
                <a:gd name="T6" fmla="*/ 81 w 675"/>
                <a:gd name="T7" fmla="*/ 251 h 501"/>
                <a:gd name="T8" fmla="*/ 90 w 675"/>
                <a:gd name="T9" fmla="*/ 260 h 501"/>
                <a:gd name="T10" fmla="*/ 174 w 675"/>
                <a:gd name="T11" fmla="*/ 260 h 501"/>
                <a:gd name="T12" fmla="*/ 180 w 675"/>
                <a:gd name="T13" fmla="*/ 306 h 501"/>
                <a:gd name="T14" fmla="*/ 9 w 675"/>
                <a:gd name="T15" fmla="*/ 306 h 501"/>
                <a:gd name="T16" fmla="*/ 0 w 675"/>
                <a:gd name="T17" fmla="*/ 315 h 501"/>
                <a:gd name="T18" fmla="*/ 9 w 675"/>
                <a:gd name="T19" fmla="*/ 324 h 501"/>
                <a:gd name="T20" fmla="*/ 185 w 675"/>
                <a:gd name="T21" fmla="*/ 324 h 501"/>
                <a:gd name="T22" fmla="*/ 209 w 675"/>
                <a:gd name="T23" fmla="*/ 324 h 501"/>
                <a:gd name="T24" fmla="*/ 229 w 675"/>
                <a:gd name="T25" fmla="*/ 324 h 501"/>
                <a:gd name="T26" fmla="*/ 215 w 675"/>
                <a:gd name="T27" fmla="*/ 251 h 501"/>
                <a:gd name="T28" fmla="*/ 425 w 675"/>
                <a:gd name="T29" fmla="*/ 41 h 501"/>
                <a:gd name="T30" fmla="*/ 634 w 675"/>
                <a:gd name="T31" fmla="*/ 251 h 501"/>
                <a:gd name="T32" fmla="*/ 425 w 675"/>
                <a:gd name="T33" fmla="*/ 460 h 501"/>
                <a:gd name="T34" fmla="*/ 246 w 675"/>
                <a:gd name="T35" fmla="*/ 361 h 501"/>
                <a:gd name="T36" fmla="*/ 304 w 675"/>
                <a:gd name="T37" fmla="*/ 361 h 501"/>
                <a:gd name="T38" fmla="*/ 314 w 675"/>
                <a:gd name="T39" fmla="*/ 352 h 501"/>
                <a:gd name="T40" fmla="*/ 304 w 675"/>
                <a:gd name="T41" fmla="*/ 342 h 501"/>
                <a:gd name="T42" fmla="*/ 236 w 675"/>
                <a:gd name="T43" fmla="*/ 342 h 501"/>
                <a:gd name="T44" fmla="*/ 209 w 675"/>
                <a:gd name="T45" fmla="*/ 342 h 501"/>
                <a:gd name="T46" fmla="*/ 192 w 675"/>
                <a:gd name="T47" fmla="*/ 342 h 501"/>
                <a:gd name="T48" fmla="*/ 425 w 675"/>
                <a:gd name="T49" fmla="*/ 501 h 501"/>
                <a:gd name="T50" fmla="*/ 675 w 675"/>
                <a:gd name="T51" fmla="*/ 251 h 501"/>
                <a:gd name="T52" fmla="*/ 425 w 675"/>
                <a:gd name="T53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75" h="501">
                  <a:moveTo>
                    <a:pt x="425" y="0"/>
                  </a:moveTo>
                  <a:cubicBezTo>
                    <a:pt x="290" y="0"/>
                    <a:pt x="179" y="108"/>
                    <a:pt x="174" y="242"/>
                  </a:cubicBezTo>
                  <a:cubicBezTo>
                    <a:pt x="90" y="242"/>
                    <a:pt x="90" y="242"/>
                    <a:pt x="90" y="242"/>
                  </a:cubicBezTo>
                  <a:cubicBezTo>
                    <a:pt x="85" y="242"/>
                    <a:pt x="81" y="246"/>
                    <a:pt x="81" y="251"/>
                  </a:cubicBezTo>
                  <a:cubicBezTo>
                    <a:pt x="81" y="256"/>
                    <a:pt x="85" y="260"/>
                    <a:pt x="90" y="260"/>
                  </a:cubicBezTo>
                  <a:cubicBezTo>
                    <a:pt x="174" y="260"/>
                    <a:pt x="174" y="260"/>
                    <a:pt x="174" y="260"/>
                  </a:cubicBezTo>
                  <a:cubicBezTo>
                    <a:pt x="175" y="276"/>
                    <a:pt x="177" y="291"/>
                    <a:pt x="180" y="306"/>
                  </a:cubicBezTo>
                  <a:cubicBezTo>
                    <a:pt x="9" y="306"/>
                    <a:pt x="9" y="306"/>
                    <a:pt x="9" y="306"/>
                  </a:cubicBezTo>
                  <a:cubicBezTo>
                    <a:pt x="4" y="306"/>
                    <a:pt x="0" y="310"/>
                    <a:pt x="0" y="315"/>
                  </a:cubicBezTo>
                  <a:cubicBezTo>
                    <a:pt x="0" y="320"/>
                    <a:pt x="4" y="324"/>
                    <a:pt x="9" y="324"/>
                  </a:cubicBezTo>
                  <a:cubicBezTo>
                    <a:pt x="185" y="324"/>
                    <a:pt x="185" y="324"/>
                    <a:pt x="185" y="324"/>
                  </a:cubicBezTo>
                  <a:cubicBezTo>
                    <a:pt x="209" y="324"/>
                    <a:pt x="209" y="324"/>
                    <a:pt x="209" y="324"/>
                  </a:cubicBezTo>
                  <a:cubicBezTo>
                    <a:pt x="229" y="324"/>
                    <a:pt x="229" y="324"/>
                    <a:pt x="229" y="324"/>
                  </a:cubicBezTo>
                  <a:cubicBezTo>
                    <a:pt x="220" y="301"/>
                    <a:pt x="215" y="277"/>
                    <a:pt x="215" y="251"/>
                  </a:cubicBezTo>
                  <a:cubicBezTo>
                    <a:pt x="215" y="135"/>
                    <a:pt x="309" y="41"/>
                    <a:pt x="425" y="41"/>
                  </a:cubicBezTo>
                  <a:cubicBezTo>
                    <a:pt x="540" y="41"/>
                    <a:pt x="634" y="135"/>
                    <a:pt x="634" y="251"/>
                  </a:cubicBezTo>
                  <a:cubicBezTo>
                    <a:pt x="634" y="366"/>
                    <a:pt x="540" y="460"/>
                    <a:pt x="425" y="460"/>
                  </a:cubicBezTo>
                  <a:cubicBezTo>
                    <a:pt x="349" y="460"/>
                    <a:pt x="283" y="420"/>
                    <a:pt x="246" y="361"/>
                  </a:cubicBezTo>
                  <a:cubicBezTo>
                    <a:pt x="304" y="361"/>
                    <a:pt x="304" y="361"/>
                    <a:pt x="304" y="361"/>
                  </a:cubicBezTo>
                  <a:cubicBezTo>
                    <a:pt x="310" y="361"/>
                    <a:pt x="314" y="357"/>
                    <a:pt x="314" y="352"/>
                  </a:cubicBezTo>
                  <a:cubicBezTo>
                    <a:pt x="314" y="346"/>
                    <a:pt x="310" y="342"/>
                    <a:pt x="304" y="342"/>
                  </a:cubicBezTo>
                  <a:cubicBezTo>
                    <a:pt x="236" y="342"/>
                    <a:pt x="236" y="342"/>
                    <a:pt x="236" y="342"/>
                  </a:cubicBezTo>
                  <a:cubicBezTo>
                    <a:pt x="209" y="342"/>
                    <a:pt x="209" y="342"/>
                    <a:pt x="209" y="342"/>
                  </a:cubicBezTo>
                  <a:cubicBezTo>
                    <a:pt x="192" y="342"/>
                    <a:pt x="192" y="342"/>
                    <a:pt x="192" y="342"/>
                  </a:cubicBezTo>
                  <a:cubicBezTo>
                    <a:pt x="228" y="435"/>
                    <a:pt x="319" y="501"/>
                    <a:pt x="425" y="501"/>
                  </a:cubicBezTo>
                  <a:cubicBezTo>
                    <a:pt x="563" y="501"/>
                    <a:pt x="675" y="389"/>
                    <a:pt x="675" y="251"/>
                  </a:cubicBezTo>
                  <a:cubicBezTo>
                    <a:pt x="675" y="113"/>
                    <a:pt x="563" y="0"/>
                    <a:pt x="425" y="0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C4E78B28-927C-4171-BA5C-A7B503A2A48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4" y="3219"/>
              <a:ext cx="658" cy="252"/>
            </a:xfrm>
            <a:custGeom>
              <a:avLst/>
              <a:gdLst>
                <a:gd name="T0" fmla="*/ 478 w 478"/>
                <a:gd name="T1" fmla="*/ 176 h 183"/>
                <a:gd name="T2" fmla="*/ 430 w 478"/>
                <a:gd name="T3" fmla="*/ 159 h 183"/>
                <a:gd name="T4" fmla="*/ 221 w 478"/>
                <a:gd name="T5" fmla="*/ 37 h 183"/>
                <a:gd name="T6" fmla="*/ 51 w 478"/>
                <a:gd name="T7" fmla="*/ 107 h 183"/>
                <a:gd name="T8" fmla="*/ 0 w 478"/>
                <a:gd name="T9" fmla="*/ 111 h 183"/>
                <a:gd name="T10" fmla="*/ 0 w 478"/>
                <a:gd name="T11" fmla="*/ 111 h 183"/>
                <a:gd name="T12" fmla="*/ 221 w 478"/>
                <a:gd name="T13" fmla="*/ 0 h 183"/>
                <a:gd name="T14" fmla="*/ 478 w 478"/>
                <a:gd name="T15" fmla="*/ 176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8" h="183">
                  <a:moveTo>
                    <a:pt x="478" y="176"/>
                  </a:moveTo>
                  <a:cubicBezTo>
                    <a:pt x="460" y="183"/>
                    <a:pt x="439" y="176"/>
                    <a:pt x="430" y="159"/>
                  </a:cubicBezTo>
                  <a:cubicBezTo>
                    <a:pt x="388" y="84"/>
                    <a:pt x="309" y="37"/>
                    <a:pt x="221" y="37"/>
                  </a:cubicBezTo>
                  <a:cubicBezTo>
                    <a:pt x="156" y="37"/>
                    <a:pt x="95" y="62"/>
                    <a:pt x="51" y="107"/>
                  </a:cubicBezTo>
                  <a:cubicBezTo>
                    <a:pt x="37" y="121"/>
                    <a:pt x="15" y="123"/>
                    <a:pt x="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2" y="41"/>
                    <a:pt x="133" y="0"/>
                    <a:pt x="221" y="0"/>
                  </a:cubicBezTo>
                  <a:cubicBezTo>
                    <a:pt x="335" y="0"/>
                    <a:pt x="436" y="69"/>
                    <a:pt x="478" y="176"/>
                  </a:cubicBez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16AFF65D-599F-4ABB-87EB-99816C128359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1" y="2968"/>
              <a:ext cx="391" cy="141"/>
            </a:xfrm>
            <a:custGeom>
              <a:avLst/>
              <a:gdLst>
                <a:gd name="T0" fmla="*/ 24 w 284"/>
                <a:gd name="T1" fmla="*/ 0 h 102"/>
                <a:gd name="T2" fmla="*/ 0 w 284"/>
                <a:gd name="T3" fmla="*/ 0 h 102"/>
                <a:gd name="T4" fmla="*/ 0 w 284"/>
                <a:gd name="T5" fmla="*/ 102 h 102"/>
                <a:gd name="T6" fmla="*/ 24 w 284"/>
                <a:gd name="T7" fmla="*/ 102 h 102"/>
                <a:gd name="T8" fmla="*/ 24 w 284"/>
                <a:gd name="T9" fmla="*/ 0 h 102"/>
                <a:gd name="T10" fmla="*/ 77 w 284"/>
                <a:gd name="T11" fmla="*/ 53 h 102"/>
                <a:gd name="T12" fmla="*/ 284 w 284"/>
                <a:gd name="T13" fmla="*/ 53 h 102"/>
                <a:gd name="T14" fmla="*/ 284 w 284"/>
                <a:gd name="T15" fmla="*/ 0 h 102"/>
                <a:gd name="T16" fmla="*/ 24 w 284"/>
                <a:gd name="T1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02">
                  <a:moveTo>
                    <a:pt x="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30"/>
                    <a:pt x="48" y="53"/>
                    <a:pt x="77" y="53"/>
                  </a:cubicBezTo>
                  <a:cubicBezTo>
                    <a:pt x="284" y="53"/>
                    <a:pt x="284" y="53"/>
                    <a:pt x="284" y="53"/>
                  </a:cubicBezTo>
                  <a:cubicBezTo>
                    <a:pt x="284" y="0"/>
                    <a:pt x="284" y="0"/>
                    <a:pt x="284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4F856AFB-D135-4662-96FE-BC3CCAE44FCB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4" y="1882"/>
              <a:ext cx="1750" cy="851"/>
            </a:xfrm>
            <a:custGeom>
              <a:avLst/>
              <a:gdLst>
                <a:gd name="T0" fmla="*/ 1750 w 1750"/>
                <a:gd name="T1" fmla="*/ 617 h 851"/>
                <a:gd name="T2" fmla="*/ 746 w 1750"/>
                <a:gd name="T3" fmla="*/ 60 h 851"/>
                <a:gd name="T4" fmla="*/ 741 w 1750"/>
                <a:gd name="T5" fmla="*/ 70 h 851"/>
                <a:gd name="T6" fmla="*/ 1687 w 1750"/>
                <a:gd name="T7" fmla="*/ 593 h 851"/>
                <a:gd name="T8" fmla="*/ 4 w 1750"/>
                <a:gd name="T9" fmla="*/ 0 h 851"/>
                <a:gd name="T10" fmla="*/ 0 w 1750"/>
                <a:gd name="T11" fmla="*/ 11 h 851"/>
                <a:gd name="T12" fmla="*/ 1692 w 1750"/>
                <a:gd name="T13" fmla="*/ 607 h 851"/>
                <a:gd name="T14" fmla="*/ 351 w 1750"/>
                <a:gd name="T15" fmla="*/ 410 h 851"/>
                <a:gd name="T16" fmla="*/ 349 w 1750"/>
                <a:gd name="T17" fmla="*/ 421 h 851"/>
                <a:gd name="T18" fmla="*/ 1696 w 1750"/>
                <a:gd name="T19" fmla="*/ 620 h 851"/>
                <a:gd name="T20" fmla="*/ 908 w 1750"/>
                <a:gd name="T21" fmla="*/ 677 h 851"/>
                <a:gd name="T22" fmla="*/ 909 w 1750"/>
                <a:gd name="T23" fmla="*/ 688 h 851"/>
                <a:gd name="T24" fmla="*/ 1635 w 1750"/>
                <a:gd name="T25" fmla="*/ 635 h 851"/>
                <a:gd name="T26" fmla="*/ 441 w 1750"/>
                <a:gd name="T27" fmla="*/ 840 h 851"/>
                <a:gd name="T28" fmla="*/ 443 w 1750"/>
                <a:gd name="T29" fmla="*/ 851 h 851"/>
                <a:gd name="T30" fmla="*/ 1749 w 1750"/>
                <a:gd name="T31" fmla="*/ 627 h 851"/>
                <a:gd name="T32" fmla="*/ 1747 w 1750"/>
                <a:gd name="T33" fmla="*/ 621 h 851"/>
                <a:gd name="T34" fmla="*/ 1750 w 1750"/>
                <a:gd name="T35" fmla="*/ 617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50" h="851">
                  <a:moveTo>
                    <a:pt x="1750" y="617"/>
                  </a:moveTo>
                  <a:lnTo>
                    <a:pt x="746" y="60"/>
                  </a:lnTo>
                  <a:lnTo>
                    <a:pt x="741" y="70"/>
                  </a:lnTo>
                  <a:lnTo>
                    <a:pt x="1687" y="593"/>
                  </a:lnTo>
                  <a:lnTo>
                    <a:pt x="4" y="0"/>
                  </a:lnTo>
                  <a:lnTo>
                    <a:pt x="0" y="11"/>
                  </a:lnTo>
                  <a:lnTo>
                    <a:pt x="1692" y="607"/>
                  </a:lnTo>
                  <a:lnTo>
                    <a:pt x="351" y="410"/>
                  </a:lnTo>
                  <a:lnTo>
                    <a:pt x="349" y="421"/>
                  </a:lnTo>
                  <a:lnTo>
                    <a:pt x="1696" y="620"/>
                  </a:lnTo>
                  <a:lnTo>
                    <a:pt x="908" y="677"/>
                  </a:lnTo>
                  <a:lnTo>
                    <a:pt x="909" y="688"/>
                  </a:lnTo>
                  <a:lnTo>
                    <a:pt x="1635" y="635"/>
                  </a:lnTo>
                  <a:lnTo>
                    <a:pt x="441" y="840"/>
                  </a:lnTo>
                  <a:lnTo>
                    <a:pt x="443" y="851"/>
                  </a:lnTo>
                  <a:lnTo>
                    <a:pt x="1749" y="627"/>
                  </a:lnTo>
                  <a:lnTo>
                    <a:pt x="1747" y="621"/>
                  </a:lnTo>
                  <a:lnTo>
                    <a:pt x="1750" y="617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FCB0BFAC-58D9-43AB-A574-B8DF45894A9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9" y="2214"/>
              <a:ext cx="416" cy="401"/>
            </a:xfrm>
            <a:custGeom>
              <a:avLst/>
              <a:gdLst>
                <a:gd name="T0" fmla="*/ 295 w 302"/>
                <a:gd name="T1" fmla="*/ 192 h 291"/>
                <a:gd name="T2" fmla="*/ 180 w 302"/>
                <a:gd name="T3" fmla="*/ 14 h 291"/>
                <a:gd name="T4" fmla="*/ 31 w 302"/>
                <a:gd name="T5" fmla="*/ 94 h 291"/>
                <a:gd name="T6" fmla="*/ 127 w 302"/>
                <a:gd name="T7" fmla="*/ 272 h 291"/>
                <a:gd name="T8" fmla="*/ 127 w 302"/>
                <a:gd name="T9" fmla="*/ 272 h 291"/>
                <a:gd name="T10" fmla="*/ 127 w 302"/>
                <a:gd name="T11" fmla="*/ 272 h 291"/>
                <a:gd name="T12" fmla="*/ 198 w 302"/>
                <a:gd name="T13" fmla="*/ 286 h 291"/>
                <a:gd name="T14" fmla="*/ 251 w 302"/>
                <a:gd name="T15" fmla="*/ 257 h 291"/>
                <a:gd name="T16" fmla="*/ 267 w 302"/>
                <a:gd name="T17" fmla="*/ 216 h 291"/>
                <a:gd name="T18" fmla="*/ 288 w 302"/>
                <a:gd name="T19" fmla="*/ 220 h 291"/>
                <a:gd name="T20" fmla="*/ 301 w 302"/>
                <a:gd name="T21" fmla="*/ 209 h 291"/>
                <a:gd name="T22" fmla="*/ 295 w 302"/>
                <a:gd name="T23" fmla="*/ 192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2" h="291">
                  <a:moveTo>
                    <a:pt x="295" y="192"/>
                  </a:moveTo>
                  <a:cubicBezTo>
                    <a:pt x="289" y="125"/>
                    <a:pt x="277" y="34"/>
                    <a:pt x="180" y="14"/>
                  </a:cubicBezTo>
                  <a:cubicBezTo>
                    <a:pt x="117" y="0"/>
                    <a:pt x="54" y="34"/>
                    <a:pt x="31" y="94"/>
                  </a:cubicBezTo>
                  <a:cubicBezTo>
                    <a:pt x="0" y="173"/>
                    <a:pt x="48" y="256"/>
                    <a:pt x="127" y="272"/>
                  </a:cubicBezTo>
                  <a:cubicBezTo>
                    <a:pt x="127" y="272"/>
                    <a:pt x="127" y="272"/>
                    <a:pt x="127" y="272"/>
                  </a:cubicBezTo>
                  <a:cubicBezTo>
                    <a:pt x="127" y="272"/>
                    <a:pt x="127" y="272"/>
                    <a:pt x="127" y="272"/>
                  </a:cubicBezTo>
                  <a:cubicBezTo>
                    <a:pt x="198" y="286"/>
                    <a:pt x="198" y="286"/>
                    <a:pt x="198" y="286"/>
                  </a:cubicBezTo>
                  <a:cubicBezTo>
                    <a:pt x="220" y="291"/>
                    <a:pt x="243" y="278"/>
                    <a:pt x="251" y="257"/>
                  </a:cubicBezTo>
                  <a:cubicBezTo>
                    <a:pt x="267" y="216"/>
                    <a:pt x="267" y="216"/>
                    <a:pt x="267" y="216"/>
                  </a:cubicBezTo>
                  <a:cubicBezTo>
                    <a:pt x="288" y="220"/>
                    <a:pt x="288" y="220"/>
                    <a:pt x="288" y="220"/>
                  </a:cubicBezTo>
                  <a:cubicBezTo>
                    <a:pt x="295" y="222"/>
                    <a:pt x="302" y="216"/>
                    <a:pt x="301" y="209"/>
                  </a:cubicBezTo>
                  <a:cubicBezTo>
                    <a:pt x="301" y="206"/>
                    <a:pt x="295" y="200"/>
                    <a:pt x="295" y="192"/>
                  </a:cubicBez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14">
              <a:extLst>
                <a:ext uri="{FF2B5EF4-FFF2-40B4-BE49-F238E27FC236}">
                  <a16:creationId xmlns:a16="http://schemas.microsoft.com/office/drawing/2014/main" id="{B639CD6A-7D93-478D-874C-B11F0439C9F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832" y="2411"/>
              <a:ext cx="30" cy="30"/>
            </a:xfrm>
            <a:prstGeom prst="ellipse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5">
              <a:extLst>
                <a:ext uri="{FF2B5EF4-FFF2-40B4-BE49-F238E27FC236}">
                  <a16:creationId xmlns:a16="http://schemas.microsoft.com/office/drawing/2014/main" id="{10F6C35B-BCDC-4DAD-BBA3-49EFC99F68B7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2" y="2368"/>
              <a:ext cx="80" cy="19"/>
            </a:xfrm>
            <a:custGeom>
              <a:avLst/>
              <a:gdLst>
                <a:gd name="T0" fmla="*/ 4 w 58"/>
                <a:gd name="T1" fmla="*/ 14 h 14"/>
                <a:gd name="T2" fmla="*/ 0 w 58"/>
                <a:gd name="T3" fmla="*/ 11 h 14"/>
                <a:gd name="T4" fmla="*/ 3 w 58"/>
                <a:gd name="T5" fmla="*/ 6 h 14"/>
                <a:gd name="T6" fmla="*/ 55 w 58"/>
                <a:gd name="T7" fmla="*/ 2 h 14"/>
                <a:gd name="T8" fmla="*/ 58 w 58"/>
                <a:gd name="T9" fmla="*/ 7 h 14"/>
                <a:gd name="T10" fmla="*/ 54 w 58"/>
                <a:gd name="T11" fmla="*/ 10 h 14"/>
                <a:gd name="T12" fmla="*/ 5 w 58"/>
                <a:gd name="T13" fmla="*/ 14 h 14"/>
                <a:gd name="T14" fmla="*/ 4 w 5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14">
                  <a:moveTo>
                    <a:pt x="4" y="14"/>
                  </a:moveTo>
                  <a:cubicBezTo>
                    <a:pt x="3" y="14"/>
                    <a:pt x="1" y="13"/>
                    <a:pt x="0" y="11"/>
                  </a:cubicBezTo>
                  <a:cubicBezTo>
                    <a:pt x="0" y="9"/>
                    <a:pt x="1" y="7"/>
                    <a:pt x="3" y="6"/>
                  </a:cubicBezTo>
                  <a:cubicBezTo>
                    <a:pt x="20" y="1"/>
                    <a:pt x="37" y="0"/>
                    <a:pt x="55" y="2"/>
                  </a:cubicBezTo>
                  <a:cubicBezTo>
                    <a:pt x="57" y="2"/>
                    <a:pt x="58" y="4"/>
                    <a:pt x="58" y="7"/>
                  </a:cubicBezTo>
                  <a:cubicBezTo>
                    <a:pt x="58" y="9"/>
                    <a:pt x="56" y="10"/>
                    <a:pt x="54" y="10"/>
                  </a:cubicBezTo>
                  <a:cubicBezTo>
                    <a:pt x="37" y="8"/>
                    <a:pt x="21" y="9"/>
                    <a:pt x="5" y="14"/>
                  </a:cubicBezTo>
                  <a:cubicBezTo>
                    <a:pt x="5" y="14"/>
                    <a:pt x="5" y="14"/>
                    <a:pt x="4" y="14"/>
                  </a:cubicBezTo>
                  <a:close/>
                </a:path>
              </a:pathLst>
            </a:custGeom>
            <a:solidFill>
              <a:srgbClr val="301D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6">
              <a:extLst>
                <a:ext uri="{FF2B5EF4-FFF2-40B4-BE49-F238E27FC236}">
                  <a16:creationId xmlns:a16="http://schemas.microsoft.com/office/drawing/2014/main" id="{1D3442E3-398A-4478-A58F-C06985F650D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52" y="2374"/>
              <a:ext cx="44" cy="53"/>
            </a:xfrm>
            <a:custGeom>
              <a:avLst/>
              <a:gdLst>
                <a:gd name="T0" fmla="*/ 26 w 32"/>
                <a:gd name="T1" fmla="*/ 39 h 39"/>
                <a:gd name="T2" fmla="*/ 20 w 32"/>
                <a:gd name="T3" fmla="*/ 38 h 39"/>
                <a:gd name="T4" fmla="*/ 3 w 32"/>
                <a:gd name="T5" fmla="*/ 12 h 39"/>
                <a:gd name="T6" fmla="*/ 3 w 32"/>
                <a:gd name="T7" fmla="*/ 12 h 39"/>
                <a:gd name="T8" fmla="*/ 19 w 32"/>
                <a:gd name="T9" fmla="*/ 1 h 39"/>
                <a:gd name="T10" fmla="*/ 19 w 32"/>
                <a:gd name="T11" fmla="*/ 1 h 39"/>
                <a:gd name="T12" fmla="*/ 30 w 32"/>
                <a:gd name="T13" fmla="*/ 18 h 39"/>
                <a:gd name="T14" fmla="*/ 26 w 32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9">
                  <a:moveTo>
                    <a:pt x="26" y="39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8" y="35"/>
                    <a:pt x="0" y="24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5"/>
                    <a:pt x="12" y="0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7" y="3"/>
                    <a:pt x="32" y="10"/>
                    <a:pt x="30" y="18"/>
                  </a:cubicBezTo>
                  <a:lnTo>
                    <a:pt x="26" y="39"/>
                  </a:lnTo>
                  <a:close/>
                </a:path>
              </a:pathLst>
            </a:custGeom>
            <a:solidFill>
              <a:srgbClr val="BA8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7">
              <a:extLst>
                <a:ext uri="{FF2B5EF4-FFF2-40B4-BE49-F238E27FC236}">
                  <a16:creationId xmlns:a16="http://schemas.microsoft.com/office/drawing/2014/main" id="{2CAD9311-8032-4905-8DC4-8B47008A9892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7" y="2210"/>
              <a:ext cx="363" cy="274"/>
            </a:xfrm>
            <a:custGeom>
              <a:avLst/>
              <a:gdLst>
                <a:gd name="T0" fmla="*/ 178 w 264"/>
                <a:gd name="T1" fmla="*/ 8 h 199"/>
                <a:gd name="T2" fmla="*/ 168 w 264"/>
                <a:gd name="T3" fmla="*/ 6 h 199"/>
                <a:gd name="T4" fmla="*/ 168 w 264"/>
                <a:gd name="T5" fmla="*/ 6 h 199"/>
                <a:gd name="T6" fmla="*/ 167 w 264"/>
                <a:gd name="T7" fmla="*/ 6 h 199"/>
                <a:gd name="T8" fmla="*/ 160 w 264"/>
                <a:gd name="T9" fmla="*/ 5 h 199"/>
                <a:gd name="T10" fmla="*/ 56 w 264"/>
                <a:gd name="T11" fmla="*/ 6 h 199"/>
                <a:gd name="T12" fmla="*/ 56 w 264"/>
                <a:gd name="T13" fmla="*/ 11 h 199"/>
                <a:gd name="T14" fmla="*/ 70 w 264"/>
                <a:gd name="T15" fmla="*/ 17 h 199"/>
                <a:gd name="T16" fmla="*/ 69 w 264"/>
                <a:gd name="T17" fmla="*/ 23 h 199"/>
                <a:gd name="T18" fmla="*/ 16 w 264"/>
                <a:gd name="T19" fmla="*/ 35 h 199"/>
                <a:gd name="T20" fmla="*/ 16 w 264"/>
                <a:gd name="T21" fmla="*/ 39 h 199"/>
                <a:gd name="T22" fmla="*/ 40 w 264"/>
                <a:gd name="T23" fmla="*/ 41 h 199"/>
                <a:gd name="T24" fmla="*/ 44 w 264"/>
                <a:gd name="T25" fmla="*/ 52 h 199"/>
                <a:gd name="T26" fmla="*/ 14 w 264"/>
                <a:gd name="T27" fmla="*/ 113 h 199"/>
                <a:gd name="T28" fmla="*/ 14 w 264"/>
                <a:gd name="T29" fmla="*/ 113 h 199"/>
                <a:gd name="T30" fmla="*/ 14 w 264"/>
                <a:gd name="T31" fmla="*/ 113 h 199"/>
                <a:gd name="T32" fmla="*/ 0 w 264"/>
                <a:gd name="T33" fmla="*/ 184 h 199"/>
                <a:gd name="T34" fmla="*/ 46 w 264"/>
                <a:gd name="T35" fmla="*/ 193 h 199"/>
                <a:gd name="T36" fmla="*/ 107 w 264"/>
                <a:gd name="T37" fmla="*/ 152 h 199"/>
                <a:gd name="T38" fmla="*/ 111 w 264"/>
                <a:gd name="T39" fmla="*/ 133 h 199"/>
                <a:gd name="T40" fmla="*/ 111 w 264"/>
                <a:gd name="T41" fmla="*/ 133 h 199"/>
                <a:gd name="T42" fmla="*/ 113 w 264"/>
                <a:gd name="T43" fmla="*/ 124 h 199"/>
                <a:gd name="T44" fmla="*/ 140 w 264"/>
                <a:gd name="T45" fmla="*/ 106 h 199"/>
                <a:gd name="T46" fmla="*/ 161 w 264"/>
                <a:gd name="T47" fmla="*/ 138 h 199"/>
                <a:gd name="T48" fmla="*/ 161 w 264"/>
                <a:gd name="T49" fmla="*/ 138 h 199"/>
                <a:gd name="T50" fmla="*/ 173 w 264"/>
                <a:gd name="T51" fmla="*/ 135 h 199"/>
                <a:gd name="T52" fmla="*/ 190 w 264"/>
                <a:gd name="T53" fmla="*/ 117 h 199"/>
                <a:gd name="T54" fmla="*/ 198 w 264"/>
                <a:gd name="T55" fmla="*/ 74 h 199"/>
                <a:gd name="T56" fmla="*/ 221 w 264"/>
                <a:gd name="T57" fmla="*/ 59 h 199"/>
                <a:gd name="T58" fmla="*/ 235 w 264"/>
                <a:gd name="T59" fmla="*/ 62 h 199"/>
                <a:gd name="T60" fmla="*/ 254 w 264"/>
                <a:gd name="T61" fmla="*/ 58 h 199"/>
                <a:gd name="T62" fmla="*/ 264 w 264"/>
                <a:gd name="T63" fmla="*/ 52 h 199"/>
                <a:gd name="T64" fmla="*/ 178 w 264"/>
                <a:gd name="T65" fmla="*/ 8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4" h="199">
                  <a:moveTo>
                    <a:pt x="178" y="8"/>
                  </a:moveTo>
                  <a:cubicBezTo>
                    <a:pt x="175" y="7"/>
                    <a:pt x="171" y="6"/>
                    <a:pt x="168" y="6"/>
                  </a:cubicBezTo>
                  <a:cubicBezTo>
                    <a:pt x="168" y="6"/>
                    <a:pt x="168" y="6"/>
                    <a:pt x="168" y="6"/>
                  </a:cubicBezTo>
                  <a:cubicBezTo>
                    <a:pt x="168" y="6"/>
                    <a:pt x="168" y="6"/>
                    <a:pt x="167" y="6"/>
                  </a:cubicBezTo>
                  <a:cubicBezTo>
                    <a:pt x="165" y="6"/>
                    <a:pt x="162" y="5"/>
                    <a:pt x="160" y="5"/>
                  </a:cubicBezTo>
                  <a:cubicBezTo>
                    <a:pt x="141" y="4"/>
                    <a:pt x="93" y="0"/>
                    <a:pt x="56" y="6"/>
                  </a:cubicBezTo>
                  <a:cubicBezTo>
                    <a:pt x="53" y="6"/>
                    <a:pt x="53" y="10"/>
                    <a:pt x="56" y="11"/>
                  </a:cubicBezTo>
                  <a:cubicBezTo>
                    <a:pt x="62" y="13"/>
                    <a:pt x="66" y="15"/>
                    <a:pt x="70" y="17"/>
                  </a:cubicBezTo>
                  <a:cubicBezTo>
                    <a:pt x="73" y="19"/>
                    <a:pt x="72" y="23"/>
                    <a:pt x="69" y="23"/>
                  </a:cubicBezTo>
                  <a:cubicBezTo>
                    <a:pt x="57" y="24"/>
                    <a:pt x="35" y="27"/>
                    <a:pt x="16" y="35"/>
                  </a:cubicBezTo>
                  <a:cubicBezTo>
                    <a:pt x="14" y="36"/>
                    <a:pt x="14" y="39"/>
                    <a:pt x="16" y="39"/>
                  </a:cubicBezTo>
                  <a:cubicBezTo>
                    <a:pt x="25" y="39"/>
                    <a:pt x="34" y="39"/>
                    <a:pt x="40" y="41"/>
                  </a:cubicBezTo>
                  <a:cubicBezTo>
                    <a:pt x="45" y="43"/>
                    <a:pt x="46" y="48"/>
                    <a:pt x="44" y="52"/>
                  </a:cubicBezTo>
                  <a:cubicBezTo>
                    <a:pt x="36" y="64"/>
                    <a:pt x="19" y="91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46" y="193"/>
                    <a:pt x="46" y="193"/>
                    <a:pt x="46" y="193"/>
                  </a:cubicBezTo>
                  <a:cubicBezTo>
                    <a:pt x="74" y="199"/>
                    <a:pt x="102" y="180"/>
                    <a:pt x="107" y="152"/>
                  </a:cubicBezTo>
                  <a:cubicBezTo>
                    <a:pt x="111" y="133"/>
                    <a:pt x="111" y="133"/>
                    <a:pt x="111" y="133"/>
                  </a:cubicBezTo>
                  <a:cubicBezTo>
                    <a:pt x="111" y="133"/>
                    <a:pt x="111" y="133"/>
                    <a:pt x="111" y="133"/>
                  </a:cubicBezTo>
                  <a:cubicBezTo>
                    <a:pt x="113" y="124"/>
                    <a:pt x="113" y="124"/>
                    <a:pt x="113" y="124"/>
                  </a:cubicBezTo>
                  <a:cubicBezTo>
                    <a:pt x="116" y="111"/>
                    <a:pt x="128" y="103"/>
                    <a:pt x="140" y="106"/>
                  </a:cubicBezTo>
                  <a:cubicBezTo>
                    <a:pt x="155" y="109"/>
                    <a:pt x="164" y="123"/>
                    <a:pt x="161" y="138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73" y="135"/>
                    <a:pt x="173" y="135"/>
                    <a:pt x="173" y="135"/>
                  </a:cubicBezTo>
                  <a:cubicBezTo>
                    <a:pt x="182" y="132"/>
                    <a:pt x="188" y="125"/>
                    <a:pt x="190" y="117"/>
                  </a:cubicBezTo>
                  <a:cubicBezTo>
                    <a:pt x="198" y="74"/>
                    <a:pt x="198" y="74"/>
                    <a:pt x="198" y="74"/>
                  </a:cubicBezTo>
                  <a:cubicBezTo>
                    <a:pt x="200" y="64"/>
                    <a:pt x="210" y="57"/>
                    <a:pt x="221" y="59"/>
                  </a:cubicBezTo>
                  <a:cubicBezTo>
                    <a:pt x="235" y="62"/>
                    <a:pt x="235" y="62"/>
                    <a:pt x="235" y="62"/>
                  </a:cubicBezTo>
                  <a:cubicBezTo>
                    <a:pt x="241" y="63"/>
                    <a:pt x="249" y="62"/>
                    <a:pt x="254" y="58"/>
                  </a:cubicBezTo>
                  <a:cubicBezTo>
                    <a:pt x="264" y="52"/>
                    <a:pt x="264" y="52"/>
                    <a:pt x="264" y="52"/>
                  </a:cubicBezTo>
                  <a:cubicBezTo>
                    <a:pt x="264" y="52"/>
                    <a:pt x="240" y="20"/>
                    <a:pt x="178" y="8"/>
                  </a:cubicBezTo>
                  <a:close/>
                </a:path>
              </a:pathLst>
            </a:custGeom>
            <a:solidFill>
              <a:srgbClr val="301D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8">
              <a:extLst>
                <a:ext uri="{FF2B5EF4-FFF2-40B4-BE49-F238E27FC236}">
                  <a16:creationId xmlns:a16="http://schemas.microsoft.com/office/drawing/2014/main" id="{BE835BD4-2A95-4A4B-8412-F07B9F6A99BA}"/>
                </a:ext>
              </a:extLst>
            </p:cNvPr>
            <p:cNvSpPr>
              <a:spLocks/>
            </p:cNvSpPr>
            <p:nvPr/>
          </p:nvSpPr>
          <p:spPr bwMode="gray">
            <a:xfrm>
              <a:off x="6754" y="3375"/>
              <a:ext cx="571" cy="571"/>
            </a:xfrm>
            <a:custGeom>
              <a:avLst/>
              <a:gdLst>
                <a:gd name="T0" fmla="*/ 326 w 415"/>
                <a:gd name="T1" fmla="*/ 0 h 415"/>
                <a:gd name="T2" fmla="*/ 163 w 415"/>
                <a:gd name="T3" fmla="*/ 163 h 415"/>
                <a:gd name="T4" fmla="*/ 170 w 415"/>
                <a:gd name="T5" fmla="*/ 164 h 415"/>
                <a:gd name="T6" fmla="*/ 151 w 415"/>
                <a:gd name="T7" fmla="*/ 381 h 415"/>
                <a:gd name="T8" fmla="*/ 138 w 415"/>
                <a:gd name="T9" fmla="*/ 380 h 415"/>
                <a:gd name="T10" fmla="*/ 154 w 415"/>
                <a:gd name="T11" fmla="*/ 193 h 415"/>
                <a:gd name="T12" fmla="*/ 58 w 415"/>
                <a:gd name="T13" fmla="*/ 358 h 415"/>
                <a:gd name="T14" fmla="*/ 46 w 415"/>
                <a:gd name="T15" fmla="*/ 351 h 415"/>
                <a:gd name="T16" fmla="*/ 144 w 415"/>
                <a:gd name="T17" fmla="*/ 182 h 415"/>
                <a:gd name="T18" fmla="*/ 0 w 415"/>
                <a:gd name="T19" fmla="*/ 326 h 415"/>
                <a:gd name="T20" fmla="*/ 326 w 415"/>
                <a:gd name="T21" fmla="*/ 326 h 415"/>
                <a:gd name="T22" fmla="*/ 326 w 415"/>
                <a:gd name="T23" fmla="*/ 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5" h="415">
                  <a:moveTo>
                    <a:pt x="326" y="0"/>
                  </a:moveTo>
                  <a:cubicBezTo>
                    <a:pt x="163" y="163"/>
                    <a:pt x="163" y="163"/>
                    <a:pt x="163" y="163"/>
                  </a:cubicBezTo>
                  <a:cubicBezTo>
                    <a:pt x="170" y="164"/>
                    <a:pt x="170" y="164"/>
                    <a:pt x="170" y="164"/>
                  </a:cubicBezTo>
                  <a:cubicBezTo>
                    <a:pt x="151" y="381"/>
                    <a:pt x="151" y="381"/>
                    <a:pt x="151" y="381"/>
                  </a:cubicBezTo>
                  <a:cubicBezTo>
                    <a:pt x="138" y="380"/>
                    <a:pt x="138" y="380"/>
                    <a:pt x="138" y="380"/>
                  </a:cubicBezTo>
                  <a:cubicBezTo>
                    <a:pt x="154" y="193"/>
                    <a:pt x="154" y="193"/>
                    <a:pt x="154" y="193"/>
                  </a:cubicBezTo>
                  <a:cubicBezTo>
                    <a:pt x="58" y="358"/>
                    <a:pt x="58" y="358"/>
                    <a:pt x="58" y="358"/>
                  </a:cubicBezTo>
                  <a:cubicBezTo>
                    <a:pt x="46" y="351"/>
                    <a:pt x="46" y="351"/>
                    <a:pt x="46" y="351"/>
                  </a:cubicBezTo>
                  <a:cubicBezTo>
                    <a:pt x="144" y="182"/>
                    <a:pt x="144" y="182"/>
                    <a:pt x="144" y="18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90" y="415"/>
                    <a:pt x="236" y="415"/>
                    <a:pt x="326" y="326"/>
                  </a:cubicBezTo>
                  <a:cubicBezTo>
                    <a:pt x="415" y="236"/>
                    <a:pt x="415" y="90"/>
                    <a:pt x="326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9">
              <a:extLst>
                <a:ext uri="{FF2B5EF4-FFF2-40B4-BE49-F238E27FC236}">
                  <a16:creationId xmlns:a16="http://schemas.microsoft.com/office/drawing/2014/main" id="{77D50024-0AE5-48E6-88AE-FF686705931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33" y="3254"/>
              <a:ext cx="690" cy="690"/>
            </a:xfrm>
            <a:custGeom>
              <a:avLst/>
              <a:gdLst>
                <a:gd name="T0" fmla="*/ 251 w 502"/>
                <a:gd name="T1" fmla="*/ 501 h 501"/>
                <a:gd name="T2" fmla="*/ 0 w 502"/>
                <a:gd name="T3" fmla="*/ 251 h 501"/>
                <a:gd name="T4" fmla="*/ 251 w 502"/>
                <a:gd name="T5" fmla="*/ 0 h 501"/>
                <a:gd name="T6" fmla="*/ 502 w 502"/>
                <a:gd name="T7" fmla="*/ 251 h 501"/>
                <a:gd name="T8" fmla="*/ 251 w 502"/>
                <a:gd name="T9" fmla="*/ 501 h 501"/>
                <a:gd name="T10" fmla="*/ 251 w 502"/>
                <a:gd name="T11" fmla="*/ 41 h 501"/>
                <a:gd name="T12" fmla="*/ 42 w 502"/>
                <a:gd name="T13" fmla="*/ 251 h 501"/>
                <a:gd name="T14" fmla="*/ 251 w 502"/>
                <a:gd name="T15" fmla="*/ 460 h 501"/>
                <a:gd name="T16" fmla="*/ 460 w 502"/>
                <a:gd name="T17" fmla="*/ 251 h 501"/>
                <a:gd name="T18" fmla="*/ 251 w 502"/>
                <a:gd name="T19" fmla="*/ 41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2" h="501">
                  <a:moveTo>
                    <a:pt x="251" y="501"/>
                  </a:moveTo>
                  <a:cubicBezTo>
                    <a:pt x="113" y="501"/>
                    <a:pt x="0" y="389"/>
                    <a:pt x="0" y="251"/>
                  </a:cubicBezTo>
                  <a:cubicBezTo>
                    <a:pt x="0" y="113"/>
                    <a:pt x="113" y="0"/>
                    <a:pt x="251" y="0"/>
                  </a:cubicBezTo>
                  <a:cubicBezTo>
                    <a:pt x="389" y="0"/>
                    <a:pt x="502" y="113"/>
                    <a:pt x="502" y="251"/>
                  </a:cubicBezTo>
                  <a:cubicBezTo>
                    <a:pt x="502" y="389"/>
                    <a:pt x="389" y="501"/>
                    <a:pt x="251" y="501"/>
                  </a:cubicBezTo>
                  <a:close/>
                  <a:moveTo>
                    <a:pt x="251" y="41"/>
                  </a:moveTo>
                  <a:cubicBezTo>
                    <a:pt x="135" y="41"/>
                    <a:pt x="42" y="135"/>
                    <a:pt x="42" y="251"/>
                  </a:cubicBezTo>
                  <a:cubicBezTo>
                    <a:pt x="42" y="366"/>
                    <a:pt x="135" y="460"/>
                    <a:pt x="251" y="460"/>
                  </a:cubicBezTo>
                  <a:cubicBezTo>
                    <a:pt x="366" y="460"/>
                    <a:pt x="460" y="366"/>
                    <a:pt x="460" y="251"/>
                  </a:cubicBezTo>
                  <a:cubicBezTo>
                    <a:pt x="460" y="135"/>
                    <a:pt x="366" y="41"/>
                    <a:pt x="251" y="41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0">
              <a:extLst>
                <a:ext uri="{FF2B5EF4-FFF2-40B4-BE49-F238E27FC236}">
                  <a16:creationId xmlns:a16="http://schemas.microsoft.com/office/drawing/2014/main" id="{CDEA53C3-F714-4305-BF4D-5D4DE3671F1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5" y="3187"/>
              <a:ext cx="543" cy="473"/>
            </a:xfrm>
            <a:custGeom>
              <a:avLst/>
              <a:gdLst>
                <a:gd name="T0" fmla="*/ 394 w 394"/>
                <a:gd name="T1" fmla="*/ 45 h 343"/>
                <a:gd name="T2" fmla="*/ 348 w 394"/>
                <a:gd name="T3" fmla="*/ 68 h 343"/>
                <a:gd name="T4" fmla="*/ 115 w 394"/>
                <a:gd name="T5" fmla="*/ 132 h 343"/>
                <a:gd name="T6" fmla="*/ 47 w 394"/>
                <a:gd name="T7" fmla="*/ 303 h 343"/>
                <a:gd name="T8" fmla="*/ 14 w 394"/>
                <a:gd name="T9" fmla="*/ 343 h 343"/>
                <a:gd name="T10" fmla="*/ 14 w 394"/>
                <a:gd name="T11" fmla="*/ 343 h 343"/>
                <a:gd name="T12" fmla="*/ 88 w 394"/>
                <a:gd name="T13" fmla="*/ 107 h 343"/>
                <a:gd name="T14" fmla="*/ 394 w 394"/>
                <a:gd name="T15" fmla="*/ 45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4" h="343">
                  <a:moveTo>
                    <a:pt x="394" y="45"/>
                  </a:moveTo>
                  <a:cubicBezTo>
                    <a:pt x="386" y="63"/>
                    <a:pt x="367" y="73"/>
                    <a:pt x="348" y="68"/>
                  </a:cubicBezTo>
                  <a:cubicBezTo>
                    <a:pt x="265" y="45"/>
                    <a:pt x="176" y="69"/>
                    <a:pt x="115" y="132"/>
                  </a:cubicBezTo>
                  <a:cubicBezTo>
                    <a:pt x="69" y="179"/>
                    <a:pt x="45" y="240"/>
                    <a:pt x="47" y="303"/>
                  </a:cubicBezTo>
                  <a:cubicBezTo>
                    <a:pt x="47" y="323"/>
                    <a:pt x="33" y="340"/>
                    <a:pt x="14" y="343"/>
                  </a:cubicBezTo>
                  <a:cubicBezTo>
                    <a:pt x="14" y="343"/>
                    <a:pt x="14" y="343"/>
                    <a:pt x="14" y="343"/>
                  </a:cubicBezTo>
                  <a:cubicBezTo>
                    <a:pt x="0" y="256"/>
                    <a:pt x="27" y="170"/>
                    <a:pt x="88" y="107"/>
                  </a:cubicBezTo>
                  <a:cubicBezTo>
                    <a:pt x="168" y="24"/>
                    <a:pt x="288" y="0"/>
                    <a:pt x="394" y="45"/>
                  </a:cubicBez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1">
              <a:extLst>
                <a:ext uri="{FF2B5EF4-FFF2-40B4-BE49-F238E27FC236}">
                  <a16:creationId xmlns:a16="http://schemas.microsoft.com/office/drawing/2014/main" id="{97025523-4C80-455B-BD61-88C5FB2E7B2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7" y="3574"/>
              <a:ext cx="279" cy="131"/>
            </a:xfrm>
            <a:custGeom>
              <a:avLst/>
              <a:gdLst>
                <a:gd name="T0" fmla="*/ 267 w 279"/>
                <a:gd name="T1" fmla="*/ 131 h 131"/>
                <a:gd name="T2" fmla="*/ 0 w 279"/>
                <a:gd name="T3" fmla="*/ 36 h 131"/>
                <a:gd name="T4" fmla="*/ 12 w 279"/>
                <a:gd name="T5" fmla="*/ 0 h 131"/>
                <a:gd name="T6" fmla="*/ 279 w 279"/>
                <a:gd name="T7" fmla="*/ 95 h 131"/>
                <a:gd name="T8" fmla="*/ 267 w 279"/>
                <a:gd name="T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131">
                  <a:moveTo>
                    <a:pt x="267" y="131"/>
                  </a:moveTo>
                  <a:lnTo>
                    <a:pt x="0" y="36"/>
                  </a:lnTo>
                  <a:lnTo>
                    <a:pt x="12" y="0"/>
                  </a:lnTo>
                  <a:lnTo>
                    <a:pt x="279" y="95"/>
                  </a:lnTo>
                  <a:lnTo>
                    <a:pt x="267" y="131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2">
              <a:extLst>
                <a:ext uri="{FF2B5EF4-FFF2-40B4-BE49-F238E27FC236}">
                  <a16:creationId xmlns:a16="http://schemas.microsoft.com/office/drawing/2014/main" id="{E8884D5B-E722-4F17-BA94-038734869BCE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1" y="2811"/>
              <a:ext cx="537" cy="779"/>
            </a:xfrm>
            <a:custGeom>
              <a:avLst/>
              <a:gdLst>
                <a:gd name="T0" fmla="*/ 206 w 537"/>
                <a:gd name="T1" fmla="*/ 0 h 779"/>
                <a:gd name="T2" fmla="*/ 491 w 537"/>
                <a:gd name="T3" fmla="*/ 298 h 779"/>
                <a:gd name="T4" fmla="*/ 537 w 537"/>
                <a:gd name="T5" fmla="*/ 779 h 779"/>
                <a:gd name="T6" fmla="*/ 465 w 537"/>
                <a:gd name="T7" fmla="*/ 779 h 779"/>
                <a:gd name="T8" fmla="*/ 348 w 537"/>
                <a:gd name="T9" fmla="*/ 423 h 779"/>
                <a:gd name="T10" fmla="*/ 0 w 537"/>
                <a:gd name="T11" fmla="*/ 118 h 779"/>
                <a:gd name="T12" fmla="*/ 206 w 537"/>
                <a:gd name="T13" fmla="*/ 0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7" h="779">
                  <a:moveTo>
                    <a:pt x="206" y="0"/>
                  </a:moveTo>
                  <a:lnTo>
                    <a:pt x="491" y="298"/>
                  </a:lnTo>
                  <a:lnTo>
                    <a:pt x="537" y="779"/>
                  </a:lnTo>
                  <a:lnTo>
                    <a:pt x="465" y="779"/>
                  </a:lnTo>
                  <a:lnTo>
                    <a:pt x="348" y="423"/>
                  </a:lnTo>
                  <a:lnTo>
                    <a:pt x="0" y="118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3">
              <a:extLst>
                <a:ext uri="{FF2B5EF4-FFF2-40B4-BE49-F238E27FC236}">
                  <a16:creationId xmlns:a16="http://schemas.microsoft.com/office/drawing/2014/main" id="{FB43B783-5A51-44A6-A108-25D455BABF6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8" y="2981"/>
              <a:ext cx="74" cy="109"/>
            </a:xfrm>
            <a:custGeom>
              <a:avLst/>
              <a:gdLst>
                <a:gd name="T0" fmla="*/ 10 w 54"/>
                <a:gd name="T1" fmla="*/ 0 h 79"/>
                <a:gd name="T2" fmla="*/ 51 w 54"/>
                <a:gd name="T3" fmla="*/ 39 h 79"/>
                <a:gd name="T4" fmla="*/ 51 w 54"/>
                <a:gd name="T5" fmla="*/ 50 h 79"/>
                <a:gd name="T6" fmla="*/ 29 w 54"/>
                <a:gd name="T7" fmla="*/ 76 h 79"/>
                <a:gd name="T8" fmla="*/ 20 w 54"/>
                <a:gd name="T9" fmla="*/ 73 h 79"/>
                <a:gd name="T10" fmla="*/ 28 w 54"/>
                <a:gd name="T11" fmla="*/ 47 h 79"/>
                <a:gd name="T12" fmla="*/ 0 w 54"/>
                <a:gd name="T13" fmla="*/ 22 h 79"/>
                <a:gd name="T14" fmla="*/ 10 w 54"/>
                <a:gd name="T1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79">
                  <a:moveTo>
                    <a:pt x="10" y="0"/>
                  </a:moveTo>
                  <a:cubicBezTo>
                    <a:pt x="51" y="39"/>
                    <a:pt x="51" y="39"/>
                    <a:pt x="51" y="39"/>
                  </a:cubicBezTo>
                  <a:cubicBezTo>
                    <a:pt x="54" y="42"/>
                    <a:pt x="54" y="47"/>
                    <a:pt x="51" y="50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6" y="79"/>
                    <a:pt x="21" y="78"/>
                    <a:pt x="20" y="73"/>
                  </a:cubicBezTo>
                  <a:cubicBezTo>
                    <a:pt x="18" y="66"/>
                    <a:pt x="18" y="55"/>
                    <a:pt x="28" y="47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D8B0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4">
              <a:extLst>
                <a:ext uri="{FF2B5EF4-FFF2-40B4-BE49-F238E27FC236}">
                  <a16:creationId xmlns:a16="http://schemas.microsoft.com/office/drawing/2014/main" id="{B054C5F2-A238-43A6-B8F0-CB3BD2FB80A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3" y="2926"/>
              <a:ext cx="256" cy="154"/>
            </a:xfrm>
            <a:custGeom>
              <a:avLst/>
              <a:gdLst>
                <a:gd name="T0" fmla="*/ 184 w 186"/>
                <a:gd name="T1" fmla="*/ 83 h 112"/>
                <a:gd name="T2" fmla="*/ 162 w 186"/>
                <a:gd name="T3" fmla="*/ 38 h 112"/>
                <a:gd name="T4" fmla="*/ 154 w 186"/>
                <a:gd name="T5" fmla="*/ 32 h 112"/>
                <a:gd name="T6" fmla="*/ 145 w 186"/>
                <a:gd name="T7" fmla="*/ 32 h 112"/>
                <a:gd name="T8" fmla="*/ 44 w 186"/>
                <a:gd name="T9" fmla="*/ 0 h 112"/>
                <a:gd name="T10" fmla="*/ 11 w 186"/>
                <a:gd name="T11" fmla="*/ 6 h 112"/>
                <a:gd name="T12" fmla="*/ 0 w 186"/>
                <a:gd name="T13" fmla="*/ 27 h 112"/>
                <a:gd name="T14" fmla="*/ 66 w 186"/>
                <a:gd name="T15" fmla="*/ 76 h 112"/>
                <a:gd name="T16" fmla="*/ 153 w 186"/>
                <a:gd name="T17" fmla="*/ 71 h 112"/>
                <a:gd name="T18" fmla="*/ 159 w 186"/>
                <a:gd name="T19" fmla="*/ 83 h 112"/>
                <a:gd name="T20" fmla="*/ 143 w 186"/>
                <a:gd name="T21" fmla="*/ 104 h 112"/>
                <a:gd name="T22" fmla="*/ 151 w 186"/>
                <a:gd name="T23" fmla="*/ 110 h 112"/>
                <a:gd name="T24" fmla="*/ 181 w 186"/>
                <a:gd name="T25" fmla="*/ 94 h 112"/>
                <a:gd name="T26" fmla="*/ 184 w 186"/>
                <a:gd name="T27" fmla="*/ 8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6" h="112">
                  <a:moveTo>
                    <a:pt x="184" y="83"/>
                  </a:moveTo>
                  <a:cubicBezTo>
                    <a:pt x="162" y="38"/>
                    <a:pt x="162" y="38"/>
                    <a:pt x="162" y="38"/>
                  </a:cubicBezTo>
                  <a:cubicBezTo>
                    <a:pt x="160" y="34"/>
                    <a:pt x="157" y="32"/>
                    <a:pt x="154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11" y="32"/>
                    <a:pt x="72" y="19"/>
                    <a:pt x="44" y="0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153" y="71"/>
                    <a:pt x="153" y="71"/>
                    <a:pt x="153" y="71"/>
                  </a:cubicBezTo>
                  <a:cubicBezTo>
                    <a:pt x="159" y="83"/>
                    <a:pt x="159" y="83"/>
                    <a:pt x="159" y="83"/>
                  </a:cubicBezTo>
                  <a:cubicBezTo>
                    <a:pt x="147" y="87"/>
                    <a:pt x="144" y="97"/>
                    <a:pt x="143" y="104"/>
                  </a:cubicBezTo>
                  <a:cubicBezTo>
                    <a:pt x="142" y="109"/>
                    <a:pt x="147" y="112"/>
                    <a:pt x="151" y="110"/>
                  </a:cubicBezTo>
                  <a:cubicBezTo>
                    <a:pt x="181" y="94"/>
                    <a:pt x="181" y="94"/>
                    <a:pt x="181" y="94"/>
                  </a:cubicBezTo>
                  <a:cubicBezTo>
                    <a:pt x="185" y="91"/>
                    <a:pt x="186" y="87"/>
                    <a:pt x="184" y="83"/>
                  </a:cubicBez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5">
              <a:extLst>
                <a:ext uri="{FF2B5EF4-FFF2-40B4-BE49-F238E27FC236}">
                  <a16:creationId xmlns:a16="http://schemas.microsoft.com/office/drawing/2014/main" id="{B54B12C5-7B40-45F8-8F27-EB008142B2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20" y="2963"/>
              <a:ext cx="1306" cy="684"/>
            </a:xfrm>
            <a:custGeom>
              <a:avLst/>
              <a:gdLst>
                <a:gd name="T0" fmla="*/ 914 w 949"/>
                <a:gd name="T1" fmla="*/ 427 h 497"/>
                <a:gd name="T2" fmla="*/ 899 w 949"/>
                <a:gd name="T3" fmla="*/ 431 h 497"/>
                <a:gd name="T4" fmla="*/ 783 w 949"/>
                <a:gd name="T5" fmla="*/ 247 h 497"/>
                <a:gd name="T6" fmla="*/ 740 w 949"/>
                <a:gd name="T7" fmla="*/ 112 h 497"/>
                <a:gd name="T8" fmla="*/ 740 w 949"/>
                <a:gd name="T9" fmla="*/ 112 h 497"/>
                <a:gd name="T10" fmla="*/ 727 w 949"/>
                <a:gd name="T11" fmla="*/ 69 h 497"/>
                <a:gd name="T12" fmla="*/ 805 w 949"/>
                <a:gd name="T13" fmla="*/ 69 h 497"/>
                <a:gd name="T14" fmla="*/ 818 w 949"/>
                <a:gd name="T15" fmla="*/ 55 h 497"/>
                <a:gd name="T16" fmla="*/ 805 w 949"/>
                <a:gd name="T17" fmla="*/ 41 h 497"/>
                <a:gd name="T18" fmla="*/ 725 w 949"/>
                <a:gd name="T19" fmla="*/ 41 h 497"/>
                <a:gd name="T20" fmla="*/ 704 w 949"/>
                <a:gd name="T21" fmla="*/ 52 h 497"/>
                <a:gd name="T22" fmla="*/ 700 w 949"/>
                <a:gd name="T23" fmla="*/ 75 h 497"/>
                <a:gd name="T24" fmla="*/ 712 w 949"/>
                <a:gd name="T25" fmla="*/ 112 h 497"/>
                <a:gd name="T26" fmla="*/ 254 w 949"/>
                <a:gd name="T27" fmla="*/ 112 h 497"/>
                <a:gd name="T28" fmla="*/ 213 w 949"/>
                <a:gd name="T29" fmla="*/ 0 h 497"/>
                <a:gd name="T30" fmla="*/ 188 w 949"/>
                <a:gd name="T31" fmla="*/ 9 h 497"/>
                <a:gd name="T32" fmla="*/ 230 w 949"/>
                <a:gd name="T33" fmla="*/ 126 h 497"/>
                <a:gd name="T34" fmla="*/ 40 w 949"/>
                <a:gd name="T35" fmla="*/ 428 h 497"/>
                <a:gd name="T36" fmla="*/ 35 w 949"/>
                <a:gd name="T37" fmla="*/ 427 h 497"/>
                <a:gd name="T38" fmla="*/ 0 w 949"/>
                <a:gd name="T39" fmla="*/ 462 h 497"/>
                <a:gd name="T40" fmla="*/ 35 w 949"/>
                <a:gd name="T41" fmla="*/ 497 h 497"/>
                <a:gd name="T42" fmla="*/ 67 w 949"/>
                <a:gd name="T43" fmla="*/ 476 h 497"/>
                <a:gd name="T44" fmla="*/ 364 w 949"/>
                <a:gd name="T45" fmla="*/ 476 h 497"/>
                <a:gd name="T46" fmla="*/ 737 w 949"/>
                <a:gd name="T47" fmla="*/ 192 h 497"/>
                <a:gd name="T48" fmla="*/ 756 w 949"/>
                <a:gd name="T49" fmla="*/ 255 h 497"/>
                <a:gd name="T50" fmla="*/ 881 w 949"/>
                <a:gd name="T51" fmla="*/ 452 h 497"/>
                <a:gd name="T52" fmla="*/ 879 w 949"/>
                <a:gd name="T53" fmla="*/ 462 h 497"/>
                <a:gd name="T54" fmla="*/ 914 w 949"/>
                <a:gd name="T55" fmla="*/ 497 h 497"/>
                <a:gd name="T56" fmla="*/ 949 w 949"/>
                <a:gd name="T57" fmla="*/ 462 h 497"/>
                <a:gd name="T58" fmla="*/ 914 w 949"/>
                <a:gd name="T59" fmla="*/ 427 h 497"/>
                <a:gd name="T60" fmla="*/ 67 w 949"/>
                <a:gd name="T61" fmla="*/ 448 h 497"/>
                <a:gd name="T62" fmla="*/ 63 w 949"/>
                <a:gd name="T63" fmla="*/ 442 h 497"/>
                <a:gd name="T64" fmla="*/ 242 w 949"/>
                <a:gd name="T65" fmla="*/ 158 h 497"/>
                <a:gd name="T66" fmla="*/ 347 w 949"/>
                <a:gd name="T67" fmla="*/ 448 h 497"/>
                <a:gd name="T68" fmla="*/ 67 w 949"/>
                <a:gd name="T69" fmla="*/ 448 h 497"/>
                <a:gd name="T70" fmla="*/ 372 w 949"/>
                <a:gd name="T71" fmla="*/ 435 h 497"/>
                <a:gd name="T72" fmla="*/ 264 w 949"/>
                <a:gd name="T73" fmla="*/ 139 h 497"/>
                <a:gd name="T74" fmla="*/ 720 w 949"/>
                <a:gd name="T75" fmla="*/ 139 h 497"/>
                <a:gd name="T76" fmla="*/ 728 w 949"/>
                <a:gd name="T77" fmla="*/ 164 h 497"/>
                <a:gd name="T78" fmla="*/ 372 w 949"/>
                <a:gd name="T79" fmla="*/ 435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49" h="497">
                  <a:moveTo>
                    <a:pt x="914" y="427"/>
                  </a:moveTo>
                  <a:cubicBezTo>
                    <a:pt x="909" y="427"/>
                    <a:pt x="903" y="429"/>
                    <a:pt x="899" y="431"/>
                  </a:cubicBezTo>
                  <a:cubicBezTo>
                    <a:pt x="845" y="381"/>
                    <a:pt x="805" y="318"/>
                    <a:pt x="783" y="247"/>
                  </a:cubicBezTo>
                  <a:cubicBezTo>
                    <a:pt x="740" y="112"/>
                    <a:pt x="740" y="112"/>
                    <a:pt x="740" y="112"/>
                  </a:cubicBezTo>
                  <a:cubicBezTo>
                    <a:pt x="740" y="112"/>
                    <a:pt x="740" y="112"/>
                    <a:pt x="740" y="112"/>
                  </a:cubicBezTo>
                  <a:cubicBezTo>
                    <a:pt x="727" y="69"/>
                    <a:pt x="727" y="69"/>
                    <a:pt x="727" y="69"/>
                  </a:cubicBezTo>
                  <a:cubicBezTo>
                    <a:pt x="805" y="69"/>
                    <a:pt x="805" y="69"/>
                    <a:pt x="805" y="69"/>
                  </a:cubicBezTo>
                  <a:cubicBezTo>
                    <a:pt x="812" y="69"/>
                    <a:pt x="818" y="63"/>
                    <a:pt x="818" y="55"/>
                  </a:cubicBezTo>
                  <a:cubicBezTo>
                    <a:pt x="818" y="48"/>
                    <a:pt x="812" y="41"/>
                    <a:pt x="805" y="41"/>
                  </a:cubicBezTo>
                  <a:cubicBezTo>
                    <a:pt x="725" y="41"/>
                    <a:pt x="725" y="41"/>
                    <a:pt x="725" y="41"/>
                  </a:cubicBezTo>
                  <a:cubicBezTo>
                    <a:pt x="717" y="41"/>
                    <a:pt x="709" y="45"/>
                    <a:pt x="704" y="52"/>
                  </a:cubicBezTo>
                  <a:cubicBezTo>
                    <a:pt x="699" y="59"/>
                    <a:pt x="698" y="68"/>
                    <a:pt x="700" y="75"/>
                  </a:cubicBezTo>
                  <a:cubicBezTo>
                    <a:pt x="712" y="112"/>
                    <a:pt x="712" y="112"/>
                    <a:pt x="712" y="112"/>
                  </a:cubicBezTo>
                  <a:cubicBezTo>
                    <a:pt x="254" y="112"/>
                    <a:pt x="254" y="112"/>
                    <a:pt x="254" y="112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188" y="9"/>
                    <a:pt x="188" y="9"/>
                    <a:pt x="188" y="9"/>
                  </a:cubicBezTo>
                  <a:cubicBezTo>
                    <a:pt x="230" y="126"/>
                    <a:pt x="230" y="126"/>
                    <a:pt x="230" y="126"/>
                  </a:cubicBezTo>
                  <a:cubicBezTo>
                    <a:pt x="40" y="428"/>
                    <a:pt x="40" y="428"/>
                    <a:pt x="40" y="428"/>
                  </a:cubicBezTo>
                  <a:cubicBezTo>
                    <a:pt x="38" y="427"/>
                    <a:pt x="37" y="427"/>
                    <a:pt x="35" y="427"/>
                  </a:cubicBezTo>
                  <a:cubicBezTo>
                    <a:pt x="16" y="427"/>
                    <a:pt x="0" y="443"/>
                    <a:pt x="0" y="462"/>
                  </a:cubicBezTo>
                  <a:cubicBezTo>
                    <a:pt x="0" y="481"/>
                    <a:pt x="16" y="497"/>
                    <a:pt x="35" y="497"/>
                  </a:cubicBezTo>
                  <a:cubicBezTo>
                    <a:pt x="49" y="497"/>
                    <a:pt x="61" y="488"/>
                    <a:pt x="67" y="476"/>
                  </a:cubicBezTo>
                  <a:cubicBezTo>
                    <a:pt x="364" y="476"/>
                    <a:pt x="364" y="476"/>
                    <a:pt x="364" y="476"/>
                  </a:cubicBezTo>
                  <a:cubicBezTo>
                    <a:pt x="737" y="192"/>
                    <a:pt x="737" y="192"/>
                    <a:pt x="737" y="192"/>
                  </a:cubicBezTo>
                  <a:cubicBezTo>
                    <a:pt x="756" y="255"/>
                    <a:pt x="756" y="255"/>
                    <a:pt x="756" y="255"/>
                  </a:cubicBezTo>
                  <a:cubicBezTo>
                    <a:pt x="780" y="331"/>
                    <a:pt x="823" y="398"/>
                    <a:pt x="881" y="452"/>
                  </a:cubicBezTo>
                  <a:cubicBezTo>
                    <a:pt x="880" y="455"/>
                    <a:pt x="879" y="458"/>
                    <a:pt x="879" y="462"/>
                  </a:cubicBezTo>
                  <a:cubicBezTo>
                    <a:pt x="879" y="481"/>
                    <a:pt x="895" y="497"/>
                    <a:pt x="914" y="497"/>
                  </a:cubicBezTo>
                  <a:cubicBezTo>
                    <a:pt x="933" y="497"/>
                    <a:pt x="949" y="481"/>
                    <a:pt x="949" y="462"/>
                  </a:cubicBezTo>
                  <a:cubicBezTo>
                    <a:pt x="949" y="443"/>
                    <a:pt x="933" y="427"/>
                    <a:pt x="914" y="427"/>
                  </a:cubicBezTo>
                  <a:close/>
                  <a:moveTo>
                    <a:pt x="67" y="448"/>
                  </a:moveTo>
                  <a:cubicBezTo>
                    <a:pt x="66" y="446"/>
                    <a:pt x="65" y="444"/>
                    <a:pt x="63" y="442"/>
                  </a:cubicBezTo>
                  <a:cubicBezTo>
                    <a:pt x="242" y="158"/>
                    <a:pt x="242" y="158"/>
                    <a:pt x="242" y="158"/>
                  </a:cubicBezTo>
                  <a:cubicBezTo>
                    <a:pt x="347" y="448"/>
                    <a:pt x="347" y="448"/>
                    <a:pt x="347" y="448"/>
                  </a:cubicBezTo>
                  <a:lnTo>
                    <a:pt x="67" y="448"/>
                  </a:lnTo>
                  <a:close/>
                  <a:moveTo>
                    <a:pt x="372" y="435"/>
                  </a:moveTo>
                  <a:cubicBezTo>
                    <a:pt x="264" y="139"/>
                    <a:pt x="264" y="139"/>
                    <a:pt x="264" y="139"/>
                  </a:cubicBezTo>
                  <a:cubicBezTo>
                    <a:pt x="720" y="139"/>
                    <a:pt x="720" y="139"/>
                    <a:pt x="720" y="139"/>
                  </a:cubicBezTo>
                  <a:cubicBezTo>
                    <a:pt x="728" y="164"/>
                    <a:pt x="728" y="164"/>
                    <a:pt x="728" y="164"/>
                  </a:cubicBezTo>
                  <a:lnTo>
                    <a:pt x="372" y="435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26">
              <a:extLst>
                <a:ext uri="{FF2B5EF4-FFF2-40B4-BE49-F238E27FC236}">
                  <a16:creationId xmlns:a16="http://schemas.microsoft.com/office/drawing/2014/main" id="{AC379A4B-4A66-482F-B799-3D209B7AE9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5" y="3485"/>
              <a:ext cx="215" cy="215"/>
            </a:xfrm>
            <a:prstGeom prst="ellipse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7">
              <a:extLst>
                <a:ext uri="{FF2B5EF4-FFF2-40B4-BE49-F238E27FC236}">
                  <a16:creationId xmlns:a16="http://schemas.microsoft.com/office/drawing/2014/main" id="{85669C97-560C-44C7-9B46-4EA13BC455BD}"/>
                </a:ext>
              </a:extLst>
            </p:cNvPr>
            <p:cNvSpPr>
              <a:spLocks/>
            </p:cNvSpPr>
            <p:nvPr/>
          </p:nvSpPr>
          <p:spPr bwMode="gray">
            <a:xfrm>
              <a:off x="5501" y="3543"/>
              <a:ext cx="51" cy="113"/>
            </a:xfrm>
            <a:custGeom>
              <a:avLst/>
              <a:gdLst>
                <a:gd name="T0" fmla="*/ 19 w 37"/>
                <a:gd name="T1" fmla="*/ 82 h 82"/>
                <a:gd name="T2" fmla="*/ 19 w 37"/>
                <a:gd name="T3" fmla="*/ 82 h 82"/>
                <a:gd name="T4" fmla="*/ 0 w 37"/>
                <a:gd name="T5" fmla="*/ 64 h 82"/>
                <a:gd name="T6" fmla="*/ 0 w 37"/>
                <a:gd name="T7" fmla="*/ 18 h 82"/>
                <a:gd name="T8" fmla="*/ 19 w 37"/>
                <a:gd name="T9" fmla="*/ 0 h 82"/>
                <a:gd name="T10" fmla="*/ 19 w 37"/>
                <a:gd name="T11" fmla="*/ 0 h 82"/>
                <a:gd name="T12" fmla="*/ 37 w 37"/>
                <a:gd name="T13" fmla="*/ 18 h 82"/>
                <a:gd name="T14" fmla="*/ 37 w 37"/>
                <a:gd name="T15" fmla="*/ 64 h 82"/>
                <a:gd name="T16" fmla="*/ 19 w 37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82">
                  <a:moveTo>
                    <a:pt x="19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8" y="82"/>
                    <a:pt x="0" y="74"/>
                    <a:pt x="0" y="6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9" y="0"/>
                    <a:pt x="37" y="8"/>
                    <a:pt x="37" y="18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74"/>
                    <a:pt x="29" y="82"/>
                    <a:pt x="19" y="82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8">
              <a:extLst>
                <a:ext uri="{FF2B5EF4-FFF2-40B4-BE49-F238E27FC236}">
                  <a16:creationId xmlns:a16="http://schemas.microsoft.com/office/drawing/2014/main" id="{E470B238-C50D-4CAA-AB00-583CEC7D536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94" y="3715"/>
              <a:ext cx="100" cy="100"/>
            </a:xfrm>
            <a:custGeom>
              <a:avLst/>
              <a:gdLst>
                <a:gd name="T0" fmla="*/ 7 w 73"/>
                <a:gd name="T1" fmla="*/ 66 h 73"/>
                <a:gd name="T2" fmla="*/ 7 w 73"/>
                <a:gd name="T3" fmla="*/ 66 h 73"/>
                <a:gd name="T4" fmla="*/ 7 w 73"/>
                <a:gd name="T5" fmla="*/ 40 h 73"/>
                <a:gd name="T6" fmla="*/ 40 w 73"/>
                <a:gd name="T7" fmla="*/ 7 h 73"/>
                <a:gd name="T8" fmla="*/ 66 w 73"/>
                <a:gd name="T9" fmla="*/ 7 h 73"/>
                <a:gd name="T10" fmla="*/ 66 w 73"/>
                <a:gd name="T11" fmla="*/ 7 h 73"/>
                <a:gd name="T12" fmla="*/ 66 w 73"/>
                <a:gd name="T13" fmla="*/ 33 h 73"/>
                <a:gd name="T14" fmla="*/ 33 w 73"/>
                <a:gd name="T15" fmla="*/ 66 h 73"/>
                <a:gd name="T16" fmla="*/ 7 w 73"/>
                <a:gd name="T17" fmla="*/ 6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73">
                  <a:moveTo>
                    <a:pt x="7" y="66"/>
                  </a:moveTo>
                  <a:cubicBezTo>
                    <a:pt x="7" y="66"/>
                    <a:pt x="7" y="66"/>
                    <a:pt x="7" y="66"/>
                  </a:cubicBezTo>
                  <a:cubicBezTo>
                    <a:pt x="0" y="58"/>
                    <a:pt x="0" y="47"/>
                    <a:pt x="7" y="40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7" y="0"/>
                    <a:pt x="58" y="0"/>
                    <a:pt x="66" y="7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73" y="14"/>
                    <a:pt x="73" y="26"/>
                    <a:pt x="66" y="33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26" y="73"/>
                    <a:pt x="14" y="73"/>
                    <a:pt x="7" y="66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9">
              <a:extLst>
                <a:ext uri="{FF2B5EF4-FFF2-40B4-BE49-F238E27FC236}">
                  <a16:creationId xmlns:a16="http://schemas.microsoft.com/office/drawing/2014/main" id="{4558990B-B6AA-4AB1-948F-85951205B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8" y="2887"/>
              <a:ext cx="677" cy="521"/>
            </a:xfrm>
            <a:custGeom>
              <a:avLst/>
              <a:gdLst>
                <a:gd name="T0" fmla="*/ 0 w 492"/>
                <a:gd name="T1" fmla="*/ 0 h 378"/>
                <a:gd name="T2" fmla="*/ 0 w 492"/>
                <a:gd name="T3" fmla="*/ 0 h 378"/>
                <a:gd name="T4" fmla="*/ 61 w 492"/>
                <a:gd name="T5" fmla="*/ 93 h 378"/>
                <a:gd name="T6" fmla="*/ 279 w 492"/>
                <a:gd name="T7" fmla="*/ 187 h 378"/>
                <a:gd name="T8" fmla="*/ 101 w 492"/>
                <a:gd name="T9" fmla="*/ 333 h 378"/>
                <a:gd name="T10" fmla="*/ 154 w 492"/>
                <a:gd name="T11" fmla="*/ 378 h 378"/>
                <a:gd name="T12" fmla="*/ 466 w 492"/>
                <a:gd name="T13" fmla="*/ 208 h 378"/>
                <a:gd name="T14" fmla="*/ 470 w 492"/>
                <a:gd name="T15" fmla="*/ 147 h 378"/>
                <a:gd name="T16" fmla="*/ 265 w 492"/>
                <a:gd name="T17" fmla="*/ 0 h 378"/>
                <a:gd name="T18" fmla="*/ 0 w 492"/>
                <a:gd name="T19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2" h="37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24" y="77"/>
                    <a:pt x="61" y="93"/>
                  </a:cubicBezTo>
                  <a:cubicBezTo>
                    <a:pt x="279" y="187"/>
                    <a:pt x="279" y="187"/>
                    <a:pt x="279" y="187"/>
                  </a:cubicBezTo>
                  <a:cubicBezTo>
                    <a:pt x="101" y="333"/>
                    <a:pt x="101" y="333"/>
                    <a:pt x="101" y="333"/>
                  </a:cubicBezTo>
                  <a:cubicBezTo>
                    <a:pt x="154" y="378"/>
                    <a:pt x="154" y="378"/>
                    <a:pt x="154" y="378"/>
                  </a:cubicBezTo>
                  <a:cubicBezTo>
                    <a:pt x="466" y="208"/>
                    <a:pt x="466" y="208"/>
                    <a:pt x="466" y="208"/>
                  </a:cubicBezTo>
                  <a:cubicBezTo>
                    <a:pt x="490" y="195"/>
                    <a:pt x="492" y="162"/>
                    <a:pt x="470" y="147"/>
                  </a:cubicBezTo>
                  <a:cubicBezTo>
                    <a:pt x="265" y="0"/>
                    <a:pt x="265" y="0"/>
                    <a:pt x="2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30">
              <a:extLst>
                <a:ext uri="{FF2B5EF4-FFF2-40B4-BE49-F238E27FC236}">
                  <a16:creationId xmlns:a16="http://schemas.microsoft.com/office/drawing/2014/main" id="{FF035662-2FAA-471F-88DC-0D4F60D02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8" y="2887"/>
              <a:ext cx="364" cy="75"/>
            </a:xfrm>
            <a:custGeom>
              <a:avLst/>
              <a:gdLst>
                <a:gd name="T0" fmla="*/ 265 w 265"/>
                <a:gd name="T1" fmla="*/ 0 h 54"/>
                <a:gd name="T2" fmla="*/ 0 w 265"/>
                <a:gd name="T3" fmla="*/ 0 h 54"/>
                <a:gd name="T4" fmla="*/ 16 w 265"/>
                <a:gd name="T5" fmla="*/ 54 h 54"/>
                <a:gd name="T6" fmla="*/ 265 w 265"/>
                <a:gd name="T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5" h="54">
                  <a:moveTo>
                    <a:pt x="26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0"/>
                    <a:pt x="6" y="38"/>
                    <a:pt x="16" y="54"/>
                  </a:cubicBezTo>
                  <a:cubicBezTo>
                    <a:pt x="71" y="41"/>
                    <a:pt x="257" y="0"/>
                    <a:pt x="265" y="0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31">
              <a:extLst>
                <a:ext uri="{FF2B5EF4-FFF2-40B4-BE49-F238E27FC236}">
                  <a16:creationId xmlns:a16="http://schemas.microsoft.com/office/drawing/2014/main" id="{074B765D-509D-48D8-806D-075279A19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" y="3081"/>
              <a:ext cx="82" cy="64"/>
            </a:xfrm>
            <a:custGeom>
              <a:avLst/>
              <a:gdLst>
                <a:gd name="T0" fmla="*/ 3 w 60"/>
                <a:gd name="T1" fmla="*/ 46 h 46"/>
                <a:gd name="T2" fmla="*/ 60 w 60"/>
                <a:gd name="T3" fmla="*/ 9 h 46"/>
                <a:gd name="T4" fmla="*/ 3 w 60"/>
                <a:gd name="T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46">
                  <a:moveTo>
                    <a:pt x="3" y="46"/>
                  </a:moveTo>
                  <a:cubicBezTo>
                    <a:pt x="60" y="9"/>
                    <a:pt x="60" y="9"/>
                    <a:pt x="60" y="9"/>
                  </a:cubicBezTo>
                  <a:cubicBezTo>
                    <a:pt x="60" y="9"/>
                    <a:pt x="0" y="0"/>
                    <a:pt x="3" y="46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2">
              <a:extLst>
                <a:ext uri="{FF2B5EF4-FFF2-40B4-BE49-F238E27FC236}">
                  <a16:creationId xmlns:a16="http://schemas.microsoft.com/office/drawing/2014/main" id="{EDF168B7-785F-4707-8FEB-AC1B284042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68" y="2991"/>
              <a:ext cx="33" cy="96"/>
            </a:xfrm>
            <a:prstGeom prst="rect">
              <a:avLst/>
            </a:pr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33">
              <a:extLst>
                <a:ext uri="{FF2B5EF4-FFF2-40B4-BE49-F238E27FC236}">
                  <a16:creationId xmlns:a16="http://schemas.microsoft.com/office/drawing/2014/main" id="{884AB54B-E7E8-41B2-870E-D3E89318944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3" y="2657"/>
              <a:ext cx="188" cy="88"/>
            </a:xfrm>
            <a:custGeom>
              <a:avLst/>
              <a:gdLst>
                <a:gd name="T0" fmla="*/ 0 w 188"/>
                <a:gd name="T1" fmla="*/ 88 h 88"/>
                <a:gd name="T2" fmla="*/ 89 w 188"/>
                <a:gd name="T3" fmla="*/ 0 h 88"/>
                <a:gd name="T4" fmla="*/ 188 w 188"/>
                <a:gd name="T5" fmla="*/ 0 h 88"/>
                <a:gd name="T6" fmla="*/ 188 w 188"/>
                <a:gd name="T7" fmla="*/ 88 h 88"/>
                <a:gd name="T8" fmla="*/ 0 w 188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88">
                  <a:moveTo>
                    <a:pt x="0" y="88"/>
                  </a:moveTo>
                  <a:lnTo>
                    <a:pt x="89" y="0"/>
                  </a:lnTo>
                  <a:lnTo>
                    <a:pt x="188" y="0"/>
                  </a:lnTo>
                  <a:lnTo>
                    <a:pt x="188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ED8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4">
              <a:extLst>
                <a:ext uri="{FF2B5EF4-FFF2-40B4-BE49-F238E27FC236}">
                  <a16:creationId xmlns:a16="http://schemas.microsoft.com/office/drawing/2014/main" id="{D09443EE-4816-4FA4-A824-94C77E6F82F5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2" y="2480"/>
              <a:ext cx="312" cy="483"/>
            </a:xfrm>
            <a:custGeom>
              <a:avLst/>
              <a:gdLst>
                <a:gd name="T0" fmla="*/ 131 w 226"/>
                <a:gd name="T1" fmla="*/ 226 h 351"/>
                <a:gd name="T2" fmla="*/ 112 w 226"/>
                <a:gd name="T3" fmla="*/ 176 h 351"/>
                <a:gd name="T4" fmla="*/ 112 w 226"/>
                <a:gd name="T5" fmla="*/ 90 h 351"/>
                <a:gd name="T6" fmla="*/ 217 w 226"/>
                <a:gd name="T7" fmla="*/ 90 h 351"/>
                <a:gd name="T8" fmla="*/ 167 w 226"/>
                <a:gd name="T9" fmla="*/ 22 h 351"/>
                <a:gd name="T10" fmla="*/ 109 w 226"/>
                <a:gd name="T11" fmla="*/ 58 h 351"/>
                <a:gd name="T12" fmla="*/ 109 w 226"/>
                <a:gd name="T13" fmla="*/ 59 h 351"/>
                <a:gd name="T14" fmla="*/ 33 w 226"/>
                <a:gd name="T15" fmla="*/ 0 h 351"/>
                <a:gd name="T16" fmla="*/ 0 w 226"/>
                <a:gd name="T17" fmla="*/ 0 h 351"/>
                <a:gd name="T18" fmla="*/ 15 w 226"/>
                <a:gd name="T19" fmla="*/ 195 h 351"/>
                <a:gd name="T20" fmla="*/ 62 w 226"/>
                <a:gd name="T21" fmla="*/ 276 h 351"/>
                <a:gd name="T22" fmla="*/ 182 w 226"/>
                <a:gd name="T23" fmla="*/ 351 h 351"/>
                <a:gd name="T24" fmla="*/ 226 w 226"/>
                <a:gd name="T25" fmla="*/ 324 h 351"/>
                <a:gd name="T26" fmla="*/ 131 w 226"/>
                <a:gd name="T27" fmla="*/ 226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351">
                  <a:moveTo>
                    <a:pt x="131" y="226"/>
                  </a:moveTo>
                  <a:cubicBezTo>
                    <a:pt x="119" y="212"/>
                    <a:pt x="112" y="194"/>
                    <a:pt x="112" y="176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38" y="90"/>
                    <a:pt x="196" y="90"/>
                    <a:pt x="217" y="90"/>
                  </a:cubicBezTo>
                  <a:cubicBezTo>
                    <a:pt x="194" y="51"/>
                    <a:pt x="167" y="22"/>
                    <a:pt x="167" y="22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9"/>
                    <a:pt x="109" y="59"/>
                    <a:pt x="109" y="59"/>
                  </a:cubicBezTo>
                  <a:cubicBezTo>
                    <a:pt x="100" y="25"/>
                    <a:pt x="69" y="0"/>
                    <a:pt x="3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195"/>
                    <a:pt x="15" y="195"/>
                    <a:pt x="15" y="195"/>
                  </a:cubicBezTo>
                  <a:cubicBezTo>
                    <a:pt x="17" y="228"/>
                    <a:pt x="35" y="258"/>
                    <a:pt x="62" y="276"/>
                  </a:cubicBezTo>
                  <a:cubicBezTo>
                    <a:pt x="182" y="351"/>
                    <a:pt x="182" y="351"/>
                    <a:pt x="182" y="351"/>
                  </a:cubicBezTo>
                  <a:cubicBezTo>
                    <a:pt x="226" y="324"/>
                    <a:pt x="226" y="324"/>
                    <a:pt x="226" y="324"/>
                  </a:cubicBezTo>
                  <a:lnTo>
                    <a:pt x="131" y="226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5">
              <a:extLst>
                <a:ext uri="{FF2B5EF4-FFF2-40B4-BE49-F238E27FC236}">
                  <a16:creationId xmlns:a16="http://schemas.microsoft.com/office/drawing/2014/main" id="{58BCA043-65F6-43EF-9123-F422994E60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9" y="2604"/>
              <a:ext cx="81" cy="82"/>
            </a:xfrm>
            <a:custGeom>
              <a:avLst/>
              <a:gdLst>
                <a:gd name="T0" fmla="*/ 19 w 81"/>
                <a:gd name="T1" fmla="*/ 82 h 82"/>
                <a:gd name="T2" fmla="*/ 0 w 81"/>
                <a:gd name="T3" fmla="*/ 62 h 82"/>
                <a:gd name="T4" fmla="*/ 62 w 81"/>
                <a:gd name="T5" fmla="*/ 0 h 82"/>
                <a:gd name="T6" fmla="*/ 81 w 81"/>
                <a:gd name="T7" fmla="*/ 19 h 82"/>
                <a:gd name="T8" fmla="*/ 19 w 81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2">
                  <a:moveTo>
                    <a:pt x="19" y="82"/>
                  </a:moveTo>
                  <a:lnTo>
                    <a:pt x="0" y="62"/>
                  </a:lnTo>
                  <a:lnTo>
                    <a:pt x="62" y="0"/>
                  </a:lnTo>
                  <a:lnTo>
                    <a:pt x="81" y="19"/>
                  </a:lnTo>
                  <a:lnTo>
                    <a:pt x="19" y="82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6">
              <a:extLst>
                <a:ext uri="{FF2B5EF4-FFF2-40B4-BE49-F238E27FC236}">
                  <a16:creationId xmlns:a16="http://schemas.microsoft.com/office/drawing/2014/main" id="{A3C24DF5-F11D-4F6C-A7ED-16CBBA45336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" y="2568"/>
              <a:ext cx="116" cy="231"/>
            </a:xfrm>
            <a:custGeom>
              <a:avLst/>
              <a:gdLst>
                <a:gd name="T0" fmla="*/ 68 w 84"/>
                <a:gd name="T1" fmla="*/ 55 h 168"/>
                <a:gd name="T2" fmla="*/ 61 w 84"/>
                <a:gd name="T3" fmla="*/ 0 h 168"/>
                <a:gd name="T4" fmla="*/ 46 w 84"/>
                <a:gd name="T5" fmla="*/ 33 h 168"/>
                <a:gd name="T6" fmla="*/ 46 w 84"/>
                <a:gd name="T7" fmla="*/ 34 h 168"/>
                <a:gd name="T8" fmla="*/ 45 w 84"/>
                <a:gd name="T9" fmla="*/ 34 h 168"/>
                <a:gd name="T10" fmla="*/ 0 w 84"/>
                <a:gd name="T11" fmla="*/ 132 h 168"/>
                <a:gd name="T12" fmla="*/ 20 w 84"/>
                <a:gd name="T13" fmla="*/ 168 h 168"/>
                <a:gd name="T14" fmla="*/ 84 w 84"/>
                <a:gd name="T15" fmla="*/ 81 h 168"/>
                <a:gd name="T16" fmla="*/ 68 w 84"/>
                <a:gd name="T17" fmla="*/ 5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168">
                  <a:moveTo>
                    <a:pt x="68" y="55"/>
                  </a:moveTo>
                  <a:cubicBezTo>
                    <a:pt x="69" y="52"/>
                    <a:pt x="76" y="23"/>
                    <a:pt x="61" y="0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5" y="34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84" y="81"/>
                    <a:pt x="84" y="81"/>
                    <a:pt x="84" y="81"/>
                  </a:cubicBezTo>
                  <a:lnTo>
                    <a:pt x="68" y="55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7">
              <a:extLst>
                <a:ext uri="{FF2B5EF4-FFF2-40B4-BE49-F238E27FC236}">
                  <a16:creationId xmlns:a16="http://schemas.microsoft.com/office/drawing/2014/main" id="{EC7845BE-9355-4F6B-A929-50529E50D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5" y="2372"/>
              <a:ext cx="882" cy="609"/>
            </a:xfrm>
            <a:custGeom>
              <a:avLst/>
              <a:gdLst>
                <a:gd name="T0" fmla="*/ 474 w 641"/>
                <a:gd name="T1" fmla="*/ 0 h 442"/>
                <a:gd name="T2" fmla="*/ 473 w 641"/>
                <a:gd name="T3" fmla="*/ 0 h 442"/>
                <a:gd name="T4" fmla="*/ 473 w 641"/>
                <a:gd name="T5" fmla="*/ 34 h 442"/>
                <a:gd name="T6" fmla="*/ 459 w 641"/>
                <a:gd name="T7" fmla="*/ 34 h 442"/>
                <a:gd name="T8" fmla="*/ 99 w 641"/>
                <a:gd name="T9" fmla="*/ 226 h 442"/>
                <a:gd name="T10" fmla="*/ 0 w 641"/>
                <a:gd name="T11" fmla="*/ 374 h 442"/>
                <a:gd name="T12" fmla="*/ 29 w 641"/>
                <a:gd name="T13" fmla="*/ 381 h 442"/>
                <a:gd name="T14" fmla="*/ 361 w 641"/>
                <a:gd name="T15" fmla="*/ 375 h 442"/>
                <a:gd name="T16" fmla="*/ 361 w 641"/>
                <a:gd name="T17" fmla="*/ 375 h 442"/>
                <a:gd name="T18" fmla="*/ 416 w 641"/>
                <a:gd name="T19" fmla="*/ 442 h 442"/>
                <a:gd name="T20" fmla="*/ 471 w 641"/>
                <a:gd name="T21" fmla="*/ 414 h 442"/>
                <a:gd name="T22" fmla="*/ 394 w 641"/>
                <a:gd name="T23" fmla="*/ 274 h 442"/>
                <a:gd name="T24" fmla="*/ 439 w 641"/>
                <a:gd name="T25" fmla="*/ 176 h 442"/>
                <a:gd name="T26" fmla="*/ 440 w 641"/>
                <a:gd name="T27" fmla="*/ 176 h 442"/>
                <a:gd name="T28" fmla="*/ 440 w 641"/>
                <a:gd name="T29" fmla="*/ 175 h 442"/>
                <a:gd name="T30" fmla="*/ 451 w 641"/>
                <a:gd name="T31" fmla="*/ 150 h 442"/>
                <a:gd name="T32" fmla="*/ 455 w 641"/>
                <a:gd name="T33" fmla="*/ 142 h 442"/>
                <a:gd name="T34" fmla="*/ 462 w 641"/>
                <a:gd name="T35" fmla="*/ 197 h 442"/>
                <a:gd name="T36" fmla="*/ 473 w 641"/>
                <a:gd name="T37" fmla="*/ 215 h 442"/>
                <a:gd name="T38" fmla="*/ 531 w 641"/>
                <a:gd name="T39" fmla="*/ 130 h 442"/>
                <a:gd name="T40" fmla="*/ 531 w 641"/>
                <a:gd name="T41" fmla="*/ 126 h 442"/>
                <a:gd name="T42" fmla="*/ 572 w 641"/>
                <a:gd name="T43" fmla="*/ 100 h 442"/>
                <a:gd name="T44" fmla="*/ 622 w 641"/>
                <a:gd name="T45" fmla="*/ 168 h 442"/>
                <a:gd name="T46" fmla="*/ 641 w 641"/>
                <a:gd name="T47" fmla="*/ 168 h 442"/>
                <a:gd name="T48" fmla="*/ 641 w 641"/>
                <a:gd name="T49" fmla="*/ 168 h 442"/>
                <a:gd name="T50" fmla="*/ 474 w 641"/>
                <a:gd name="T5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1" h="442">
                  <a:moveTo>
                    <a:pt x="474" y="0"/>
                  </a:moveTo>
                  <a:cubicBezTo>
                    <a:pt x="473" y="0"/>
                    <a:pt x="473" y="0"/>
                    <a:pt x="473" y="0"/>
                  </a:cubicBezTo>
                  <a:cubicBezTo>
                    <a:pt x="473" y="34"/>
                    <a:pt x="473" y="34"/>
                    <a:pt x="473" y="34"/>
                  </a:cubicBezTo>
                  <a:cubicBezTo>
                    <a:pt x="459" y="34"/>
                    <a:pt x="459" y="34"/>
                    <a:pt x="459" y="34"/>
                  </a:cubicBezTo>
                  <a:cubicBezTo>
                    <a:pt x="314" y="34"/>
                    <a:pt x="179" y="106"/>
                    <a:pt x="99" y="226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29" y="381"/>
                    <a:pt x="29" y="381"/>
                    <a:pt x="29" y="381"/>
                  </a:cubicBezTo>
                  <a:cubicBezTo>
                    <a:pt x="138" y="406"/>
                    <a:pt x="253" y="405"/>
                    <a:pt x="361" y="375"/>
                  </a:cubicBezTo>
                  <a:cubicBezTo>
                    <a:pt x="361" y="375"/>
                    <a:pt x="361" y="375"/>
                    <a:pt x="361" y="375"/>
                  </a:cubicBezTo>
                  <a:cubicBezTo>
                    <a:pt x="416" y="442"/>
                    <a:pt x="416" y="442"/>
                    <a:pt x="416" y="442"/>
                  </a:cubicBezTo>
                  <a:cubicBezTo>
                    <a:pt x="471" y="414"/>
                    <a:pt x="471" y="414"/>
                    <a:pt x="471" y="414"/>
                  </a:cubicBezTo>
                  <a:cubicBezTo>
                    <a:pt x="394" y="274"/>
                    <a:pt x="394" y="274"/>
                    <a:pt x="394" y="274"/>
                  </a:cubicBezTo>
                  <a:cubicBezTo>
                    <a:pt x="439" y="176"/>
                    <a:pt x="439" y="176"/>
                    <a:pt x="439" y="176"/>
                  </a:cubicBezTo>
                  <a:cubicBezTo>
                    <a:pt x="440" y="176"/>
                    <a:pt x="440" y="176"/>
                    <a:pt x="440" y="176"/>
                  </a:cubicBezTo>
                  <a:cubicBezTo>
                    <a:pt x="440" y="175"/>
                    <a:pt x="440" y="175"/>
                    <a:pt x="440" y="175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5" y="142"/>
                    <a:pt x="455" y="142"/>
                    <a:pt x="455" y="142"/>
                  </a:cubicBezTo>
                  <a:cubicBezTo>
                    <a:pt x="470" y="165"/>
                    <a:pt x="463" y="194"/>
                    <a:pt x="462" y="197"/>
                  </a:cubicBezTo>
                  <a:cubicBezTo>
                    <a:pt x="473" y="215"/>
                    <a:pt x="473" y="215"/>
                    <a:pt x="473" y="215"/>
                  </a:cubicBezTo>
                  <a:cubicBezTo>
                    <a:pt x="531" y="130"/>
                    <a:pt x="531" y="130"/>
                    <a:pt x="531" y="130"/>
                  </a:cubicBezTo>
                  <a:cubicBezTo>
                    <a:pt x="531" y="126"/>
                    <a:pt x="531" y="126"/>
                    <a:pt x="531" y="126"/>
                  </a:cubicBezTo>
                  <a:cubicBezTo>
                    <a:pt x="572" y="100"/>
                    <a:pt x="572" y="100"/>
                    <a:pt x="572" y="100"/>
                  </a:cubicBezTo>
                  <a:cubicBezTo>
                    <a:pt x="572" y="100"/>
                    <a:pt x="599" y="129"/>
                    <a:pt x="622" y="168"/>
                  </a:cubicBezTo>
                  <a:cubicBezTo>
                    <a:pt x="641" y="168"/>
                    <a:pt x="641" y="168"/>
                    <a:pt x="641" y="168"/>
                  </a:cubicBezTo>
                  <a:cubicBezTo>
                    <a:pt x="641" y="168"/>
                    <a:pt x="641" y="168"/>
                    <a:pt x="641" y="168"/>
                  </a:cubicBezTo>
                  <a:cubicBezTo>
                    <a:pt x="602" y="98"/>
                    <a:pt x="544" y="39"/>
                    <a:pt x="474" y="0"/>
                  </a:cubicBez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8">
              <a:extLst>
                <a:ext uri="{FF2B5EF4-FFF2-40B4-BE49-F238E27FC236}">
                  <a16:creationId xmlns:a16="http://schemas.microsoft.com/office/drawing/2014/main" id="{5DD497B8-7ABC-4E88-AF33-31E128108FD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85" y="2747"/>
              <a:ext cx="231" cy="191"/>
            </a:xfrm>
            <a:custGeom>
              <a:avLst/>
              <a:gdLst>
                <a:gd name="T0" fmla="*/ 101 w 168"/>
                <a:gd name="T1" fmla="*/ 26 h 139"/>
                <a:gd name="T2" fmla="*/ 92 w 168"/>
                <a:gd name="T3" fmla="*/ 0 h 139"/>
                <a:gd name="T4" fmla="*/ 0 w 168"/>
                <a:gd name="T5" fmla="*/ 139 h 139"/>
                <a:gd name="T6" fmla="*/ 146 w 168"/>
                <a:gd name="T7" fmla="*/ 135 h 139"/>
                <a:gd name="T8" fmla="*/ 168 w 168"/>
                <a:gd name="T9" fmla="*/ 106 h 139"/>
                <a:gd name="T10" fmla="*/ 101 w 168"/>
                <a:gd name="T11" fmla="*/ 26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139">
                  <a:moveTo>
                    <a:pt x="101" y="26"/>
                  </a:moveTo>
                  <a:cubicBezTo>
                    <a:pt x="95" y="18"/>
                    <a:pt x="92" y="9"/>
                    <a:pt x="92" y="0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146" y="135"/>
                    <a:pt x="146" y="135"/>
                    <a:pt x="146" y="135"/>
                  </a:cubicBezTo>
                  <a:cubicBezTo>
                    <a:pt x="168" y="106"/>
                    <a:pt x="168" y="106"/>
                    <a:pt x="168" y="106"/>
                  </a:cubicBezTo>
                  <a:lnTo>
                    <a:pt x="101" y="26"/>
                  </a:lnTo>
                  <a:close/>
                </a:path>
              </a:pathLst>
            </a:custGeom>
            <a:solidFill>
              <a:srgbClr val="BA36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9">
              <a:extLst>
                <a:ext uri="{FF2B5EF4-FFF2-40B4-BE49-F238E27FC236}">
                  <a16:creationId xmlns:a16="http://schemas.microsoft.com/office/drawing/2014/main" id="{DB65CE35-2BE5-4BC9-B82B-0B59CA2D76C4}"/>
                </a:ext>
              </a:extLst>
            </p:cNvPr>
            <p:cNvSpPr>
              <a:spLocks/>
            </p:cNvSpPr>
            <p:nvPr/>
          </p:nvSpPr>
          <p:spPr bwMode="gray">
            <a:xfrm>
              <a:off x="6415" y="3653"/>
              <a:ext cx="149" cy="69"/>
            </a:xfrm>
            <a:custGeom>
              <a:avLst/>
              <a:gdLst>
                <a:gd name="T0" fmla="*/ 149 w 149"/>
                <a:gd name="T1" fmla="*/ 39 h 69"/>
                <a:gd name="T2" fmla="*/ 81 w 149"/>
                <a:gd name="T3" fmla="*/ 65 h 69"/>
                <a:gd name="T4" fmla="*/ 8 w 149"/>
                <a:gd name="T5" fmla="*/ 69 h 69"/>
                <a:gd name="T6" fmla="*/ 0 w 149"/>
                <a:gd name="T7" fmla="*/ 30 h 69"/>
                <a:gd name="T8" fmla="*/ 68 w 149"/>
                <a:gd name="T9" fmla="*/ 4 h 69"/>
                <a:gd name="T10" fmla="*/ 141 w 149"/>
                <a:gd name="T11" fmla="*/ 0 h 69"/>
                <a:gd name="T12" fmla="*/ 149 w 149"/>
                <a:gd name="T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69">
                  <a:moveTo>
                    <a:pt x="149" y="39"/>
                  </a:moveTo>
                  <a:lnTo>
                    <a:pt x="81" y="65"/>
                  </a:lnTo>
                  <a:lnTo>
                    <a:pt x="8" y="69"/>
                  </a:lnTo>
                  <a:lnTo>
                    <a:pt x="0" y="30"/>
                  </a:lnTo>
                  <a:lnTo>
                    <a:pt x="68" y="4"/>
                  </a:lnTo>
                  <a:lnTo>
                    <a:pt x="141" y="0"/>
                  </a:lnTo>
                  <a:lnTo>
                    <a:pt x="149" y="39"/>
                  </a:ln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Line 40">
              <a:extLst>
                <a:ext uri="{FF2B5EF4-FFF2-40B4-BE49-F238E27FC236}">
                  <a16:creationId xmlns:a16="http://schemas.microsoft.com/office/drawing/2014/main" id="{973D1DA3-D039-4040-BFC7-08CA9029495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5940" y="3489"/>
              <a:ext cx="0" cy="0"/>
            </a:xfrm>
            <a:prstGeom prst="line">
              <a:avLst/>
            </a:prstGeom>
            <a:noFill/>
            <a:ln w="58738" cap="flat">
              <a:solidFill>
                <a:srgbClr val="004B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41">
              <a:extLst>
                <a:ext uri="{FF2B5EF4-FFF2-40B4-BE49-F238E27FC236}">
                  <a16:creationId xmlns:a16="http://schemas.microsoft.com/office/drawing/2014/main" id="{B438E672-CB2C-4A37-8BA7-5178C2403BF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0" y="3479"/>
              <a:ext cx="304" cy="145"/>
            </a:xfrm>
            <a:custGeom>
              <a:avLst/>
              <a:gdLst>
                <a:gd name="T0" fmla="*/ 198 w 221"/>
                <a:gd name="T1" fmla="*/ 60 h 105"/>
                <a:gd name="T2" fmla="*/ 186 w 221"/>
                <a:gd name="T3" fmla="*/ 63 h 105"/>
                <a:gd name="T4" fmla="*/ 9 w 221"/>
                <a:gd name="T5" fmla="*/ 0 h 105"/>
                <a:gd name="T6" fmla="*/ 0 w 221"/>
                <a:gd name="T7" fmla="*/ 26 h 105"/>
                <a:gd name="T8" fmla="*/ 177 w 221"/>
                <a:gd name="T9" fmla="*/ 89 h 105"/>
                <a:gd name="T10" fmla="*/ 198 w 221"/>
                <a:gd name="T11" fmla="*/ 105 h 105"/>
                <a:gd name="T12" fmla="*/ 221 w 221"/>
                <a:gd name="T13" fmla="*/ 82 h 105"/>
                <a:gd name="T14" fmla="*/ 198 w 221"/>
                <a:gd name="T15" fmla="*/ 6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105">
                  <a:moveTo>
                    <a:pt x="198" y="60"/>
                  </a:moveTo>
                  <a:cubicBezTo>
                    <a:pt x="194" y="60"/>
                    <a:pt x="189" y="61"/>
                    <a:pt x="186" y="6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80" y="98"/>
                    <a:pt x="188" y="105"/>
                    <a:pt x="198" y="105"/>
                  </a:cubicBezTo>
                  <a:cubicBezTo>
                    <a:pt x="211" y="105"/>
                    <a:pt x="221" y="95"/>
                    <a:pt x="221" y="82"/>
                  </a:cubicBezTo>
                  <a:cubicBezTo>
                    <a:pt x="221" y="70"/>
                    <a:pt x="211" y="60"/>
                    <a:pt x="198" y="60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42">
              <a:extLst>
                <a:ext uri="{FF2B5EF4-FFF2-40B4-BE49-F238E27FC236}">
                  <a16:creationId xmlns:a16="http://schemas.microsoft.com/office/drawing/2014/main" id="{15588955-88CD-4A75-B93C-1B26527A91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" y="3361"/>
              <a:ext cx="95" cy="69"/>
            </a:xfrm>
            <a:custGeom>
              <a:avLst/>
              <a:gdLst>
                <a:gd name="T0" fmla="*/ 95 w 95"/>
                <a:gd name="T1" fmla="*/ 47 h 69"/>
                <a:gd name="T2" fmla="*/ 64 w 95"/>
                <a:gd name="T3" fmla="*/ 69 h 69"/>
                <a:gd name="T4" fmla="*/ 0 w 95"/>
                <a:gd name="T5" fmla="*/ 23 h 69"/>
                <a:gd name="T6" fmla="*/ 38 w 95"/>
                <a:gd name="T7" fmla="*/ 0 h 69"/>
                <a:gd name="T8" fmla="*/ 95 w 95"/>
                <a:gd name="T9" fmla="*/ 4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69">
                  <a:moveTo>
                    <a:pt x="95" y="47"/>
                  </a:moveTo>
                  <a:lnTo>
                    <a:pt x="64" y="69"/>
                  </a:lnTo>
                  <a:lnTo>
                    <a:pt x="0" y="23"/>
                  </a:lnTo>
                  <a:lnTo>
                    <a:pt x="38" y="0"/>
                  </a:lnTo>
                  <a:lnTo>
                    <a:pt x="95" y="47"/>
                  </a:lnTo>
                  <a:close/>
                </a:path>
              </a:pathLst>
            </a:custGeom>
            <a:solidFill>
              <a:srgbClr val="FDA8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43">
              <a:extLst>
                <a:ext uri="{FF2B5EF4-FFF2-40B4-BE49-F238E27FC236}">
                  <a16:creationId xmlns:a16="http://schemas.microsoft.com/office/drawing/2014/main" id="{9C324305-9E6A-4615-8C24-036F19D954E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3" y="3384"/>
              <a:ext cx="173" cy="201"/>
            </a:xfrm>
            <a:custGeom>
              <a:avLst/>
              <a:gdLst>
                <a:gd name="T0" fmla="*/ 45 w 126"/>
                <a:gd name="T1" fmla="*/ 0 h 146"/>
                <a:gd name="T2" fmla="*/ 0 w 126"/>
                <a:gd name="T3" fmla="*/ 26 h 146"/>
                <a:gd name="T4" fmla="*/ 112 w 126"/>
                <a:gd name="T5" fmla="*/ 145 h 146"/>
                <a:gd name="T6" fmla="*/ 121 w 126"/>
                <a:gd name="T7" fmla="*/ 130 h 146"/>
                <a:gd name="T8" fmla="*/ 80 w 126"/>
                <a:gd name="T9" fmla="*/ 57 h 146"/>
                <a:gd name="T10" fmla="*/ 92 w 126"/>
                <a:gd name="T11" fmla="*/ 33 h 146"/>
                <a:gd name="T12" fmla="*/ 45 w 126"/>
                <a:gd name="T1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46">
                  <a:moveTo>
                    <a:pt x="45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31" y="134"/>
                    <a:pt x="112" y="145"/>
                  </a:cubicBezTo>
                  <a:cubicBezTo>
                    <a:pt x="120" y="146"/>
                    <a:pt x="126" y="138"/>
                    <a:pt x="121" y="130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92" y="33"/>
                    <a:pt x="92" y="33"/>
                    <a:pt x="92" y="33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44">
              <a:extLst>
                <a:ext uri="{FF2B5EF4-FFF2-40B4-BE49-F238E27FC236}">
                  <a16:creationId xmlns:a16="http://schemas.microsoft.com/office/drawing/2014/main" id="{F5DA6BCB-7AA6-471E-8E9D-A0BF296FA8E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9" y="3427"/>
              <a:ext cx="113" cy="142"/>
            </a:xfrm>
            <a:custGeom>
              <a:avLst/>
              <a:gdLst>
                <a:gd name="T0" fmla="*/ 80 w 113"/>
                <a:gd name="T1" fmla="*/ 142 h 142"/>
                <a:gd name="T2" fmla="*/ 32 w 113"/>
                <a:gd name="T3" fmla="*/ 88 h 142"/>
                <a:gd name="T4" fmla="*/ 0 w 113"/>
                <a:gd name="T5" fmla="*/ 22 h 142"/>
                <a:gd name="T6" fmla="*/ 34 w 113"/>
                <a:gd name="T7" fmla="*/ 0 h 142"/>
                <a:gd name="T8" fmla="*/ 83 w 113"/>
                <a:gd name="T9" fmla="*/ 54 h 142"/>
                <a:gd name="T10" fmla="*/ 113 w 113"/>
                <a:gd name="T11" fmla="*/ 120 h 142"/>
                <a:gd name="T12" fmla="*/ 80 w 113"/>
                <a:gd name="T1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142">
                  <a:moveTo>
                    <a:pt x="80" y="142"/>
                  </a:moveTo>
                  <a:lnTo>
                    <a:pt x="32" y="88"/>
                  </a:lnTo>
                  <a:lnTo>
                    <a:pt x="0" y="22"/>
                  </a:lnTo>
                  <a:lnTo>
                    <a:pt x="34" y="0"/>
                  </a:lnTo>
                  <a:lnTo>
                    <a:pt x="83" y="54"/>
                  </a:lnTo>
                  <a:lnTo>
                    <a:pt x="113" y="120"/>
                  </a:lnTo>
                  <a:lnTo>
                    <a:pt x="80" y="142"/>
                  </a:ln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Oval 45">
              <a:extLst>
                <a:ext uri="{FF2B5EF4-FFF2-40B4-BE49-F238E27FC236}">
                  <a16:creationId xmlns:a16="http://schemas.microsoft.com/office/drawing/2014/main" id="{16D9F49A-75BE-4E56-BB3C-C288206095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39" y="1689"/>
              <a:ext cx="424" cy="423"/>
            </a:xfrm>
            <a:prstGeom prst="ellipse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46">
              <a:extLst>
                <a:ext uri="{FF2B5EF4-FFF2-40B4-BE49-F238E27FC236}">
                  <a16:creationId xmlns:a16="http://schemas.microsoft.com/office/drawing/2014/main" id="{361C4C9C-563D-4FC7-AB83-47FEEAEAD4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9" y="1689"/>
              <a:ext cx="341" cy="328"/>
            </a:xfrm>
            <a:custGeom>
              <a:avLst/>
              <a:gdLst>
                <a:gd name="T0" fmla="*/ 0 w 248"/>
                <a:gd name="T1" fmla="*/ 153 h 238"/>
                <a:gd name="T2" fmla="*/ 20 w 248"/>
                <a:gd name="T3" fmla="*/ 228 h 238"/>
                <a:gd name="T4" fmla="*/ 78 w 248"/>
                <a:gd name="T5" fmla="*/ 238 h 238"/>
                <a:gd name="T6" fmla="*/ 248 w 248"/>
                <a:gd name="T7" fmla="*/ 67 h 238"/>
                <a:gd name="T8" fmla="*/ 244 w 248"/>
                <a:gd name="T9" fmla="*/ 29 h 238"/>
                <a:gd name="T10" fmla="*/ 154 w 248"/>
                <a:gd name="T11" fmla="*/ 0 h 238"/>
                <a:gd name="T12" fmla="*/ 0 w 248"/>
                <a:gd name="T13" fmla="*/ 153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" h="238">
                  <a:moveTo>
                    <a:pt x="0" y="153"/>
                  </a:moveTo>
                  <a:cubicBezTo>
                    <a:pt x="0" y="180"/>
                    <a:pt x="7" y="206"/>
                    <a:pt x="20" y="228"/>
                  </a:cubicBezTo>
                  <a:cubicBezTo>
                    <a:pt x="38" y="235"/>
                    <a:pt x="57" y="238"/>
                    <a:pt x="78" y="238"/>
                  </a:cubicBezTo>
                  <a:cubicBezTo>
                    <a:pt x="172" y="238"/>
                    <a:pt x="248" y="162"/>
                    <a:pt x="248" y="67"/>
                  </a:cubicBezTo>
                  <a:cubicBezTo>
                    <a:pt x="248" y="54"/>
                    <a:pt x="247" y="41"/>
                    <a:pt x="244" y="29"/>
                  </a:cubicBezTo>
                  <a:cubicBezTo>
                    <a:pt x="219" y="10"/>
                    <a:pt x="188" y="0"/>
                    <a:pt x="154" y="0"/>
                  </a:cubicBezTo>
                  <a:cubicBezTo>
                    <a:pt x="69" y="0"/>
                    <a:pt x="0" y="68"/>
                    <a:pt x="0" y="153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47">
              <a:extLst>
                <a:ext uri="{FF2B5EF4-FFF2-40B4-BE49-F238E27FC236}">
                  <a16:creationId xmlns:a16="http://schemas.microsoft.com/office/drawing/2014/main" id="{3DCF324D-F257-411D-A949-E0BDFB9F331E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8" y="1812"/>
              <a:ext cx="65" cy="74"/>
            </a:xfrm>
            <a:custGeom>
              <a:avLst/>
              <a:gdLst>
                <a:gd name="T0" fmla="*/ 46 w 47"/>
                <a:gd name="T1" fmla="*/ 39 h 54"/>
                <a:gd name="T2" fmla="*/ 36 w 47"/>
                <a:gd name="T3" fmla="*/ 32 h 54"/>
                <a:gd name="T4" fmla="*/ 26 w 47"/>
                <a:gd name="T5" fmla="*/ 39 h 54"/>
                <a:gd name="T6" fmla="*/ 15 w 47"/>
                <a:gd name="T7" fmla="*/ 39 h 54"/>
                <a:gd name="T8" fmla="*/ 15 w 47"/>
                <a:gd name="T9" fmla="*/ 21 h 54"/>
                <a:gd name="T10" fmla="*/ 22 w 47"/>
                <a:gd name="T11" fmla="*/ 11 h 54"/>
                <a:gd name="T12" fmla="*/ 11 w 47"/>
                <a:gd name="T13" fmla="*/ 0 h 54"/>
                <a:gd name="T14" fmla="*/ 0 w 47"/>
                <a:gd name="T15" fmla="*/ 11 h 54"/>
                <a:gd name="T16" fmla="*/ 7 w 47"/>
                <a:gd name="T17" fmla="*/ 21 h 54"/>
                <a:gd name="T18" fmla="*/ 7 w 47"/>
                <a:gd name="T19" fmla="*/ 43 h 54"/>
                <a:gd name="T20" fmla="*/ 11 w 47"/>
                <a:gd name="T21" fmla="*/ 47 h 54"/>
                <a:gd name="T22" fmla="*/ 26 w 47"/>
                <a:gd name="T23" fmla="*/ 47 h 54"/>
                <a:gd name="T24" fmla="*/ 36 w 47"/>
                <a:gd name="T25" fmla="*/ 54 h 54"/>
                <a:gd name="T26" fmla="*/ 46 w 47"/>
                <a:gd name="T27" fmla="*/ 47 h 54"/>
                <a:gd name="T28" fmla="*/ 46 w 47"/>
                <a:gd name="T29" fmla="*/ 47 h 54"/>
                <a:gd name="T30" fmla="*/ 46 w 47"/>
                <a:gd name="T31" fmla="*/ 46 h 54"/>
                <a:gd name="T32" fmla="*/ 47 w 47"/>
                <a:gd name="T33" fmla="*/ 43 h 54"/>
                <a:gd name="T34" fmla="*/ 46 w 47"/>
                <a:gd name="T35" fmla="*/ 40 h 54"/>
                <a:gd name="T36" fmla="*/ 46 w 47"/>
                <a:gd name="T37" fmla="*/ 3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54">
                  <a:moveTo>
                    <a:pt x="46" y="39"/>
                  </a:moveTo>
                  <a:cubicBezTo>
                    <a:pt x="44" y="35"/>
                    <a:pt x="41" y="32"/>
                    <a:pt x="36" y="32"/>
                  </a:cubicBezTo>
                  <a:cubicBezTo>
                    <a:pt x="31" y="32"/>
                    <a:pt x="28" y="35"/>
                    <a:pt x="26" y="39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9" y="19"/>
                    <a:pt x="22" y="15"/>
                    <a:pt x="22" y="11"/>
                  </a:cubicBezTo>
                  <a:cubicBezTo>
                    <a:pt x="22" y="5"/>
                    <a:pt x="17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5"/>
                    <a:pt x="3" y="19"/>
                    <a:pt x="7" y="21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8" y="51"/>
                    <a:pt x="31" y="54"/>
                    <a:pt x="36" y="54"/>
                  </a:cubicBezTo>
                  <a:cubicBezTo>
                    <a:pt x="41" y="54"/>
                    <a:pt x="44" y="51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7" y="45"/>
                    <a:pt x="47" y="44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6" y="39"/>
                    <a:pt x="46" y="39"/>
                    <a:pt x="46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48">
              <a:extLst>
                <a:ext uri="{FF2B5EF4-FFF2-40B4-BE49-F238E27FC236}">
                  <a16:creationId xmlns:a16="http://schemas.microsoft.com/office/drawing/2014/main" id="{E34C1A79-6357-4FB3-84BD-CE72F6A50FF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3" y="1852"/>
              <a:ext cx="76" cy="68"/>
            </a:xfrm>
            <a:custGeom>
              <a:avLst/>
              <a:gdLst>
                <a:gd name="T0" fmla="*/ 11 w 55"/>
                <a:gd name="T1" fmla="*/ 21 h 50"/>
                <a:gd name="T2" fmla="*/ 21 w 55"/>
                <a:gd name="T3" fmla="*/ 14 h 50"/>
                <a:gd name="T4" fmla="*/ 41 w 55"/>
                <a:gd name="T5" fmla="*/ 14 h 50"/>
                <a:gd name="T6" fmla="*/ 41 w 55"/>
                <a:gd name="T7" fmla="*/ 29 h 50"/>
                <a:gd name="T8" fmla="*/ 34 w 55"/>
                <a:gd name="T9" fmla="*/ 39 h 50"/>
                <a:gd name="T10" fmla="*/ 45 w 55"/>
                <a:gd name="T11" fmla="*/ 50 h 50"/>
                <a:gd name="T12" fmla="*/ 55 w 55"/>
                <a:gd name="T13" fmla="*/ 39 h 50"/>
                <a:gd name="T14" fmla="*/ 49 w 55"/>
                <a:gd name="T15" fmla="*/ 29 h 50"/>
                <a:gd name="T16" fmla="*/ 49 w 55"/>
                <a:gd name="T17" fmla="*/ 10 h 50"/>
                <a:gd name="T18" fmla="*/ 45 w 55"/>
                <a:gd name="T19" fmla="*/ 6 h 50"/>
                <a:gd name="T20" fmla="*/ 21 w 55"/>
                <a:gd name="T21" fmla="*/ 6 h 50"/>
                <a:gd name="T22" fmla="*/ 11 w 55"/>
                <a:gd name="T23" fmla="*/ 0 h 50"/>
                <a:gd name="T24" fmla="*/ 0 w 55"/>
                <a:gd name="T25" fmla="*/ 10 h 50"/>
                <a:gd name="T26" fmla="*/ 11 w 55"/>
                <a:gd name="T27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" h="50">
                  <a:moveTo>
                    <a:pt x="11" y="21"/>
                  </a:moveTo>
                  <a:cubicBezTo>
                    <a:pt x="15" y="21"/>
                    <a:pt x="19" y="18"/>
                    <a:pt x="2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37" y="31"/>
                    <a:pt x="34" y="35"/>
                    <a:pt x="34" y="39"/>
                  </a:cubicBezTo>
                  <a:cubicBezTo>
                    <a:pt x="34" y="45"/>
                    <a:pt x="39" y="50"/>
                    <a:pt x="45" y="50"/>
                  </a:cubicBezTo>
                  <a:cubicBezTo>
                    <a:pt x="51" y="50"/>
                    <a:pt x="55" y="45"/>
                    <a:pt x="55" y="39"/>
                  </a:cubicBezTo>
                  <a:cubicBezTo>
                    <a:pt x="55" y="35"/>
                    <a:pt x="53" y="31"/>
                    <a:pt x="49" y="29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19" y="2"/>
                    <a:pt x="15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49">
              <a:extLst>
                <a:ext uri="{FF2B5EF4-FFF2-40B4-BE49-F238E27FC236}">
                  <a16:creationId xmlns:a16="http://schemas.microsoft.com/office/drawing/2014/main" id="{E76B176E-9A52-4E6D-9A5B-E9C407724F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0" y="1831"/>
              <a:ext cx="89" cy="89"/>
            </a:xfrm>
            <a:custGeom>
              <a:avLst/>
              <a:gdLst>
                <a:gd name="T0" fmla="*/ 54 w 65"/>
                <a:gd name="T1" fmla="*/ 0 h 65"/>
                <a:gd name="T2" fmla="*/ 43 w 65"/>
                <a:gd name="T3" fmla="*/ 11 h 65"/>
                <a:gd name="T4" fmla="*/ 49 w 65"/>
                <a:gd name="T5" fmla="*/ 20 h 65"/>
                <a:gd name="T6" fmla="*/ 49 w 65"/>
                <a:gd name="T7" fmla="*/ 50 h 65"/>
                <a:gd name="T8" fmla="*/ 21 w 65"/>
                <a:gd name="T9" fmla="*/ 50 h 65"/>
                <a:gd name="T10" fmla="*/ 11 w 65"/>
                <a:gd name="T11" fmla="*/ 43 h 65"/>
                <a:gd name="T12" fmla="*/ 0 w 65"/>
                <a:gd name="T13" fmla="*/ 54 h 65"/>
                <a:gd name="T14" fmla="*/ 11 w 65"/>
                <a:gd name="T15" fmla="*/ 65 h 65"/>
                <a:gd name="T16" fmla="*/ 21 w 65"/>
                <a:gd name="T17" fmla="*/ 58 h 65"/>
                <a:gd name="T18" fmla="*/ 53 w 65"/>
                <a:gd name="T19" fmla="*/ 58 h 65"/>
                <a:gd name="T20" fmla="*/ 57 w 65"/>
                <a:gd name="T21" fmla="*/ 54 h 65"/>
                <a:gd name="T22" fmla="*/ 57 w 65"/>
                <a:gd name="T23" fmla="*/ 21 h 65"/>
                <a:gd name="T24" fmla="*/ 65 w 65"/>
                <a:gd name="T25" fmla="*/ 11 h 65"/>
                <a:gd name="T26" fmla="*/ 54 w 65"/>
                <a:gd name="T2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5">
                  <a:moveTo>
                    <a:pt x="54" y="0"/>
                  </a:moveTo>
                  <a:cubicBezTo>
                    <a:pt x="48" y="0"/>
                    <a:pt x="43" y="5"/>
                    <a:pt x="43" y="11"/>
                  </a:cubicBezTo>
                  <a:cubicBezTo>
                    <a:pt x="43" y="15"/>
                    <a:pt x="46" y="19"/>
                    <a:pt x="49" y="20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19" y="46"/>
                    <a:pt x="15" y="43"/>
                    <a:pt x="11" y="43"/>
                  </a:cubicBezTo>
                  <a:cubicBezTo>
                    <a:pt x="5" y="43"/>
                    <a:pt x="0" y="48"/>
                    <a:pt x="0" y="54"/>
                  </a:cubicBezTo>
                  <a:cubicBezTo>
                    <a:pt x="0" y="60"/>
                    <a:pt x="5" y="65"/>
                    <a:pt x="11" y="65"/>
                  </a:cubicBezTo>
                  <a:cubicBezTo>
                    <a:pt x="15" y="65"/>
                    <a:pt x="19" y="62"/>
                    <a:pt x="21" y="5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62" y="20"/>
                    <a:pt x="65" y="16"/>
                    <a:pt x="65" y="11"/>
                  </a:cubicBezTo>
                  <a:cubicBezTo>
                    <a:pt x="65" y="5"/>
                    <a:pt x="60" y="0"/>
                    <a:pt x="5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50">
              <a:extLst>
                <a:ext uri="{FF2B5EF4-FFF2-40B4-BE49-F238E27FC236}">
                  <a16:creationId xmlns:a16="http://schemas.microsoft.com/office/drawing/2014/main" id="{3CE005A6-DAFB-4777-9AC5-3CA41FA61DF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8" y="1792"/>
              <a:ext cx="91" cy="113"/>
            </a:xfrm>
            <a:custGeom>
              <a:avLst/>
              <a:gdLst>
                <a:gd name="T0" fmla="*/ 59 w 66"/>
                <a:gd name="T1" fmla="*/ 61 h 82"/>
                <a:gd name="T2" fmla="*/ 59 w 66"/>
                <a:gd name="T3" fmla="*/ 21 h 82"/>
                <a:gd name="T4" fmla="*/ 58 w 66"/>
                <a:gd name="T5" fmla="*/ 18 h 82"/>
                <a:gd name="T6" fmla="*/ 48 w 66"/>
                <a:gd name="T7" fmla="*/ 8 h 82"/>
                <a:gd name="T8" fmla="*/ 45 w 66"/>
                <a:gd name="T9" fmla="*/ 7 h 82"/>
                <a:gd name="T10" fmla="*/ 21 w 66"/>
                <a:gd name="T11" fmla="*/ 7 h 82"/>
                <a:gd name="T12" fmla="*/ 11 w 66"/>
                <a:gd name="T13" fmla="*/ 0 h 82"/>
                <a:gd name="T14" fmla="*/ 0 w 66"/>
                <a:gd name="T15" fmla="*/ 11 h 82"/>
                <a:gd name="T16" fmla="*/ 11 w 66"/>
                <a:gd name="T17" fmla="*/ 22 h 82"/>
                <a:gd name="T18" fmla="*/ 21 w 66"/>
                <a:gd name="T19" fmla="*/ 15 h 82"/>
                <a:gd name="T20" fmla="*/ 44 w 66"/>
                <a:gd name="T21" fmla="*/ 15 h 82"/>
                <a:gd name="T22" fmla="*/ 51 w 66"/>
                <a:gd name="T23" fmla="*/ 22 h 82"/>
                <a:gd name="T24" fmla="*/ 51 w 66"/>
                <a:gd name="T25" fmla="*/ 61 h 82"/>
                <a:gd name="T26" fmla="*/ 44 w 66"/>
                <a:gd name="T27" fmla="*/ 71 h 82"/>
                <a:gd name="T28" fmla="*/ 55 w 66"/>
                <a:gd name="T29" fmla="*/ 82 h 82"/>
                <a:gd name="T30" fmla="*/ 66 w 66"/>
                <a:gd name="T31" fmla="*/ 71 h 82"/>
                <a:gd name="T32" fmla="*/ 59 w 66"/>
                <a:gd name="T33" fmla="*/ 6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82">
                  <a:moveTo>
                    <a:pt x="59" y="61"/>
                  </a:moveTo>
                  <a:cubicBezTo>
                    <a:pt x="59" y="21"/>
                    <a:pt x="59" y="21"/>
                    <a:pt x="59" y="21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3"/>
                    <a:pt x="16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6" y="22"/>
                    <a:pt x="20" y="19"/>
                    <a:pt x="21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47" y="63"/>
                    <a:pt x="44" y="67"/>
                    <a:pt x="44" y="71"/>
                  </a:cubicBezTo>
                  <a:cubicBezTo>
                    <a:pt x="44" y="77"/>
                    <a:pt x="49" y="82"/>
                    <a:pt x="55" y="82"/>
                  </a:cubicBezTo>
                  <a:cubicBezTo>
                    <a:pt x="61" y="82"/>
                    <a:pt x="66" y="77"/>
                    <a:pt x="66" y="71"/>
                  </a:cubicBezTo>
                  <a:cubicBezTo>
                    <a:pt x="66" y="67"/>
                    <a:pt x="63" y="63"/>
                    <a:pt x="59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51">
              <a:extLst>
                <a:ext uri="{FF2B5EF4-FFF2-40B4-BE49-F238E27FC236}">
                  <a16:creationId xmlns:a16="http://schemas.microsoft.com/office/drawing/2014/main" id="{4417397B-1003-4F74-8B84-F6A13800A1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7" y="1772"/>
              <a:ext cx="92" cy="30"/>
            </a:xfrm>
            <a:custGeom>
              <a:avLst/>
              <a:gdLst>
                <a:gd name="T0" fmla="*/ 11 w 67"/>
                <a:gd name="T1" fmla="*/ 22 h 22"/>
                <a:gd name="T2" fmla="*/ 21 w 67"/>
                <a:gd name="T3" fmla="*/ 15 h 22"/>
                <a:gd name="T4" fmla="*/ 46 w 67"/>
                <a:gd name="T5" fmla="*/ 15 h 22"/>
                <a:gd name="T6" fmla="*/ 56 w 67"/>
                <a:gd name="T7" fmla="*/ 22 h 22"/>
                <a:gd name="T8" fmla="*/ 67 w 67"/>
                <a:gd name="T9" fmla="*/ 11 h 22"/>
                <a:gd name="T10" fmla="*/ 56 w 67"/>
                <a:gd name="T11" fmla="*/ 0 h 22"/>
                <a:gd name="T12" fmla="*/ 46 w 67"/>
                <a:gd name="T13" fmla="*/ 7 h 22"/>
                <a:gd name="T14" fmla="*/ 21 w 67"/>
                <a:gd name="T15" fmla="*/ 7 h 22"/>
                <a:gd name="T16" fmla="*/ 11 w 67"/>
                <a:gd name="T17" fmla="*/ 0 h 22"/>
                <a:gd name="T18" fmla="*/ 0 w 67"/>
                <a:gd name="T19" fmla="*/ 11 h 22"/>
                <a:gd name="T20" fmla="*/ 11 w 67"/>
                <a:gd name="T2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22">
                  <a:moveTo>
                    <a:pt x="11" y="22"/>
                  </a:moveTo>
                  <a:cubicBezTo>
                    <a:pt x="16" y="22"/>
                    <a:pt x="19" y="19"/>
                    <a:pt x="21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7" y="19"/>
                    <a:pt x="51" y="22"/>
                    <a:pt x="56" y="22"/>
                  </a:cubicBezTo>
                  <a:cubicBezTo>
                    <a:pt x="62" y="22"/>
                    <a:pt x="67" y="17"/>
                    <a:pt x="67" y="11"/>
                  </a:cubicBezTo>
                  <a:cubicBezTo>
                    <a:pt x="67" y="5"/>
                    <a:pt x="62" y="0"/>
                    <a:pt x="56" y="0"/>
                  </a:cubicBezTo>
                  <a:cubicBezTo>
                    <a:pt x="51" y="0"/>
                    <a:pt x="47" y="3"/>
                    <a:pt x="46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9" y="3"/>
                    <a:pt x="16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52">
              <a:extLst>
                <a:ext uri="{FF2B5EF4-FFF2-40B4-BE49-F238E27FC236}">
                  <a16:creationId xmlns:a16="http://schemas.microsoft.com/office/drawing/2014/main" id="{EEB96F3F-8DA3-4BC7-9D8E-50911BBF67D7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0" y="1810"/>
              <a:ext cx="88" cy="110"/>
            </a:xfrm>
            <a:custGeom>
              <a:avLst/>
              <a:gdLst>
                <a:gd name="T0" fmla="*/ 11 w 64"/>
                <a:gd name="T1" fmla="*/ 22 h 80"/>
                <a:gd name="T2" fmla="*/ 21 w 64"/>
                <a:gd name="T3" fmla="*/ 15 h 80"/>
                <a:gd name="T4" fmla="*/ 50 w 64"/>
                <a:gd name="T5" fmla="*/ 15 h 80"/>
                <a:gd name="T6" fmla="*/ 50 w 64"/>
                <a:gd name="T7" fmla="*/ 59 h 80"/>
                <a:gd name="T8" fmla="*/ 43 w 64"/>
                <a:gd name="T9" fmla="*/ 69 h 80"/>
                <a:gd name="T10" fmla="*/ 54 w 64"/>
                <a:gd name="T11" fmla="*/ 80 h 80"/>
                <a:gd name="T12" fmla="*/ 64 w 64"/>
                <a:gd name="T13" fmla="*/ 69 h 80"/>
                <a:gd name="T14" fmla="*/ 58 w 64"/>
                <a:gd name="T15" fmla="*/ 59 h 80"/>
                <a:gd name="T16" fmla="*/ 58 w 64"/>
                <a:gd name="T17" fmla="*/ 11 h 80"/>
                <a:gd name="T18" fmla="*/ 54 w 64"/>
                <a:gd name="T19" fmla="*/ 7 h 80"/>
                <a:gd name="T20" fmla="*/ 21 w 64"/>
                <a:gd name="T21" fmla="*/ 7 h 80"/>
                <a:gd name="T22" fmla="*/ 11 w 64"/>
                <a:gd name="T23" fmla="*/ 0 h 80"/>
                <a:gd name="T24" fmla="*/ 0 w 64"/>
                <a:gd name="T25" fmla="*/ 11 h 80"/>
                <a:gd name="T26" fmla="*/ 11 w 64"/>
                <a:gd name="T27" fmla="*/ 2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80">
                  <a:moveTo>
                    <a:pt x="11" y="22"/>
                  </a:moveTo>
                  <a:cubicBezTo>
                    <a:pt x="15" y="22"/>
                    <a:pt x="19" y="19"/>
                    <a:pt x="21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46" y="61"/>
                    <a:pt x="43" y="65"/>
                    <a:pt x="43" y="69"/>
                  </a:cubicBezTo>
                  <a:cubicBezTo>
                    <a:pt x="43" y="75"/>
                    <a:pt x="48" y="80"/>
                    <a:pt x="54" y="80"/>
                  </a:cubicBezTo>
                  <a:cubicBezTo>
                    <a:pt x="60" y="80"/>
                    <a:pt x="64" y="75"/>
                    <a:pt x="64" y="69"/>
                  </a:cubicBezTo>
                  <a:cubicBezTo>
                    <a:pt x="64" y="65"/>
                    <a:pt x="62" y="61"/>
                    <a:pt x="58" y="59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9" y="3"/>
                    <a:pt x="15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53">
              <a:extLst>
                <a:ext uri="{FF2B5EF4-FFF2-40B4-BE49-F238E27FC236}">
                  <a16:creationId xmlns:a16="http://schemas.microsoft.com/office/drawing/2014/main" id="{92AC2D4C-C74C-4A9E-B949-04CE218795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3" y="1894"/>
              <a:ext cx="133" cy="62"/>
            </a:xfrm>
            <a:custGeom>
              <a:avLst/>
              <a:gdLst>
                <a:gd name="T0" fmla="*/ 86 w 97"/>
                <a:gd name="T1" fmla="*/ 24 h 45"/>
                <a:gd name="T2" fmla="*/ 76 w 97"/>
                <a:gd name="T3" fmla="*/ 31 h 45"/>
                <a:gd name="T4" fmla="*/ 37 w 97"/>
                <a:gd name="T5" fmla="*/ 31 h 45"/>
                <a:gd name="T6" fmla="*/ 21 w 97"/>
                <a:gd name="T7" fmla="*/ 15 h 45"/>
                <a:gd name="T8" fmla="*/ 22 w 97"/>
                <a:gd name="T9" fmla="*/ 11 h 45"/>
                <a:gd name="T10" fmla="*/ 11 w 97"/>
                <a:gd name="T11" fmla="*/ 0 h 45"/>
                <a:gd name="T12" fmla="*/ 0 w 97"/>
                <a:gd name="T13" fmla="*/ 11 h 45"/>
                <a:gd name="T14" fmla="*/ 11 w 97"/>
                <a:gd name="T15" fmla="*/ 22 h 45"/>
                <a:gd name="T16" fmla="*/ 16 w 97"/>
                <a:gd name="T17" fmla="*/ 21 h 45"/>
                <a:gd name="T18" fmla="*/ 33 w 97"/>
                <a:gd name="T19" fmla="*/ 37 h 45"/>
                <a:gd name="T20" fmla="*/ 36 w 97"/>
                <a:gd name="T21" fmla="*/ 39 h 45"/>
                <a:gd name="T22" fmla="*/ 76 w 97"/>
                <a:gd name="T23" fmla="*/ 39 h 45"/>
                <a:gd name="T24" fmla="*/ 86 w 97"/>
                <a:gd name="T25" fmla="*/ 45 h 45"/>
                <a:gd name="T26" fmla="*/ 97 w 97"/>
                <a:gd name="T27" fmla="*/ 35 h 45"/>
                <a:gd name="T28" fmla="*/ 86 w 97"/>
                <a:gd name="T29" fmla="*/ 2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45">
                  <a:moveTo>
                    <a:pt x="86" y="24"/>
                  </a:moveTo>
                  <a:cubicBezTo>
                    <a:pt x="81" y="24"/>
                    <a:pt x="78" y="27"/>
                    <a:pt x="76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3"/>
                    <a:pt x="22" y="12"/>
                    <a:pt x="22" y="11"/>
                  </a:cubicBezTo>
                  <a:cubicBezTo>
                    <a:pt x="22" y="5"/>
                    <a:pt x="17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" y="22"/>
                    <a:pt x="14" y="21"/>
                    <a:pt x="16" y="21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8" y="43"/>
                    <a:pt x="81" y="45"/>
                    <a:pt x="86" y="45"/>
                  </a:cubicBezTo>
                  <a:cubicBezTo>
                    <a:pt x="92" y="45"/>
                    <a:pt x="97" y="41"/>
                    <a:pt x="97" y="35"/>
                  </a:cubicBezTo>
                  <a:cubicBezTo>
                    <a:pt x="97" y="29"/>
                    <a:pt x="92" y="24"/>
                    <a:pt x="86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54">
              <a:extLst>
                <a:ext uri="{FF2B5EF4-FFF2-40B4-BE49-F238E27FC236}">
                  <a16:creationId xmlns:a16="http://schemas.microsoft.com/office/drawing/2014/main" id="{6062667F-149C-4A71-A2CC-35ADA78511E6}"/>
                </a:ext>
              </a:extLst>
            </p:cNvPr>
            <p:cNvSpPr>
              <a:spLocks/>
            </p:cNvSpPr>
            <p:nvPr/>
          </p:nvSpPr>
          <p:spPr bwMode="gray">
            <a:xfrm>
              <a:off x="4369" y="1927"/>
              <a:ext cx="29" cy="101"/>
            </a:xfrm>
            <a:custGeom>
              <a:avLst/>
              <a:gdLst>
                <a:gd name="T0" fmla="*/ 21 w 21"/>
                <a:gd name="T1" fmla="*/ 11 h 73"/>
                <a:gd name="T2" fmla="*/ 10 w 21"/>
                <a:gd name="T3" fmla="*/ 0 h 73"/>
                <a:gd name="T4" fmla="*/ 0 w 21"/>
                <a:gd name="T5" fmla="*/ 11 h 73"/>
                <a:gd name="T6" fmla="*/ 6 w 21"/>
                <a:gd name="T7" fmla="*/ 21 h 73"/>
                <a:gd name="T8" fmla="*/ 6 w 21"/>
                <a:gd name="T9" fmla="*/ 52 h 73"/>
                <a:gd name="T10" fmla="*/ 0 w 21"/>
                <a:gd name="T11" fmla="*/ 62 h 73"/>
                <a:gd name="T12" fmla="*/ 10 w 21"/>
                <a:gd name="T13" fmla="*/ 73 h 73"/>
                <a:gd name="T14" fmla="*/ 21 w 21"/>
                <a:gd name="T15" fmla="*/ 62 h 73"/>
                <a:gd name="T16" fmla="*/ 14 w 21"/>
                <a:gd name="T17" fmla="*/ 52 h 73"/>
                <a:gd name="T18" fmla="*/ 14 w 21"/>
                <a:gd name="T19" fmla="*/ 21 h 73"/>
                <a:gd name="T20" fmla="*/ 21 w 21"/>
                <a:gd name="T21" fmla="*/ 1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73">
                  <a:moveTo>
                    <a:pt x="21" y="11"/>
                  </a:moveTo>
                  <a:cubicBezTo>
                    <a:pt x="21" y="5"/>
                    <a:pt x="16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5"/>
                    <a:pt x="2" y="19"/>
                    <a:pt x="6" y="21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2" y="53"/>
                    <a:pt x="0" y="57"/>
                    <a:pt x="0" y="62"/>
                  </a:cubicBezTo>
                  <a:cubicBezTo>
                    <a:pt x="0" y="68"/>
                    <a:pt x="4" y="73"/>
                    <a:pt x="10" y="73"/>
                  </a:cubicBezTo>
                  <a:cubicBezTo>
                    <a:pt x="16" y="73"/>
                    <a:pt x="21" y="68"/>
                    <a:pt x="21" y="62"/>
                  </a:cubicBezTo>
                  <a:cubicBezTo>
                    <a:pt x="21" y="57"/>
                    <a:pt x="18" y="53"/>
                    <a:pt x="14" y="5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8" y="19"/>
                    <a:pt x="21" y="15"/>
                    <a:pt x="21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55">
              <a:extLst>
                <a:ext uri="{FF2B5EF4-FFF2-40B4-BE49-F238E27FC236}">
                  <a16:creationId xmlns:a16="http://schemas.microsoft.com/office/drawing/2014/main" id="{0BD4AD54-3C5F-4174-9D30-1744D02076DD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7" y="1927"/>
              <a:ext cx="31" cy="75"/>
            </a:xfrm>
            <a:custGeom>
              <a:avLst/>
              <a:gdLst>
                <a:gd name="T0" fmla="*/ 22 w 22"/>
                <a:gd name="T1" fmla="*/ 11 h 54"/>
                <a:gd name="T2" fmla="*/ 11 w 22"/>
                <a:gd name="T3" fmla="*/ 0 h 54"/>
                <a:gd name="T4" fmla="*/ 0 w 22"/>
                <a:gd name="T5" fmla="*/ 11 h 54"/>
                <a:gd name="T6" fmla="*/ 7 w 22"/>
                <a:gd name="T7" fmla="*/ 21 h 54"/>
                <a:gd name="T8" fmla="*/ 7 w 22"/>
                <a:gd name="T9" fmla="*/ 33 h 54"/>
                <a:gd name="T10" fmla="*/ 0 w 22"/>
                <a:gd name="T11" fmla="*/ 43 h 54"/>
                <a:gd name="T12" fmla="*/ 11 w 22"/>
                <a:gd name="T13" fmla="*/ 54 h 54"/>
                <a:gd name="T14" fmla="*/ 22 w 22"/>
                <a:gd name="T15" fmla="*/ 43 h 54"/>
                <a:gd name="T16" fmla="*/ 15 w 22"/>
                <a:gd name="T17" fmla="*/ 33 h 54"/>
                <a:gd name="T18" fmla="*/ 15 w 22"/>
                <a:gd name="T19" fmla="*/ 21 h 54"/>
                <a:gd name="T20" fmla="*/ 22 w 22"/>
                <a:gd name="T21" fmla="*/ 1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54">
                  <a:moveTo>
                    <a:pt x="22" y="11"/>
                  </a:moveTo>
                  <a:cubicBezTo>
                    <a:pt x="22" y="5"/>
                    <a:pt x="17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5"/>
                    <a:pt x="3" y="19"/>
                    <a:pt x="7" y="21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3" y="35"/>
                    <a:pt x="0" y="39"/>
                    <a:pt x="0" y="43"/>
                  </a:cubicBezTo>
                  <a:cubicBezTo>
                    <a:pt x="0" y="49"/>
                    <a:pt x="5" y="54"/>
                    <a:pt x="11" y="54"/>
                  </a:cubicBezTo>
                  <a:cubicBezTo>
                    <a:pt x="17" y="54"/>
                    <a:pt x="22" y="49"/>
                    <a:pt x="22" y="43"/>
                  </a:cubicBezTo>
                  <a:cubicBezTo>
                    <a:pt x="22" y="39"/>
                    <a:pt x="19" y="35"/>
                    <a:pt x="15" y="33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9" y="19"/>
                    <a:pt x="22" y="15"/>
                    <a:pt x="22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Oval 56">
              <a:extLst>
                <a:ext uri="{FF2B5EF4-FFF2-40B4-BE49-F238E27FC236}">
                  <a16:creationId xmlns:a16="http://schemas.microsoft.com/office/drawing/2014/main" id="{A9F3571A-BDC4-46A2-8465-265F13650FC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93" y="2083"/>
              <a:ext cx="422" cy="421"/>
            </a:xfrm>
            <a:prstGeom prst="ellipse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57">
              <a:extLst>
                <a:ext uri="{FF2B5EF4-FFF2-40B4-BE49-F238E27FC236}">
                  <a16:creationId xmlns:a16="http://schemas.microsoft.com/office/drawing/2014/main" id="{3FD0A723-6058-4A63-ABD2-0B37F336DC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7" y="1717"/>
              <a:ext cx="461" cy="461"/>
            </a:xfrm>
            <a:custGeom>
              <a:avLst/>
              <a:gdLst>
                <a:gd name="T0" fmla="*/ 314 w 335"/>
                <a:gd name="T1" fmla="*/ 130 h 335"/>
                <a:gd name="T2" fmla="*/ 206 w 335"/>
                <a:gd name="T3" fmla="*/ 314 h 335"/>
                <a:gd name="T4" fmla="*/ 21 w 335"/>
                <a:gd name="T5" fmla="*/ 206 h 335"/>
                <a:gd name="T6" fmla="*/ 129 w 335"/>
                <a:gd name="T7" fmla="*/ 21 h 335"/>
                <a:gd name="T8" fmla="*/ 314 w 335"/>
                <a:gd name="T9" fmla="*/ 13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335">
                  <a:moveTo>
                    <a:pt x="314" y="130"/>
                  </a:moveTo>
                  <a:cubicBezTo>
                    <a:pt x="335" y="210"/>
                    <a:pt x="286" y="293"/>
                    <a:pt x="206" y="314"/>
                  </a:cubicBezTo>
                  <a:cubicBezTo>
                    <a:pt x="125" y="335"/>
                    <a:pt x="42" y="287"/>
                    <a:pt x="21" y="206"/>
                  </a:cubicBezTo>
                  <a:cubicBezTo>
                    <a:pt x="0" y="125"/>
                    <a:pt x="48" y="43"/>
                    <a:pt x="129" y="21"/>
                  </a:cubicBezTo>
                  <a:cubicBezTo>
                    <a:pt x="210" y="0"/>
                    <a:pt x="293" y="49"/>
                    <a:pt x="314" y="130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58">
              <a:extLst>
                <a:ext uri="{FF2B5EF4-FFF2-40B4-BE49-F238E27FC236}">
                  <a16:creationId xmlns:a16="http://schemas.microsoft.com/office/drawing/2014/main" id="{F8E46393-DB1F-4FAF-B885-351C9FCF2AE6}"/>
                </a:ext>
              </a:extLst>
            </p:cNvPr>
            <p:cNvSpPr>
              <a:spLocks/>
            </p:cNvSpPr>
            <p:nvPr/>
          </p:nvSpPr>
          <p:spPr bwMode="gray">
            <a:xfrm>
              <a:off x="4867" y="1728"/>
              <a:ext cx="394" cy="360"/>
            </a:xfrm>
            <a:custGeom>
              <a:avLst/>
              <a:gdLst>
                <a:gd name="T0" fmla="*/ 269 w 286"/>
                <a:gd name="T1" fmla="*/ 48 h 262"/>
                <a:gd name="T2" fmla="*/ 129 w 286"/>
                <a:gd name="T3" fmla="*/ 13 h 262"/>
                <a:gd name="T4" fmla="*/ 21 w 286"/>
                <a:gd name="T5" fmla="*/ 198 h 262"/>
                <a:gd name="T6" fmla="*/ 52 w 286"/>
                <a:gd name="T7" fmla="*/ 258 h 262"/>
                <a:gd name="T8" fmla="*/ 133 w 286"/>
                <a:gd name="T9" fmla="*/ 255 h 262"/>
                <a:gd name="T10" fmla="*/ 269 w 286"/>
                <a:gd name="T11" fmla="*/ 4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6" h="262">
                  <a:moveTo>
                    <a:pt x="269" y="48"/>
                  </a:moveTo>
                  <a:cubicBezTo>
                    <a:pt x="233" y="15"/>
                    <a:pt x="181" y="0"/>
                    <a:pt x="129" y="13"/>
                  </a:cubicBezTo>
                  <a:cubicBezTo>
                    <a:pt x="48" y="35"/>
                    <a:pt x="0" y="117"/>
                    <a:pt x="21" y="198"/>
                  </a:cubicBezTo>
                  <a:cubicBezTo>
                    <a:pt x="27" y="221"/>
                    <a:pt x="38" y="241"/>
                    <a:pt x="52" y="258"/>
                  </a:cubicBezTo>
                  <a:cubicBezTo>
                    <a:pt x="78" y="262"/>
                    <a:pt x="106" y="262"/>
                    <a:pt x="133" y="255"/>
                  </a:cubicBezTo>
                  <a:cubicBezTo>
                    <a:pt x="228" y="231"/>
                    <a:pt x="286" y="140"/>
                    <a:pt x="269" y="48"/>
                  </a:cubicBez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59">
              <a:extLst>
                <a:ext uri="{FF2B5EF4-FFF2-40B4-BE49-F238E27FC236}">
                  <a16:creationId xmlns:a16="http://schemas.microsoft.com/office/drawing/2014/main" id="{1A95AA97-932A-45C8-8FC1-3FF6FCCC694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84" y="1836"/>
              <a:ext cx="250" cy="225"/>
            </a:xfrm>
            <a:custGeom>
              <a:avLst/>
              <a:gdLst>
                <a:gd name="T0" fmla="*/ 158 w 182"/>
                <a:gd name="T1" fmla="*/ 63 h 163"/>
                <a:gd name="T2" fmla="*/ 138 w 182"/>
                <a:gd name="T3" fmla="*/ 72 h 163"/>
                <a:gd name="T4" fmla="*/ 93 w 182"/>
                <a:gd name="T5" fmla="*/ 51 h 163"/>
                <a:gd name="T6" fmla="*/ 103 w 182"/>
                <a:gd name="T7" fmla="*/ 36 h 163"/>
                <a:gd name="T8" fmla="*/ 109 w 182"/>
                <a:gd name="T9" fmla="*/ 37 h 163"/>
                <a:gd name="T10" fmla="*/ 127 w 182"/>
                <a:gd name="T11" fmla="*/ 18 h 163"/>
                <a:gd name="T12" fmla="*/ 109 w 182"/>
                <a:gd name="T13" fmla="*/ 0 h 163"/>
                <a:gd name="T14" fmla="*/ 90 w 182"/>
                <a:gd name="T15" fmla="*/ 16 h 163"/>
                <a:gd name="T16" fmla="*/ 50 w 182"/>
                <a:gd name="T17" fmla="*/ 21 h 163"/>
                <a:gd name="T18" fmla="*/ 35 w 182"/>
                <a:gd name="T19" fmla="*/ 12 h 163"/>
                <a:gd name="T20" fmla="*/ 19 w 182"/>
                <a:gd name="T21" fmla="*/ 28 h 163"/>
                <a:gd name="T22" fmla="*/ 30 w 182"/>
                <a:gd name="T23" fmla="*/ 44 h 163"/>
                <a:gd name="T24" fmla="*/ 28 w 182"/>
                <a:gd name="T25" fmla="*/ 97 h 163"/>
                <a:gd name="T26" fmla="*/ 0 w 182"/>
                <a:gd name="T27" fmla="*/ 130 h 163"/>
                <a:gd name="T28" fmla="*/ 32 w 182"/>
                <a:gd name="T29" fmla="*/ 163 h 163"/>
                <a:gd name="T30" fmla="*/ 65 w 182"/>
                <a:gd name="T31" fmla="*/ 130 h 163"/>
                <a:gd name="T32" fmla="*/ 65 w 182"/>
                <a:gd name="T33" fmla="*/ 128 h 163"/>
                <a:gd name="T34" fmla="*/ 137 w 182"/>
                <a:gd name="T35" fmla="*/ 100 h 163"/>
                <a:gd name="T36" fmla="*/ 158 w 182"/>
                <a:gd name="T37" fmla="*/ 111 h 163"/>
                <a:gd name="T38" fmla="*/ 182 w 182"/>
                <a:gd name="T39" fmla="*/ 87 h 163"/>
                <a:gd name="T40" fmla="*/ 158 w 182"/>
                <a:gd name="T41" fmla="*/ 63 h 163"/>
                <a:gd name="T42" fmla="*/ 48 w 182"/>
                <a:gd name="T43" fmla="*/ 101 h 163"/>
                <a:gd name="T44" fmla="*/ 38 w 182"/>
                <a:gd name="T45" fmla="*/ 97 h 163"/>
                <a:gd name="T46" fmla="*/ 40 w 182"/>
                <a:gd name="T47" fmla="*/ 44 h 163"/>
                <a:gd name="T48" fmla="*/ 47 w 182"/>
                <a:gd name="T49" fmla="*/ 40 h 163"/>
                <a:gd name="T50" fmla="*/ 79 w 182"/>
                <a:gd name="T51" fmla="*/ 55 h 163"/>
                <a:gd name="T52" fmla="*/ 48 w 182"/>
                <a:gd name="T53" fmla="*/ 101 h 163"/>
                <a:gd name="T54" fmla="*/ 53 w 182"/>
                <a:gd name="T55" fmla="*/ 31 h 163"/>
                <a:gd name="T56" fmla="*/ 92 w 182"/>
                <a:gd name="T57" fmla="*/ 26 h 163"/>
                <a:gd name="T58" fmla="*/ 95 w 182"/>
                <a:gd name="T59" fmla="*/ 31 h 163"/>
                <a:gd name="T60" fmla="*/ 84 w 182"/>
                <a:gd name="T61" fmla="*/ 46 h 163"/>
                <a:gd name="T62" fmla="*/ 53 w 182"/>
                <a:gd name="T63" fmla="*/ 31 h 163"/>
                <a:gd name="T64" fmla="*/ 63 w 182"/>
                <a:gd name="T65" fmla="*/ 118 h 163"/>
                <a:gd name="T66" fmla="*/ 56 w 182"/>
                <a:gd name="T67" fmla="*/ 107 h 163"/>
                <a:gd name="T68" fmla="*/ 88 w 182"/>
                <a:gd name="T69" fmla="*/ 59 h 163"/>
                <a:gd name="T70" fmla="*/ 134 w 182"/>
                <a:gd name="T71" fmla="*/ 81 h 163"/>
                <a:gd name="T72" fmla="*/ 133 w 182"/>
                <a:gd name="T73" fmla="*/ 87 h 163"/>
                <a:gd name="T74" fmla="*/ 134 w 182"/>
                <a:gd name="T75" fmla="*/ 91 h 163"/>
                <a:gd name="T76" fmla="*/ 63 w 182"/>
                <a:gd name="T77" fmla="*/ 11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2" h="163">
                  <a:moveTo>
                    <a:pt x="158" y="63"/>
                  </a:moveTo>
                  <a:cubicBezTo>
                    <a:pt x="150" y="63"/>
                    <a:pt x="143" y="66"/>
                    <a:pt x="138" y="72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5" y="37"/>
                    <a:pt x="107" y="37"/>
                    <a:pt x="109" y="37"/>
                  </a:cubicBezTo>
                  <a:cubicBezTo>
                    <a:pt x="119" y="37"/>
                    <a:pt x="127" y="29"/>
                    <a:pt x="127" y="18"/>
                  </a:cubicBezTo>
                  <a:cubicBezTo>
                    <a:pt x="127" y="8"/>
                    <a:pt x="119" y="0"/>
                    <a:pt x="109" y="0"/>
                  </a:cubicBezTo>
                  <a:cubicBezTo>
                    <a:pt x="99" y="0"/>
                    <a:pt x="91" y="7"/>
                    <a:pt x="90" y="16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48" y="16"/>
                    <a:pt x="42" y="12"/>
                    <a:pt x="35" y="12"/>
                  </a:cubicBezTo>
                  <a:cubicBezTo>
                    <a:pt x="26" y="12"/>
                    <a:pt x="19" y="19"/>
                    <a:pt x="19" y="28"/>
                  </a:cubicBezTo>
                  <a:cubicBezTo>
                    <a:pt x="19" y="36"/>
                    <a:pt x="24" y="42"/>
                    <a:pt x="30" y="44"/>
                  </a:cubicBezTo>
                  <a:cubicBezTo>
                    <a:pt x="28" y="97"/>
                    <a:pt x="28" y="97"/>
                    <a:pt x="28" y="97"/>
                  </a:cubicBezTo>
                  <a:cubicBezTo>
                    <a:pt x="12" y="99"/>
                    <a:pt x="0" y="113"/>
                    <a:pt x="0" y="130"/>
                  </a:cubicBezTo>
                  <a:cubicBezTo>
                    <a:pt x="0" y="148"/>
                    <a:pt x="14" y="163"/>
                    <a:pt x="32" y="163"/>
                  </a:cubicBezTo>
                  <a:cubicBezTo>
                    <a:pt x="51" y="163"/>
                    <a:pt x="65" y="148"/>
                    <a:pt x="65" y="130"/>
                  </a:cubicBezTo>
                  <a:cubicBezTo>
                    <a:pt x="65" y="129"/>
                    <a:pt x="65" y="128"/>
                    <a:pt x="65" y="128"/>
                  </a:cubicBezTo>
                  <a:cubicBezTo>
                    <a:pt x="137" y="100"/>
                    <a:pt x="137" y="100"/>
                    <a:pt x="137" y="100"/>
                  </a:cubicBezTo>
                  <a:cubicBezTo>
                    <a:pt x="141" y="107"/>
                    <a:pt x="149" y="111"/>
                    <a:pt x="158" y="111"/>
                  </a:cubicBezTo>
                  <a:cubicBezTo>
                    <a:pt x="171" y="111"/>
                    <a:pt x="182" y="100"/>
                    <a:pt x="182" y="87"/>
                  </a:cubicBezTo>
                  <a:cubicBezTo>
                    <a:pt x="182" y="74"/>
                    <a:pt x="171" y="63"/>
                    <a:pt x="158" y="63"/>
                  </a:cubicBezTo>
                  <a:close/>
                  <a:moveTo>
                    <a:pt x="48" y="101"/>
                  </a:moveTo>
                  <a:cubicBezTo>
                    <a:pt x="45" y="99"/>
                    <a:pt x="42" y="98"/>
                    <a:pt x="38" y="97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3" y="43"/>
                    <a:pt x="45" y="42"/>
                    <a:pt x="47" y="40"/>
                  </a:cubicBezTo>
                  <a:cubicBezTo>
                    <a:pt x="79" y="55"/>
                    <a:pt x="79" y="55"/>
                    <a:pt x="79" y="55"/>
                  </a:cubicBezTo>
                  <a:lnTo>
                    <a:pt x="48" y="101"/>
                  </a:lnTo>
                  <a:close/>
                  <a:moveTo>
                    <a:pt x="53" y="31"/>
                  </a:moveTo>
                  <a:cubicBezTo>
                    <a:pt x="92" y="26"/>
                    <a:pt x="92" y="26"/>
                    <a:pt x="92" y="26"/>
                  </a:cubicBezTo>
                  <a:cubicBezTo>
                    <a:pt x="92" y="28"/>
                    <a:pt x="93" y="29"/>
                    <a:pt x="95" y="31"/>
                  </a:cubicBezTo>
                  <a:cubicBezTo>
                    <a:pt x="84" y="46"/>
                    <a:pt x="84" y="46"/>
                    <a:pt x="84" y="46"/>
                  </a:cubicBezTo>
                  <a:lnTo>
                    <a:pt x="53" y="31"/>
                  </a:lnTo>
                  <a:close/>
                  <a:moveTo>
                    <a:pt x="63" y="118"/>
                  </a:moveTo>
                  <a:cubicBezTo>
                    <a:pt x="61" y="114"/>
                    <a:pt x="59" y="110"/>
                    <a:pt x="56" y="107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134" y="81"/>
                    <a:pt x="134" y="81"/>
                    <a:pt x="134" y="81"/>
                  </a:cubicBezTo>
                  <a:cubicBezTo>
                    <a:pt x="133" y="83"/>
                    <a:pt x="133" y="85"/>
                    <a:pt x="133" y="87"/>
                  </a:cubicBezTo>
                  <a:cubicBezTo>
                    <a:pt x="133" y="88"/>
                    <a:pt x="133" y="90"/>
                    <a:pt x="134" y="91"/>
                  </a:cubicBezTo>
                  <a:lnTo>
                    <a:pt x="63" y="1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60">
              <a:extLst>
                <a:ext uri="{FF2B5EF4-FFF2-40B4-BE49-F238E27FC236}">
                  <a16:creationId xmlns:a16="http://schemas.microsoft.com/office/drawing/2014/main" id="{54288487-8D15-4BA1-90CE-07A5EF44ECD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3" y="2083"/>
              <a:ext cx="348" cy="343"/>
            </a:xfrm>
            <a:custGeom>
              <a:avLst/>
              <a:gdLst>
                <a:gd name="T0" fmla="*/ 0 w 253"/>
                <a:gd name="T1" fmla="*/ 153 h 249"/>
                <a:gd name="T2" fmla="*/ 23 w 253"/>
                <a:gd name="T3" fmla="*/ 232 h 249"/>
                <a:gd name="T4" fmla="*/ 94 w 253"/>
                <a:gd name="T5" fmla="*/ 249 h 249"/>
                <a:gd name="T6" fmla="*/ 253 w 253"/>
                <a:gd name="T7" fmla="*/ 90 h 249"/>
                <a:gd name="T8" fmla="*/ 240 w 253"/>
                <a:gd name="T9" fmla="*/ 26 h 249"/>
                <a:gd name="T10" fmla="*/ 154 w 253"/>
                <a:gd name="T11" fmla="*/ 0 h 249"/>
                <a:gd name="T12" fmla="*/ 0 w 253"/>
                <a:gd name="T13" fmla="*/ 153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3" h="249">
                  <a:moveTo>
                    <a:pt x="0" y="153"/>
                  </a:moveTo>
                  <a:cubicBezTo>
                    <a:pt x="0" y="182"/>
                    <a:pt x="9" y="209"/>
                    <a:pt x="23" y="232"/>
                  </a:cubicBezTo>
                  <a:cubicBezTo>
                    <a:pt x="44" y="243"/>
                    <a:pt x="68" y="249"/>
                    <a:pt x="94" y="249"/>
                  </a:cubicBezTo>
                  <a:cubicBezTo>
                    <a:pt x="182" y="249"/>
                    <a:pt x="253" y="178"/>
                    <a:pt x="253" y="90"/>
                  </a:cubicBezTo>
                  <a:cubicBezTo>
                    <a:pt x="253" y="67"/>
                    <a:pt x="248" y="46"/>
                    <a:pt x="240" y="26"/>
                  </a:cubicBezTo>
                  <a:cubicBezTo>
                    <a:pt x="215" y="9"/>
                    <a:pt x="185" y="0"/>
                    <a:pt x="154" y="0"/>
                  </a:cubicBezTo>
                  <a:cubicBezTo>
                    <a:pt x="69" y="0"/>
                    <a:pt x="0" y="68"/>
                    <a:pt x="0" y="153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61">
              <a:extLst>
                <a:ext uri="{FF2B5EF4-FFF2-40B4-BE49-F238E27FC236}">
                  <a16:creationId xmlns:a16="http://schemas.microsoft.com/office/drawing/2014/main" id="{581DFA33-A241-4011-95E6-967D03EDB63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3" y="2208"/>
              <a:ext cx="238" cy="175"/>
            </a:xfrm>
            <a:custGeom>
              <a:avLst/>
              <a:gdLst>
                <a:gd name="T0" fmla="*/ 138 w 173"/>
                <a:gd name="T1" fmla="*/ 27 h 127"/>
                <a:gd name="T2" fmla="*/ 131 w 173"/>
                <a:gd name="T3" fmla="*/ 33 h 127"/>
                <a:gd name="T4" fmla="*/ 130 w 173"/>
                <a:gd name="T5" fmla="*/ 31 h 127"/>
                <a:gd name="T6" fmla="*/ 71 w 173"/>
                <a:gd name="T7" fmla="*/ 10 h 127"/>
                <a:gd name="T8" fmla="*/ 49 w 173"/>
                <a:gd name="T9" fmla="*/ 66 h 127"/>
                <a:gd name="T10" fmla="*/ 22 w 173"/>
                <a:gd name="T11" fmla="*/ 65 h 127"/>
                <a:gd name="T12" fmla="*/ 7 w 173"/>
                <a:gd name="T13" fmla="*/ 105 h 127"/>
                <a:gd name="T14" fmla="*/ 48 w 173"/>
                <a:gd name="T15" fmla="*/ 119 h 127"/>
                <a:gd name="T16" fmla="*/ 157 w 173"/>
                <a:gd name="T17" fmla="*/ 67 h 127"/>
                <a:gd name="T18" fmla="*/ 168 w 173"/>
                <a:gd name="T19" fmla="*/ 38 h 127"/>
                <a:gd name="T20" fmla="*/ 138 w 173"/>
                <a:gd name="T21" fmla="*/ 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127">
                  <a:moveTo>
                    <a:pt x="138" y="27"/>
                  </a:moveTo>
                  <a:cubicBezTo>
                    <a:pt x="135" y="29"/>
                    <a:pt x="133" y="31"/>
                    <a:pt x="131" y="33"/>
                  </a:cubicBezTo>
                  <a:cubicBezTo>
                    <a:pt x="131" y="32"/>
                    <a:pt x="130" y="32"/>
                    <a:pt x="130" y="31"/>
                  </a:cubicBezTo>
                  <a:cubicBezTo>
                    <a:pt x="120" y="9"/>
                    <a:pt x="93" y="0"/>
                    <a:pt x="71" y="10"/>
                  </a:cubicBezTo>
                  <a:cubicBezTo>
                    <a:pt x="50" y="20"/>
                    <a:pt x="41" y="44"/>
                    <a:pt x="49" y="66"/>
                  </a:cubicBezTo>
                  <a:cubicBezTo>
                    <a:pt x="41" y="61"/>
                    <a:pt x="31" y="61"/>
                    <a:pt x="22" y="65"/>
                  </a:cubicBezTo>
                  <a:cubicBezTo>
                    <a:pt x="7" y="72"/>
                    <a:pt x="0" y="90"/>
                    <a:pt x="7" y="105"/>
                  </a:cubicBezTo>
                  <a:cubicBezTo>
                    <a:pt x="15" y="120"/>
                    <a:pt x="33" y="127"/>
                    <a:pt x="48" y="119"/>
                  </a:cubicBezTo>
                  <a:cubicBezTo>
                    <a:pt x="60" y="113"/>
                    <a:pt x="149" y="71"/>
                    <a:pt x="157" y="67"/>
                  </a:cubicBezTo>
                  <a:cubicBezTo>
                    <a:pt x="169" y="62"/>
                    <a:pt x="173" y="49"/>
                    <a:pt x="168" y="38"/>
                  </a:cubicBezTo>
                  <a:cubicBezTo>
                    <a:pt x="163" y="27"/>
                    <a:pt x="149" y="22"/>
                    <a:pt x="138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62">
              <a:extLst>
                <a:ext uri="{FF2B5EF4-FFF2-40B4-BE49-F238E27FC236}">
                  <a16:creationId xmlns:a16="http://schemas.microsoft.com/office/drawing/2014/main" id="{FFC5E07B-736D-4889-935F-E5E02ABC8FA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8" y="2323"/>
              <a:ext cx="486" cy="486"/>
            </a:xfrm>
            <a:custGeom>
              <a:avLst/>
              <a:gdLst>
                <a:gd name="T0" fmla="*/ 331 w 353"/>
                <a:gd name="T1" fmla="*/ 136 h 353"/>
                <a:gd name="T2" fmla="*/ 217 w 353"/>
                <a:gd name="T3" fmla="*/ 331 h 353"/>
                <a:gd name="T4" fmla="*/ 22 w 353"/>
                <a:gd name="T5" fmla="*/ 217 h 353"/>
                <a:gd name="T6" fmla="*/ 136 w 353"/>
                <a:gd name="T7" fmla="*/ 22 h 353"/>
                <a:gd name="T8" fmla="*/ 331 w 353"/>
                <a:gd name="T9" fmla="*/ 136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353">
                  <a:moveTo>
                    <a:pt x="331" y="136"/>
                  </a:moveTo>
                  <a:cubicBezTo>
                    <a:pt x="353" y="221"/>
                    <a:pt x="302" y="309"/>
                    <a:pt x="217" y="331"/>
                  </a:cubicBezTo>
                  <a:cubicBezTo>
                    <a:pt x="131" y="353"/>
                    <a:pt x="44" y="302"/>
                    <a:pt x="22" y="217"/>
                  </a:cubicBezTo>
                  <a:cubicBezTo>
                    <a:pt x="0" y="131"/>
                    <a:pt x="51" y="44"/>
                    <a:pt x="136" y="22"/>
                  </a:cubicBezTo>
                  <a:cubicBezTo>
                    <a:pt x="221" y="0"/>
                    <a:pt x="309" y="51"/>
                    <a:pt x="331" y="136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63">
              <a:extLst>
                <a:ext uri="{FF2B5EF4-FFF2-40B4-BE49-F238E27FC236}">
                  <a16:creationId xmlns:a16="http://schemas.microsoft.com/office/drawing/2014/main" id="{3EB99422-73E6-40F4-B4FB-0D824C820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8" y="2334"/>
              <a:ext cx="416" cy="381"/>
            </a:xfrm>
            <a:custGeom>
              <a:avLst/>
              <a:gdLst>
                <a:gd name="T0" fmla="*/ 284 w 302"/>
                <a:gd name="T1" fmla="*/ 51 h 277"/>
                <a:gd name="T2" fmla="*/ 136 w 302"/>
                <a:gd name="T3" fmla="*/ 14 h 277"/>
                <a:gd name="T4" fmla="*/ 22 w 302"/>
                <a:gd name="T5" fmla="*/ 209 h 277"/>
                <a:gd name="T6" fmla="*/ 55 w 302"/>
                <a:gd name="T7" fmla="*/ 272 h 277"/>
                <a:gd name="T8" fmla="*/ 140 w 302"/>
                <a:gd name="T9" fmla="*/ 269 h 277"/>
                <a:gd name="T10" fmla="*/ 284 w 302"/>
                <a:gd name="T11" fmla="*/ 51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277">
                  <a:moveTo>
                    <a:pt x="284" y="51"/>
                  </a:moveTo>
                  <a:cubicBezTo>
                    <a:pt x="245" y="15"/>
                    <a:pt x="190" y="0"/>
                    <a:pt x="136" y="14"/>
                  </a:cubicBezTo>
                  <a:cubicBezTo>
                    <a:pt x="51" y="36"/>
                    <a:pt x="0" y="123"/>
                    <a:pt x="22" y="209"/>
                  </a:cubicBezTo>
                  <a:cubicBezTo>
                    <a:pt x="28" y="233"/>
                    <a:pt x="40" y="254"/>
                    <a:pt x="55" y="272"/>
                  </a:cubicBezTo>
                  <a:cubicBezTo>
                    <a:pt x="82" y="277"/>
                    <a:pt x="111" y="276"/>
                    <a:pt x="140" y="269"/>
                  </a:cubicBezTo>
                  <a:cubicBezTo>
                    <a:pt x="240" y="243"/>
                    <a:pt x="302" y="148"/>
                    <a:pt x="284" y="51"/>
                  </a:cubicBez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64">
              <a:extLst>
                <a:ext uri="{FF2B5EF4-FFF2-40B4-BE49-F238E27FC236}">
                  <a16:creationId xmlns:a16="http://schemas.microsoft.com/office/drawing/2014/main" id="{2DE38680-112C-4681-97BE-11F230D5C14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8" y="2590"/>
              <a:ext cx="275" cy="275"/>
            </a:xfrm>
            <a:prstGeom prst="ellipse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65">
              <a:extLst>
                <a:ext uri="{FF2B5EF4-FFF2-40B4-BE49-F238E27FC236}">
                  <a16:creationId xmlns:a16="http://schemas.microsoft.com/office/drawing/2014/main" id="{95A9C060-0AF5-4CFA-80B6-506757DD1F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8" y="2590"/>
              <a:ext cx="183" cy="230"/>
            </a:xfrm>
            <a:custGeom>
              <a:avLst/>
              <a:gdLst>
                <a:gd name="T0" fmla="*/ 0 w 133"/>
                <a:gd name="T1" fmla="*/ 100 h 167"/>
                <a:gd name="T2" fmla="*/ 26 w 133"/>
                <a:gd name="T3" fmla="*/ 167 h 167"/>
                <a:gd name="T4" fmla="*/ 133 w 133"/>
                <a:gd name="T5" fmla="*/ 57 h 167"/>
                <a:gd name="T6" fmla="*/ 118 w 133"/>
                <a:gd name="T7" fmla="*/ 2 h 167"/>
                <a:gd name="T8" fmla="*/ 100 w 133"/>
                <a:gd name="T9" fmla="*/ 0 h 167"/>
                <a:gd name="T10" fmla="*/ 0 w 133"/>
                <a:gd name="T11" fmla="*/ 10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167">
                  <a:moveTo>
                    <a:pt x="0" y="100"/>
                  </a:moveTo>
                  <a:cubicBezTo>
                    <a:pt x="0" y="126"/>
                    <a:pt x="10" y="150"/>
                    <a:pt x="26" y="167"/>
                  </a:cubicBezTo>
                  <a:cubicBezTo>
                    <a:pt x="85" y="166"/>
                    <a:pt x="133" y="117"/>
                    <a:pt x="133" y="57"/>
                  </a:cubicBezTo>
                  <a:cubicBezTo>
                    <a:pt x="133" y="37"/>
                    <a:pt x="128" y="18"/>
                    <a:pt x="118" y="2"/>
                  </a:cubicBezTo>
                  <a:cubicBezTo>
                    <a:pt x="112" y="1"/>
                    <a:pt x="106" y="0"/>
                    <a:pt x="100" y="0"/>
                  </a:cubicBezTo>
                  <a:cubicBezTo>
                    <a:pt x="45" y="0"/>
                    <a:pt x="0" y="45"/>
                    <a:pt x="0" y="100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66">
              <a:extLst>
                <a:ext uri="{FF2B5EF4-FFF2-40B4-BE49-F238E27FC236}">
                  <a16:creationId xmlns:a16="http://schemas.microsoft.com/office/drawing/2014/main" id="{87D63FAD-4AA3-412B-9A7D-B10E312C61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4" y="2445"/>
              <a:ext cx="185" cy="219"/>
            </a:xfrm>
            <a:custGeom>
              <a:avLst/>
              <a:gdLst>
                <a:gd name="T0" fmla="*/ 97 w 135"/>
                <a:gd name="T1" fmla="*/ 159 h 159"/>
                <a:gd name="T2" fmla="*/ 135 w 135"/>
                <a:gd name="T3" fmla="*/ 135 h 159"/>
                <a:gd name="T4" fmla="*/ 131 w 135"/>
                <a:gd name="T5" fmla="*/ 84 h 159"/>
                <a:gd name="T6" fmla="*/ 123 w 135"/>
                <a:gd name="T7" fmla="*/ 40 h 159"/>
                <a:gd name="T8" fmla="*/ 34 w 135"/>
                <a:gd name="T9" fmla="*/ 21 h 159"/>
                <a:gd name="T10" fmla="*/ 15 w 135"/>
                <a:gd name="T11" fmla="*/ 102 h 159"/>
                <a:gd name="T12" fmla="*/ 54 w 135"/>
                <a:gd name="T13" fmla="*/ 133 h 159"/>
                <a:gd name="T14" fmla="*/ 97 w 135"/>
                <a:gd name="T15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5" h="159">
                  <a:moveTo>
                    <a:pt x="97" y="159"/>
                  </a:moveTo>
                  <a:cubicBezTo>
                    <a:pt x="135" y="135"/>
                    <a:pt x="135" y="135"/>
                    <a:pt x="135" y="135"/>
                  </a:cubicBezTo>
                  <a:cubicBezTo>
                    <a:pt x="129" y="119"/>
                    <a:pt x="128" y="101"/>
                    <a:pt x="131" y="84"/>
                  </a:cubicBezTo>
                  <a:cubicBezTo>
                    <a:pt x="134" y="69"/>
                    <a:pt x="131" y="54"/>
                    <a:pt x="123" y="40"/>
                  </a:cubicBezTo>
                  <a:cubicBezTo>
                    <a:pt x="104" y="9"/>
                    <a:pt x="63" y="0"/>
                    <a:pt x="34" y="21"/>
                  </a:cubicBezTo>
                  <a:cubicBezTo>
                    <a:pt x="8" y="40"/>
                    <a:pt x="0" y="75"/>
                    <a:pt x="15" y="102"/>
                  </a:cubicBezTo>
                  <a:cubicBezTo>
                    <a:pt x="24" y="118"/>
                    <a:pt x="38" y="129"/>
                    <a:pt x="54" y="133"/>
                  </a:cubicBezTo>
                  <a:cubicBezTo>
                    <a:pt x="70" y="137"/>
                    <a:pt x="85" y="147"/>
                    <a:pt x="97" y="15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67">
              <a:extLst>
                <a:ext uri="{FF2B5EF4-FFF2-40B4-BE49-F238E27FC236}">
                  <a16:creationId xmlns:a16="http://schemas.microsoft.com/office/drawing/2014/main" id="{F4CDE1E0-97B0-4E6A-BA5D-4FC05A6EFE9B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6" y="2631"/>
              <a:ext cx="71" cy="62"/>
            </a:xfrm>
            <a:custGeom>
              <a:avLst/>
              <a:gdLst>
                <a:gd name="T0" fmla="*/ 53 w 71"/>
                <a:gd name="T1" fmla="*/ 0 h 62"/>
                <a:gd name="T2" fmla="*/ 0 w 71"/>
                <a:gd name="T3" fmla="*/ 33 h 62"/>
                <a:gd name="T4" fmla="*/ 18 w 71"/>
                <a:gd name="T5" fmla="*/ 62 h 62"/>
                <a:gd name="T6" fmla="*/ 35 w 71"/>
                <a:gd name="T7" fmla="*/ 50 h 62"/>
                <a:gd name="T8" fmla="*/ 44 w 71"/>
                <a:gd name="T9" fmla="*/ 62 h 62"/>
                <a:gd name="T10" fmla="*/ 60 w 71"/>
                <a:gd name="T11" fmla="*/ 52 h 62"/>
                <a:gd name="T12" fmla="*/ 52 w 71"/>
                <a:gd name="T13" fmla="*/ 40 h 62"/>
                <a:gd name="T14" fmla="*/ 71 w 71"/>
                <a:gd name="T15" fmla="*/ 28 h 62"/>
                <a:gd name="T16" fmla="*/ 53 w 71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62">
                  <a:moveTo>
                    <a:pt x="53" y="0"/>
                  </a:moveTo>
                  <a:lnTo>
                    <a:pt x="0" y="33"/>
                  </a:lnTo>
                  <a:lnTo>
                    <a:pt x="18" y="62"/>
                  </a:lnTo>
                  <a:lnTo>
                    <a:pt x="35" y="50"/>
                  </a:lnTo>
                  <a:lnTo>
                    <a:pt x="44" y="62"/>
                  </a:lnTo>
                  <a:lnTo>
                    <a:pt x="60" y="52"/>
                  </a:lnTo>
                  <a:lnTo>
                    <a:pt x="52" y="40"/>
                  </a:lnTo>
                  <a:lnTo>
                    <a:pt x="71" y="28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68">
              <a:extLst>
                <a:ext uri="{FF2B5EF4-FFF2-40B4-BE49-F238E27FC236}">
                  <a16:creationId xmlns:a16="http://schemas.microsoft.com/office/drawing/2014/main" id="{90E0A88E-EF84-42FE-A5C7-905C1E160F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11" y="2643"/>
              <a:ext cx="167" cy="168"/>
            </a:xfrm>
            <a:custGeom>
              <a:avLst/>
              <a:gdLst>
                <a:gd name="T0" fmla="*/ 121 w 121"/>
                <a:gd name="T1" fmla="*/ 69 h 122"/>
                <a:gd name="T2" fmla="*/ 121 w 121"/>
                <a:gd name="T3" fmla="*/ 52 h 122"/>
                <a:gd name="T4" fmla="*/ 104 w 121"/>
                <a:gd name="T5" fmla="*/ 50 h 122"/>
                <a:gd name="T6" fmla="*/ 99 w 121"/>
                <a:gd name="T7" fmla="*/ 38 h 122"/>
                <a:gd name="T8" fmla="*/ 109 w 121"/>
                <a:gd name="T9" fmla="*/ 24 h 122"/>
                <a:gd name="T10" fmla="*/ 98 w 121"/>
                <a:gd name="T11" fmla="*/ 12 h 122"/>
                <a:gd name="T12" fmla="*/ 83 w 121"/>
                <a:gd name="T13" fmla="*/ 23 h 122"/>
                <a:gd name="T14" fmla="*/ 72 w 121"/>
                <a:gd name="T15" fmla="*/ 18 h 122"/>
                <a:gd name="T16" fmla="*/ 69 w 121"/>
                <a:gd name="T17" fmla="*/ 0 h 122"/>
                <a:gd name="T18" fmla="*/ 52 w 121"/>
                <a:gd name="T19" fmla="*/ 0 h 122"/>
                <a:gd name="T20" fmla="*/ 49 w 121"/>
                <a:gd name="T21" fmla="*/ 18 h 122"/>
                <a:gd name="T22" fmla="*/ 38 w 121"/>
                <a:gd name="T23" fmla="*/ 23 h 122"/>
                <a:gd name="T24" fmla="*/ 23 w 121"/>
                <a:gd name="T25" fmla="*/ 12 h 122"/>
                <a:gd name="T26" fmla="*/ 12 w 121"/>
                <a:gd name="T27" fmla="*/ 24 h 122"/>
                <a:gd name="T28" fmla="*/ 22 w 121"/>
                <a:gd name="T29" fmla="*/ 38 h 122"/>
                <a:gd name="T30" fmla="*/ 18 w 121"/>
                <a:gd name="T31" fmla="*/ 50 h 122"/>
                <a:gd name="T32" fmla="*/ 0 w 121"/>
                <a:gd name="T33" fmla="*/ 52 h 122"/>
                <a:gd name="T34" fmla="*/ 0 w 121"/>
                <a:gd name="T35" fmla="*/ 69 h 122"/>
                <a:gd name="T36" fmla="*/ 17 w 121"/>
                <a:gd name="T37" fmla="*/ 72 h 122"/>
                <a:gd name="T38" fmla="*/ 22 w 121"/>
                <a:gd name="T39" fmla="*/ 84 h 122"/>
                <a:gd name="T40" fmla="*/ 12 w 121"/>
                <a:gd name="T41" fmla="*/ 98 h 122"/>
                <a:gd name="T42" fmla="*/ 23 w 121"/>
                <a:gd name="T43" fmla="*/ 110 h 122"/>
                <a:gd name="T44" fmla="*/ 38 w 121"/>
                <a:gd name="T45" fmla="*/ 99 h 122"/>
                <a:gd name="T46" fmla="*/ 50 w 121"/>
                <a:gd name="T47" fmla="*/ 104 h 122"/>
                <a:gd name="T48" fmla="*/ 52 w 121"/>
                <a:gd name="T49" fmla="*/ 122 h 122"/>
                <a:gd name="T50" fmla="*/ 69 w 121"/>
                <a:gd name="T51" fmla="*/ 122 h 122"/>
                <a:gd name="T52" fmla="*/ 72 w 121"/>
                <a:gd name="T53" fmla="*/ 104 h 122"/>
                <a:gd name="T54" fmla="*/ 84 w 121"/>
                <a:gd name="T55" fmla="*/ 99 h 122"/>
                <a:gd name="T56" fmla="*/ 98 w 121"/>
                <a:gd name="T57" fmla="*/ 110 h 122"/>
                <a:gd name="T58" fmla="*/ 109 w 121"/>
                <a:gd name="T59" fmla="*/ 98 h 122"/>
                <a:gd name="T60" fmla="*/ 99 w 121"/>
                <a:gd name="T61" fmla="*/ 84 h 122"/>
                <a:gd name="T62" fmla="*/ 104 w 121"/>
                <a:gd name="T63" fmla="*/ 72 h 122"/>
                <a:gd name="T64" fmla="*/ 121 w 121"/>
                <a:gd name="T65" fmla="*/ 69 h 122"/>
                <a:gd name="T66" fmla="*/ 66 w 121"/>
                <a:gd name="T67" fmla="*/ 84 h 122"/>
                <a:gd name="T68" fmla="*/ 37 w 121"/>
                <a:gd name="T69" fmla="*/ 56 h 122"/>
                <a:gd name="T70" fmla="*/ 55 w 121"/>
                <a:gd name="T71" fmla="*/ 38 h 122"/>
                <a:gd name="T72" fmla="*/ 84 w 121"/>
                <a:gd name="T73" fmla="*/ 67 h 122"/>
                <a:gd name="T74" fmla="*/ 66 w 121"/>
                <a:gd name="T75" fmla="*/ 8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1" h="122">
                  <a:moveTo>
                    <a:pt x="121" y="69"/>
                  </a:moveTo>
                  <a:cubicBezTo>
                    <a:pt x="121" y="52"/>
                    <a:pt x="121" y="52"/>
                    <a:pt x="121" y="52"/>
                  </a:cubicBezTo>
                  <a:cubicBezTo>
                    <a:pt x="104" y="50"/>
                    <a:pt x="104" y="50"/>
                    <a:pt x="104" y="50"/>
                  </a:cubicBezTo>
                  <a:cubicBezTo>
                    <a:pt x="103" y="46"/>
                    <a:pt x="101" y="42"/>
                    <a:pt x="99" y="38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79" y="21"/>
                    <a:pt x="76" y="19"/>
                    <a:pt x="72" y="18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5" y="19"/>
                    <a:pt x="42" y="21"/>
                    <a:pt x="38" y="23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0" y="42"/>
                    <a:pt x="19" y="46"/>
                    <a:pt x="18" y="5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8" y="76"/>
                    <a:pt x="20" y="80"/>
                    <a:pt x="22" y="84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23" y="110"/>
                    <a:pt x="23" y="110"/>
                    <a:pt x="23" y="110"/>
                  </a:cubicBezTo>
                  <a:cubicBezTo>
                    <a:pt x="38" y="99"/>
                    <a:pt x="38" y="99"/>
                    <a:pt x="38" y="99"/>
                  </a:cubicBezTo>
                  <a:cubicBezTo>
                    <a:pt x="41" y="102"/>
                    <a:pt x="45" y="103"/>
                    <a:pt x="50" y="104"/>
                  </a:cubicBezTo>
                  <a:cubicBezTo>
                    <a:pt x="52" y="122"/>
                    <a:pt x="52" y="122"/>
                    <a:pt x="52" y="122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6" y="103"/>
                    <a:pt x="80" y="102"/>
                    <a:pt x="84" y="99"/>
                  </a:cubicBezTo>
                  <a:cubicBezTo>
                    <a:pt x="98" y="110"/>
                    <a:pt x="98" y="110"/>
                    <a:pt x="98" y="110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101" y="80"/>
                    <a:pt x="103" y="76"/>
                    <a:pt x="104" y="72"/>
                  </a:cubicBezTo>
                  <a:lnTo>
                    <a:pt x="121" y="69"/>
                  </a:lnTo>
                  <a:close/>
                  <a:moveTo>
                    <a:pt x="66" y="84"/>
                  </a:moveTo>
                  <a:cubicBezTo>
                    <a:pt x="49" y="88"/>
                    <a:pt x="34" y="73"/>
                    <a:pt x="37" y="56"/>
                  </a:cubicBezTo>
                  <a:cubicBezTo>
                    <a:pt x="39" y="47"/>
                    <a:pt x="46" y="40"/>
                    <a:pt x="55" y="38"/>
                  </a:cubicBezTo>
                  <a:cubicBezTo>
                    <a:pt x="72" y="34"/>
                    <a:pt x="88" y="49"/>
                    <a:pt x="84" y="67"/>
                  </a:cubicBezTo>
                  <a:cubicBezTo>
                    <a:pt x="82" y="75"/>
                    <a:pt x="75" y="83"/>
                    <a:pt x="66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Oval 69">
              <a:extLst>
                <a:ext uri="{FF2B5EF4-FFF2-40B4-BE49-F238E27FC236}">
                  <a16:creationId xmlns:a16="http://schemas.microsoft.com/office/drawing/2014/main" id="{A360E85C-0006-4002-820C-92C9372D5D7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88" y="2043"/>
              <a:ext cx="327" cy="329"/>
            </a:xfrm>
            <a:prstGeom prst="ellipse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70">
              <a:extLst>
                <a:ext uri="{FF2B5EF4-FFF2-40B4-BE49-F238E27FC236}">
                  <a16:creationId xmlns:a16="http://schemas.microsoft.com/office/drawing/2014/main" id="{3BCB3DB1-5661-4C0B-A0AF-1C7437879D1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88" y="2043"/>
              <a:ext cx="271" cy="267"/>
            </a:xfrm>
            <a:custGeom>
              <a:avLst/>
              <a:gdLst>
                <a:gd name="T0" fmla="*/ 0 w 197"/>
                <a:gd name="T1" fmla="*/ 120 h 194"/>
                <a:gd name="T2" fmla="*/ 17 w 197"/>
                <a:gd name="T3" fmla="*/ 181 h 194"/>
                <a:gd name="T4" fmla="*/ 73 w 197"/>
                <a:gd name="T5" fmla="*/ 194 h 194"/>
                <a:gd name="T6" fmla="*/ 197 w 197"/>
                <a:gd name="T7" fmla="*/ 70 h 194"/>
                <a:gd name="T8" fmla="*/ 186 w 197"/>
                <a:gd name="T9" fmla="*/ 21 h 194"/>
                <a:gd name="T10" fmla="*/ 119 w 197"/>
                <a:gd name="T11" fmla="*/ 0 h 194"/>
                <a:gd name="T12" fmla="*/ 0 w 197"/>
                <a:gd name="T13" fmla="*/ 12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7" h="194">
                  <a:moveTo>
                    <a:pt x="0" y="120"/>
                  </a:moveTo>
                  <a:cubicBezTo>
                    <a:pt x="0" y="142"/>
                    <a:pt x="6" y="163"/>
                    <a:pt x="17" y="181"/>
                  </a:cubicBezTo>
                  <a:cubicBezTo>
                    <a:pt x="34" y="190"/>
                    <a:pt x="53" y="194"/>
                    <a:pt x="73" y="194"/>
                  </a:cubicBezTo>
                  <a:cubicBezTo>
                    <a:pt x="141" y="194"/>
                    <a:pt x="197" y="139"/>
                    <a:pt x="197" y="70"/>
                  </a:cubicBezTo>
                  <a:cubicBezTo>
                    <a:pt x="197" y="53"/>
                    <a:pt x="193" y="36"/>
                    <a:pt x="186" y="21"/>
                  </a:cubicBezTo>
                  <a:cubicBezTo>
                    <a:pt x="167" y="8"/>
                    <a:pt x="144" y="0"/>
                    <a:pt x="119" y="0"/>
                  </a:cubicBezTo>
                  <a:cubicBezTo>
                    <a:pt x="53" y="0"/>
                    <a:pt x="0" y="54"/>
                    <a:pt x="0" y="120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71">
              <a:extLst>
                <a:ext uri="{FF2B5EF4-FFF2-40B4-BE49-F238E27FC236}">
                  <a16:creationId xmlns:a16="http://schemas.microsoft.com/office/drawing/2014/main" id="{2B51820D-2790-45B7-A6F5-37A9326E130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6" y="2111"/>
              <a:ext cx="180" cy="183"/>
            </a:xfrm>
            <a:custGeom>
              <a:avLst/>
              <a:gdLst>
                <a:gd name="T0" fmla="*/ 118 w 131"/>
                <a:gd name="T1" fmla="*/ 74 h 133"/>
                <a:gd name="T2" fmla="*/ 71 w 131"/>
                <a:gd name="T3" fmla="*/ 61 h 133"/>
                <a:gd name="T4" fmla="*/ 60 w 131"/>
                <a:gd name="T5" fmla="*/ 13 h 133"/>
                <a:gd name="T6" fmla="*/ 14 w 131"/>
                <a:gd name="T7" fmla="*/ 12 h 133"/>
                <a:gd name="T8" fmla="*/ 13 w 131"/>
                <a:gd name="T9" fmla="*/ 59 h 133"/>
                <a:gd name="T10" fmla="*/ 48 w 131"/>
                <a:gd name="T11" fmla="*/ 72 h 133"/>
                <a:gd name="T12" fmla="*/ 49 w 131"/>
                <a:gd name="T13" fmla="*/ 61 h 133"/>
                <a:gd name="T14" fmla="*/ 21 w 131"/>
                <a:gd name="T15" fmla="*/ 51 h 133"/>
                <a:gd name="T16" fmla="*/ 21 w 131"/>
                <a:gd name="T17" fmla="*/ 20 h 133"/>
                <a:gd name="T18" fmla="*/ 52 w 131"/>
                <a:gd name="T19" fmla="*/ 21 h 133"/>
                <a:gd name="T20" fmla="*/ 60 w 131"/>
                <a:gd name="T21" fmla="*/ 61 h 133"/>
                <a:gd name="T22" fmla="*/ 59 w 131"/>
                <a:gd name="T23" fmla="*/ 72 h 133"/>
                <a:gd name="T24" fmla="*/ 71 w 131"/>
                <a:gd name="T25" fmla="*/ 120 h 133"/>
                <a:gd name="T26" fmla="*/ 117 w 131"/>
                <a:gd name="T27" fmla="*/ 121 h 133"/>
                <a:gd name="T28" fmla="*/ 118 w 131"/>
                <a:gd name="T29" fmla="*/ 74 h 133"/>
                <a:gd name="T30" fmla="*/ 79 w 131"/>
                <a:gd name="T31" fmla="*/ 112 h 133"/>
                <a:gd name="T32" fmla="*/ 71 w 131"/>
                <a:gd name="T33" fmla="*/ 72 h 133"/>
                <a:gd name="T34" fmla="*/ 110 w 131"/>
                <a:gd name="T35" fmla="*/ 82 h 133"/>
                <a:gd name="T36" fmla="*/ 110 w 131"/>
                <a:gd name="T37" fmla="*/ 113 h 133"/>
                <a:gd name="T38" fmla="*/ 79 w 131"/>
                <a:gd name="T39" fmla="*/ 11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1" h="133">
                  <a:moveTo>
                    <a:pt x="118" y="74"/>
                  </a:moveTo>
                  <a:cubicBezTo>
                    <a:pt x="106" y="62"/>
                    <a:pt x="89" y="61"/>
                    <a:pt x="71" y="61"/>
                  </a:cubicBezTo>
                  <a:cubicBezTo>
                    <a:pt x="72" y="43"/>
                    <a:pt x="72" y="26"/>
                    <a:pt x="60" y="13"/>
                  </a:cubicBezTo>
                  <a:cubicBezTo>
                    <a:pt x="48" y="0"/>
                    <a:pt x="27" y="0"/>
                    <a:pt x="14" y="12"/>
                  </a:cubicBezTo>
                  <a:cubicBezTo>
                    <a:pt x="1" y="25"/>
                    <a:pt x="0" y="45"/>
                    <a:pt x="13" y="59"/>
                  </a:cubicBezTo>
                  <a:cubicBezTo>
                    <a:pt x="22" y="68"/>
                    <a:pt x="35" y="71"/>
                    <a:pt x="48" y="72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38" y="60"/>
                    <a:pt x="28" y="58"/>
                    <a:pt x="21" y="51"/>
                  </a:cubicBezTo>
                  <a:cubicBezTo>
                    <a:pt x="12" y="42"/>
                    <a:pt x="13" y="28"/>
                    <a:pt x="21" y="20"/>
                  </a:cubicBezTo>
                  <a:cubicBezTo>
                    <a:pt x="30" y="12"/>
                    <a:pt x="44" y="12"/>
                    <a:pt x="52" y="21"/>
                  </a:cubicBezTo>
                  <a:cubicBezTo>
                    <a:pt x="61" y="30"/>
                    <a:pt x="61" y="45"/>
                    <a:pt x="60" y="61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8" y="89"/>
                    <a:pt x="59" y="107"/>
                    <a:pt x="71" y="120"/>
                  </a:cubicBezTo>
                  <a:cubicBezTo>
                    <a:pt x="83" y="133"/>
                    <a:pt x="104" y="133"/>
                    <a:pt x="117" y="121"/>
                  </a:cubicBezTo>
                  <a:cubicBezTo>
                    <a:pt x="130" y="108"/>
                    <a:pt x="131" y="87"/>
                    <a:pt x="118" y="74"/>
                  </a:cubicBezTo>
                  <a:close/>
                  <a:moveTo>
                    <a:pt x="79" y="112"/>
                  </a:moveTo>
                  <a:cubicBezTo>
                    <a:pt x="70" y="102"/>
                    <a:pt x="70" y="88"/>
                    <a:pt x="71" y="72"/>
                  </a:cubicBezTo>
                  <a:cubicBezTo>
                    <a:pt x="86" y="72"/>
                    <a:pt x="101" y="72"/>
                    <a:pt x="110" y="82"/>
                  </a:cubicBezTo>
                  <a:cubicBezTo>
                    <a:pt x="119" y="91"/>
                    <a:pt x="118" y="104"/>
                    <a:pt x="110" y="113"/>
                  </a:cubicBezTo>
                  <a:cubicBezTo>
                    <a:pt x="101" y="121"/>
                    <a:pt x="87" y="121"/>
                    <a:pt x="79" y="1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72">
              <a:extLst>
                <a:ext uri="{FF2B5EF4-FFF2-40B4-BE49-F238E27FC236}">
                  <a16:creationId xmlns:a16="http://schemas.microsoft.com/office/drawing/2014/main" id="{DF852773-C1BB-4EB4-ADD7-864C24A06A9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1" y="2667"/>
              <a:ext cx="747" cy="372"/>
            </a:xfrm>
            <a:custGeom>
              <a:avLst/>
              <a:gdLst>
                <a:gd name="T0" fmla="*/ 449 w 543"/>
                <a:gd name="T1" fmla="*/ 82 h 270"/>
                <a:gd name="T2" fmla="*/ 374 w 543"/>
                <a:gd name="T3" fmla="*/ 120 h 270"/>
                <a:gd name="T4" fmla="*/ 304 w 543"/>
                <a:gd name="T5" fmla="*/ 12 h 270"/>
                <a:gd name="T6" fmla="*/ 281 w 543"/>
                <a:gd name="T7" fmla="*/ 60 h 270"/>
                <a:gd name="T8" fmla="*/ 358 w 543"/>
                <a:gd name="T9" fmla="*/ 200 h 270"/>
                <a:gd name="T10" fmla="*/ 303 w 543"/>
                <a:gd name="T11" fmla="*/ 228 h 270"/>
                <a:gd name="T12" fmla="*/ 184 w 543"/>
                <a:gd name="T13" fmla="*/ 84 h 270"/>
                <a:gd name="T14" fmla="*/ 178 w 543"/>
                <a:gd name="T15" fmla="*/ 46 h 270"/>
                <a:gd name="T16" fmla="*/ 197 w 543"/>
                <a:gd name="T17" fmla="*/ 0 h 270"/>
                <a:gd name="T18" fmla="*/ 99 w 543"/>
                <a:gd name="T19" fmla="*/ 132 h 270"/>
                <a:gd name="T20" fmla="*/ 99 w 543"/>
                <a:gd name="T21" fmla="*/ 139 h 270"/>
                <a:gd name="T22" fmla="*/ 69 w 543"/>
                <a:gd name="T23" fmla="*/ 132 h 270"/>
                <a:gd name="T24" fmla="*/ 0 w 543"/>
                <a:gd name="T25" fmla="*/ 201 h 270"/>
                <a:gd name="T26" fmla="*/ 69 w 543"/>
                <a:gd name="T27" fmla="*/ 270 h 270"/>
                <a:gd name="T28" fmla="*/ 449 w 543"/>
                <a:gd name="T29" fmla="*/ 270 h 270"/>
                <a:gd name="T30" fmla="*/ 543 w 543"/>
                <a:gd name="T31" fmla="*/ 176 h 270"/>
                <a:gd name="T32" fmla="*/ 449 w 543"/>
                <a:gd name="T33" fmla="*/ 82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3" h="270">
                  <a:moveTo>
                    <a:pt x="449" y="82"/>
                  </a:moveTo>
                  <a:cubicBezTo>
                    <a:pt x="418" y="82"/>
                    <a:pt x="391" y="97"/>
                    <a:pt x="374" y="120"/>
                  </a:cubicBezTo>
                  <a:cubicBezTo>
                    <a:pt x="370" y="73"/>
                    <a:pt x="342" y="33"/>
                    <a:pt x="304" y="12"/>
                  </a:cubicBezTo>
                  <a:cubicBezTo>
                    <a:pt x="281" y="60"/>
                    <a:pt x="281" y="60"/>
                    <a:pt x="281" y="60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03" y="228"/>
                    <a:pt x="303" y="228"/>
                    <a:pt x="303" y="228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5" y="73"/>
                    <a:pt x="173" y="58"/>
                    <a:pt x="178" y="46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40" y="17"/>
                    <a:pt x="99" y="70"/>
                    <a:pt x="99" y="132"/>
                  </a:cubicBezTo>
                  <a:cubicBezTo>
                    <a:pt x="99" y="134"/>
                    <a:pt x="99" y="136"/>
                    <a:pt x="99" y="139"/>
                  </a:cubicBezTo>
                  <a:cubicBezTo>
                    <a:pt x="90" y="134"/>
                    <a:pt x="80" y="132"/>
                    <a:pt x="69" y="132"/>
                  </a:cubicBezTo>
                  <a:cubicBezTo>
                    <a:pt x="31" y="132"/>
                    <a:pt x="0" y="163"/>
                    <a:pt x="0" y="201"/>
                  </a:cubicBezTo>
                  <a:cubicBezTo>
                    <a:pt x="0" y="239"/>
                    <a:pt x="31" y="270"/>
                    <a:pt x="69" y="270"/>
                  </a:cubicBezTo>
                  <a:cubicBezTo>
                    <a:pt x="99" y="270"/>
                    <a:pt x="405" y="270"/>
                    <a:pt x="449" y="270"/>
                  </a:cubicBezTo>
                  <a:cubicBezTo>
                    <a:pt x="501" y="270"/>
                    <a:pt x="543" y="228"/>
                    <a:pt x="543" y="176"/>
                  </a:cubicBezTo>
                  <a:cubicBezTo>
                    <a:pt x="543" y="124"/>
                    <a:pt x="501" y="82"/>
                    <a:pt x="449" y="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73">
              <a:extLst>
                <a:ext uri="{FF2B5EF4-FFF2-40B4-BE49-F238E27FC236}">
                  <a16:creationId xmlns:a16="http://schemas.microsoft.com/office/drawing/2014/main" id="{ADCF8475-271B-462A-8E9A-B63842470E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8" y="2942"/>
              <a:ext cx="213" cy="134"/>
            </a:xfrm>
            <a:custGeom>
              <a:avLst/>
              <a:gdLst>
                <a:gd name="T0" fmla="*/ 125 w 155"/>
                <a:gd name="T1" fmla="*/ 18 h 97"/>
                <a:gd name="T2" fmla="*/ 55 w 155"/>
                <a:gd name="T3" fmla="*/ 0 h 97"/>
                <a:gd name="T4" fmla="*/ 0 w 155"/>
                <a:gd name="T5" fmla="*/ 28 h 97"/>
                <a:gd name="T6" fmla="*/ 25 w 155"/>
                <a:gd name="T7" fmla="*/ 77 h 97"/>
                <a:gd name="T8" fmla="*/ 60 w 155"/>
                <a:gd name="T9" fmla="*/ 96 h 97"/>
                <a:gd name="T10" fmla="*/ 93 w 155"/>
                <a:gd name="T11" fmla="*/ 94 h 97"/>
                <a:gd name="T12" fmla="*/ 104 w 155"/>
                <a:gd name="T13" fmla="*/ 89 h 97"/>
                <a:gd name="T14" fmla="*/ 108 w 155"/>
                <a:gd name="T15" fmla="*/ 89 h 97"/>
                <a:gd name="T16" fmla="*/ 127 w 155"/>
                <a:gd name="T17" fmla="*/ 76 h 97"/>
                <a:gd name="T18" fmla="*/ 126 w 155"/>
                <a:gd name="T19" fmla="*/ 51 h 97"/>
                <a:gd name="T20" fmla="*/ 136 w 155"/>
                <a:gd name="T21" fmla="*/ 59 h 97"/>
                <a:gd name="T22" fmla="*/ 152 w 155"/>
                <a:gd name="T23" fmla="*/ 59 h 97"/>
                <a:gd name="T24" fmla="*/ 155 w 155"/>
                <a:gd name="T25" fmla="*/ 57 h 97"/>
                <a:gd name="T26" fmla="*/ 125 w 155"/>
                <a:gd name="T27" fmla="*/ 1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97">
                  <a:moveTo>
                    <a:pt x="125" y="18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89"/>
                    <a:pt x="46" y="97"/>
                    <a:pt x="60" y="96"/>
                  </a:cubicBezTo>
                  <a:cubicBezTo>
                    <a:pt x="93" y="94"/>
                    <a:pt x="93" y="94"/>
                    <a:pt x="93" y="94"/>
                  </a:cubicBezTo>
                  <a:cubicBezTo>
                    <a:pt x="104" y="89"/>
                    <a:pt x="104" y="89"/>
                    <a:pt x="104" y="89"/>
                  </a:cubicBezTo>
                  <a:cubicBezTo>
                    <a:pt x="108" y="89"/>
                    <a:pt x="108" y="89"/>
                    <a:pt x="108" y="89"/>
                  </a:cubicBezTo>
                  <a:cubicBezTo>
                    <a:pt x="116" y="90"/>
                    <a:pt x="125" y="85"/>
                    <a:pt x="127" y="76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41" y="63"/>
                    <a:pt x="147" y="63"/>
                    <a:pt x="152" y="59"/>
                  </a:cubicBezTo>
                  <a:cubicBezTo>
                    <a:pt x="155" y="57"/>
                    <a:pt x="155" y="57"/>
                    <a:pt x="155" y="57"/>
                  </a:cubicBezTo>
                  <a:lnTo>
                    <a:pt x="125" y="18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74">
              <a:extLst>
                <a:ext uri="{FF2B5EF4-FFF2-40B4-BE49-F238E27FC236}">
                  <a16:creationId xmlns:a16="http://schemas.microsoft.com/office/drawing/2014/main" id="{3BAC83B5-C4B8-410E-B139-2FC263AE36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6" y="2524"/>
              <a:ext cx="54" cy="26"/>
            </a:xfrm>
            <a:custGeom>
              <a:avLst/>
              <a:gdLst>
                <a:gd name="T0" fmla="*/ 39 w 39"/>
                <a:gd name="T1" fmla="*/ 4 h 19"/>
                <a:gd name="T2" fmla="*/ 0 w 39"/>
                <a:gd name="T3" fmla="*/ 0 h 19"/>
                <a:gd name="T4" fmla="*/ 6 w 39"/>
                <a:gd name="T5" fmla="*/ 7 h 19"/>
                <a:gd name="T6" fmla="*/ 31 w 39"/>
                <a:gd name="T7" fmla="*/ 18 h 19"/>
                <a:gd name="T8" fmla="*/ 33 w 39"/>
                <a:gd name="T9" fmla="*/ 18 h 19"/>
                <a:gd name="T10" fmla="*/ 39 w 39"/>
                <a:gd name="T11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19">
                  <a:moveTo>
                    <a:pt x="39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12" y="15"/>
                    <a:pt x="21" y="19"/>
                    <a:pt x="31" y="18"/>
                  </a:cubicBezTo>
                  <a:cubicBezTo>
                    <a:pt x="33" y="18"/>
                    <a:pt x="33" y="18"/>
                    <a:pt x="33" y="18"/>
                  </a:cubicBezTo>
                  <a:lnTo>
                    <a:pt x="39" y="4"/>
                  </a:lnTo>
                  <a:close/>
                </a:path>
              </a:pathLst>
            </a:custGeom>
            <a:solidFill>
              <a:srgbClr val="8C69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75">
              <a:extLst>
                <a:ext uri="{FF2B5EF4-FFF2-40B4-BE49-F238E27FC236}">
                  <a16:creationId xmlns:a16="http://schemas.microsoft.com/office/drawing/2014/main" id="{52410814-F67A-48B3-893C-C00F7ED689E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8" y="2349"/>
              <a:ext cx="573" cy="354"/>
            </a:xfrm>
            <a:custGeom>
              <a:avLst/>
              <a:gdLst>
                <a:gd name="T0" fmla="*/ 408 w 416"/>
                <a:gd name="T1" fmla="*/ 90 h 257"/>
                <a:gd name="T2" fmla="*/ 330 w 416"/>
                <a:gd name="T3" fmla="*/ 12 h 257"/>
                <a:gd name="T4" fmla="*/ 330 w 416"/>
                <a:gd name="T5" fmla="*/ 12 h 257"/>
                <a:gd name="T6" fmla="*/ 304 w 416"/>
                <a:gd name="T7" fmla="*/ 0 h 257"/>
                <a:gd name="T8" fmla="*/ 239 w 416"/>
                <a:gd name="T9" fmla="*/ 0 h 257"/>
                <a:gd name="T10" fmla="*/ 51 w 416"/>
                <a:gd name="T11" fmla="*/ 99 h 257"/>
                <a:gd name="T12" fmla="*/ 12 w 416"/>
                <a:gd name="T13" fmla="*/ 157 h 257"/>
                <a:gd name="T14" fmla="*/ 19 w 416"/>
                <a:gd name="T15" fmla="*/ 211 h 257"/>
                <a:gd name="T16" fmla="*/ 84 w 416"/>
                <a:gd name="T17" fmla="*/ 146 h 257"/>
                <a:gd name="T18" fmla="*/ 194 w 416"/>
                <a:gd name="T19" fmla="*/ 257 h 257"/>
                <a:gd name="T20" fmla="*/ 195 w 416"/>
                <a:gd name="T21" fmla="*/ 257 h 257"/>
                <a:gd name="T22" fmla="*/ 217 w 416"/>
                <a:gd name="T23" fmla="*/ 203 h 257"/>
                <a:gd name="T24" fmla="*/ 128 w 416"/>
                <a:gd name="T25" fmla="*/ 115 h 257"/>
                <a:gd name="T26" fmla="*/ 322 w 416"/>
                <a:gd name="T27" fmla="*/ 52 h 257"/>
                <a:gd name="T28" fmla="*/ 397 w 416"/>
                <a:gd name="T29" fmla="*/ 127 h 257"/>
                <a:gd name="T30" fmla="*/ 407 w 416"/>
                <a:gd name="T31" fmla="*/ 153 h 257"/>
                <a:gd name="T32" fmla="*/ 407 w 416"/>
                <a:gd name="T33" fmla="*/ 170 h 257"/>
                <a:gd name="T34" fmla="*/ 406 w 416"/>
                <a:gd name="T35" fmla="*/ 176 h 257"/>
                <a:gd name="T36" fmla="*/ 397 w 416"/>
                <a:gd name="T37" fmla="*/ 191 h 257"/>
                <a:gd name="T38" fmla="*/ 401 w 416"/>
                <a:gd name="T39" fmla="*/ 191 h 257"/>
                <a:gd name="T40" fmla="*/ 416 w 416"/>
                <a:gd name="T41" fmla="*/ 176 h 257"/>
                <a:gd name="T42" fmla="*/ 416 w 416"/>
                <a:gd name="T43" fmla="*/ 108 h 257"/>
                <a:gd name="T44" fmla="*/ 408 w 416"/>
                <a:gd name="T45" fmla="*/ 9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16" h="257">
                  <a:moveTo>
                    <a:pt x="408" y="90"/>
                  </a:moveTo>
                  <a:cubicBezTo>
                    <a:pt x="330" y="12"/>
                    <a:pt x="330" y="12"/>
                    <a:pt x="330" y="12"/>
                  </a:cubicBezTo>
                  <a:cubicBezTo>
                    <a:pt x="330" y="12"/>
                    <a:pt x="330" y="12"/>
                    <a:pt x="330" y="12"/>
                  </a:cubicBezTo>
                  <a:cubicBezTo>
                    <a:pt x="324" y="5"/>
                    <a:pt x="315" y="0"/>
                    <a:pt x="304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164" y="0"/>
                    <a:pt x="93" y="37"/>
                    <a:pt x="51" y="99"/>
                  </a:cubicBezTo>
                  <a:cubicBezTo>
                    <a:pt x="12" y="157"/>
                    <a:pt x="12" y="157"/>
                    <a:pt x="12" y="157"/>
                  </a:cubicBezTo>
                  <a:cubicBezTo>
                    <a:pt x="0" y="175"/>
                    <a:pt x="3" y="197"/>
                    <a:pt x="19" y="211"/>
                  </a:cubicBezTo>
                  <a:cubicBezTo>
                    <a:pt x="38" y="187"/>
                    <a:pt x="60" y="165"/>
                    <a:pt x="84" y="146"/>
                  </a:cubicBezTo>
                  <a:cubicBezTo>
                    <a:pt x="194" y="257"/>
                    <a:pt x="194" y="257"/>
                    <a:pt x="194" y="257"/>
                  </a:cubicBezTo>
                  <a:cubicBezTo>
                    <a:pt x="195" y="257"/>
                    <a:pt x="195" y="257"/>
                    <a:pt x="195" y="257"/>
                  </a:cubicBezTo>
                  <a:cubicBezTo>
                    <a:pt x="217" y="203"/>
                    <a:pt x="217" y="203"/>
                    <a:pt x="217" y="203"/>
                  </a:cubicBezTo>
                  <a:cubicBezTo>
                    <a:pt x="128" y="115"/>
                    <a:pt x="128" y="115"/>
                    <a:pt x="128" y="115"/>
                  </a:cubicBezTo>
                  <a:cubicBezTo>
                    <a:pt x="186" y="79"/>
                    <a:pt x="253" y="57"/>
                    <a:pt x="322" y="52"/>
                  </a:cubicBezTo>
                  <a:cubicBezTo>
                    <a:pt x="397" y="127"/>
                    <a:pt x="397" y="127"/>
                    <a:pt x="397" y="127"/>
                  </a:cubicBezTo>
                  <a:cubicBezTo>
                    <a:pt x="404" y="134"/>
                    <a:pt x="407" y="143"/>
                    <a:pt x="407" y="153"/>
                  </a:cubicBezTo>
                  <a:cubicBezTo>
                    <a:pt x="407" y="170"/>
                    <a:pt x="407" y="170"/>
                    <a:pt x="407" y="170"/>
                  </a:cubicBezTo>
                  <a:cubicBezTo>
                    <a:pt x="407" y="172"/>
                    <a:pt x="407" y="174"/>
                    <a:pt x="406" y="176"/>
                  </a:cubicBezTo>
                  <a:cubicBezTo>
                    <a:pt x="397" y="191"/>
                    <a:pt x="397" y="191"/>
                    <a:pt x="397" y="191"/>
                  </a:cubicBezTo>
                  <a:cubicBezTo>
                    <a:pt x="401" y="191"/>
                    <a:pt x="401" y="191"/>
                    <a:pt x="401" y="191"/>
                  </a:cubicBezTo>
                  <a:cubicBezTo>
                    <a:pt x="409" y="191"/>
                    <a:pt x="416" y="184"/>
                    <a:pt x="416" y="176"/>
                  </a:cubicBezTo>
                  <a:cubicBezTo>
                    <a:pt x="416" y="108"/>
                    <a:pt x="416" y="108"/>
                    <a:pt x="416" y="108"/>
                  </a:cubicBezTo>
                  <a:cubicBezTo>
                    <a:pt x="416" y="101"/>
                    <a:pt x="413" y="95"/>
                    <a:pt x="408" y="90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Oval 76">
              <a:extLst>
                <a:ext uri="{FF2B5EF4-FFF2-40B4-BE49-F238E27FC236}">
                  <a16:creationId xmlns:a16="http://schemas.microsoft.com/office/drawing/2014/main" id="{8886D4B5-2511-4A9D-A18F-55B35C1789A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64" y="2485"/>
              <a:ext cx="37" cy="37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2" name="TextBox 141">
            <a:extLst>
              <a:ext uri="{FF2B5EF4-FFF2-40B4-BE49-F238E27FC236}">
                <a16:creationId xmlns:a16="http://schemas.microsoft.com/office/drawing/2014/main" id="{09DE71A2-D7AB-4EF1-A94D-E4C661485351}"/>
              </a:ext>
            </a:extLst>
          </p:cNvPr>
          <p:cNvSpPr txBox="1"/>
          <p:nvPr userDrawn="1"/>
        </p:nvSpPr>
        <p:spPr>
          <a:xfrm>
            <a:off x="585215" y="2436344"/>
            <a:ext cx="7180745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defTabSz="932742">
              <a:lnSpc>
                <a:spcPct val="100000"/>
              </a:lnSpc>
              <a:spcBef>
                <a:spcPct val="0"/>
              </a:spcBef>
              <a:buNone/>
              <a:defRPr lang="en-US" sz="3600" b="1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Competitive context/</a:t>
            </a:r>
            <a:br>
              <a:rPr lang="en-US" dirty="0"/>
            </a:br>
            <a:r>
              <a:rPr lang="en-US" dirty="0"/>
              <a:t>customer needs</a:t>
            </a:r>
          </a:p>
        </p:txBody>
      </p:sp>
    </p:spTree>
    <p:extLst>
      <p:ext uri="{BB962C8B-B14F-4D97-AF65-F5344CB8AC3E}">
        <p14:creationId xmlns:p14="http://schemas.microsoft.com/office/powerpoint/2010/main" val="2157158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_Proposition_Title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" name="Group 4">
            <a:extLst>
              <a:ext uri="{FF2B5EF4-FFF2-40B4-BE49-F238E27FC236}">
                <a16:creationId xmlns:a16="http://schemas.microsoft.com/office/drawing/2014/main" id="{DEB0F2B1-DB0D-4F00-974D-483FF4E7F472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694738" y="1574800"/>
            <a:ext cx="2181225" cy="5283200"/>
            <a:chOff x="5477" y="992"/>
            <a:chExt cx="1374" cy="3328"/>
          </a:xfrm>
        </p:grpSpPr>
        <p:sp>
          <p:nvSpPr>
            <p:cNvPr id="142" name="Oval 5">
              <a:extLst>
                <a:ext uri="{FF2B5EF4-FFF2-40B4-BE49-F238E27FC236}">
                  <a16:creationId xmlns:a16="http://schemas.microsoft.com/office/drawing/2014/main" id="{1C83A2CD-68BF-4DB8-9971-E35735E57B1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77" y="1261"/>
              <a:ext cx="448" cy="447"/>
            </a:xfrm>
            <a:prstGeom prst="ellipse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Oval 6">
              <a:extLst>
                <a:ext uri="{FF2B5EF4-FFF2-40B4-BE49-F238E27FC236}">
                  <a16:creationId xmlns:a16="http://schemas.microsoft.com/office/drawing/2014/main" id="{5A6D5CFF-2702-47C0-8A51-609FBA7C5B9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96" y="1732"/>
              <a:ext cx="233" cy="232"/>
            </a:xfrm>
            <a:prstGeom prst="ellipse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Oval 7">
              <a:extLst>
                <a:ext uri="{FF2B5EF4-FFF2-40B4-BE49-F238E27FC236}">
                  <a16:creationId xmlns:a16="http://schemas.microsoft.com/office/drawing/2014/main" id="{D66A0100-3DD8-4490-92AD-3A6B6DED4B5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935" y="1002"/>
              <a:ext cx="546" cy="545"/>
            </a:xfrm>
            <a:prstGeom prst="ellipse">
              <a:avLst/>
            </a:pr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Oval 8">
              <a:extLst>
                <a:ext uri="{FF2B5EF4-FFF2-40B4-BE49-F238E27FC236}">
                  <a16:creationId xmlns:a16="http://schemas.microsoft.com/office/drawing/2014/main" id="{6C73F1F0-A05D-4BC2-900D-97D48ECCE8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17" y="1043"/>
              <a:ext cx="198" cy="198"/>
            </a:xfrm>
            <a:prstGeom prst="ellipse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Oval 9">
              <a:extLst>
                <a:ext uri="{FF2B5EF4-FFF2-40B4-BE49-F238E27FC236}">
                  <a16:creationId xmlns:a16="http://schemas.microsoft.com/office/drawing/2014/main" id="{E7F1DB29-35FA-4CF3-BDF1-8670FB4A51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15" y="1578"/>
              <a:ext cx="538" cy="540"/>
            </a:xfrm>
            <a:prstGeom prst="ellipse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Oval 10">
              <a:extLst>
                <a:ext uri="{FF2B5EF4-FFF2-40B4-BE49-F238E27FC236}">
                  <a16:creationId xmlns:a16="http://schemas.microsoft.com/office/drawing/2014/main" id="{BFB611C1-8399-4B60-AEC9-855E74E2123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51" y="1486"/>
              <a:ext cx="282" cy="281"/>
            </a:xfrm>
            <a:prstGeom prst="ellipse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Oval 11">
              <a:extLst>
                <a:ext uri="{FF2B5EF4-FFF2-40B4-BE49-F238E27FC236}">
                  <a16:creationId xmlns:a16="http://schemas.microsoft.com/office/drawing/2014/main" id="{A3E419DB-7DA1-4C50-8415-1F4823ED24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95" y="1808"/>
              <a:ext cx="333" cy="332"/>
            </a:xfrm>
            <a:prstGeom prst="ellipse">
              <a:avLst/>
            </a:pr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Oval 12">
              <a:extLst>
                <a:ext uri="{FF2B5EF4-FFF2-40B4-BE49-F238E27FC236}">
                  <a16:creationId xmlns:a16="http://schemas.microsoft.com/office/drawing/2014/main" id="{039A34F7-0A97-4C18-A342-2777408F653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520" y="1214"/>
              <a:ext cx="250" cy="250"/>
            </a:xfrm>
            <a:prstGeom prst="ellipse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Oval 13">
              <a:extLst>
                <a:ext uri="{FF2B5EF4-FFF2-40B4-BE49-F238E27FC236}">
                  <a16:creationId xmlns:a16="http://schemas.microsoft.com/office/drawing/2014/main" id="{E955F387-AA05-4F93-9588-4B9A8B50CAD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645" y="1605"/>
              <a:ext cx="206" cy="203"/>
            </a:xfrm>
            <a:prstGeom prst="ellipse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Oval 14">
              <a:extLst>
                <a:ext uri="{FF2B5EF4-FFF2-40B4-BE49-F238E27FC236}">
                  <a16:creationId xmlns:a16="http://schemas.microsoft.com/office/drawing/2014/main" id="{F2106431-5F48-4D21-A53D-3BB738584EC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21" y="2118"/>
              <a:ext cx="299" cy="299"/>
            </a:xfrm>
            <a:prstGeom prst="ellipse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Oval 15">
              <a:extLst>
                <a:ext uri="{FF2B5EF4-FFF2-40B4-BE49-F238E27FC236}">
                  <a16:creationId xmlns:a16="http://schemas.microsoft.com/office/drawing/2014/main" id="{C3F25E1A-0111-4F19-BB7F-D6FE9139AB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491" y="1075"/>
              <a:ext cx="115" cy="112"/>
            </a:xfrm>
            <a:prstGeom prst="ellipse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Oval 16">
              <a:extLst>
                <a:ext uri="{FF2B5EF4-FFF2-40B4-BE49-F238E27FC236}">
                  <a16:creationId xmlns:a16="http://schemas.microsoft.com/office/drawing/2014/main" id="{39638EB8-ED79-4901-840E-C11BE6E3B9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684" y="1478"/>
              <a:ext cx="86" cy="86"/>
            </a:xfrm>
            <a:prstGeom prst="ellipse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Oval 17">
              <a:extLst>
                <a:ext uri="{FF2B5EF4-FFF2-40B4-BE49-F238E27FC236}">
                  <a16:creationId xmlns:a16="http://schemas.microsoft.com/office/drawing/2014/main" id="{55147F9C-A99D-4B36-8A65-3B92BEDF78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27" y="2172"/>
              <a:ext cx="340" cy="342"/>
            </a:xfrm>
            <a:prstGeom prst="ellipse">
              <a:avLst/>
            </a:pr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Oval 18">
              <a:extLst>
                <a:ext uri="{FF2B5EF4-FFF2-40B4-BE49-F238E27FC236}">
                  <a16:creationId xmlns:a16="http://schemas.microsoft.com/office/drawing/2014/main" id="{8CAE5BFD-7362-48BB-BFC8-9A0BF5A659C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63" y="2018"/>
              <a:ext cx="164" cy="161"/>
            </a:xfrm>
            <a:prstGeom prst="ellipse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Oval 19">
              <a:extLst>
                <a:ext uri="{FF2B5EF4-FFF2-40B4-BE49-F238E27FC236}">
                  <a16:creationId xmlns:a16="http://schemas.microsoft.com/office/drawing/2014/main" id="{132931EB-4468-4E5B-9E00-5E58534C90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43" y="2431"/>
              <a:ext cx="235" cy="235"/>
            </a:xfrm>
            <a:prstGeom prst="ellipse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Oval 20">
              <a:extLst>
                <a:ext uri="{FF2B5EF4-FFF2-40B4-BE49-F238E27FC236}">
                  <a16:creationId xmlns:a16="http://schemas.microsoft.com/office/drawing/2014/main" id="{BFF64C82-B679-4583-91B8-24F5AB181F5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925" y="992"/>
              <a:ext cx="86" cy="85"/>
            </a:xfrm>
            <a:prstGeom prst="ellipse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1">
              <a:extLst>
                <a:ext uri="{FF2B5EF4-FFF2-40B4-BE49-F238E27FC236}">
                  <a16:creationId xmlns:a16="http://schemas.microsoft.com/office/drawing/2014/main" id="{614ECCBA-246F-4D91-8B61-F2CBF694E38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77" y="2211"/>
              <a:ext cx="187" cy="96"/>
            </a:xfrm>
            <a:custGeom>
              <a:avLst/>
              <a:gdLst>
                <a:gd name="T0" fmla="*/ 67 w 76"/>
                <a:gd name="T1" fmla="*/ 19 h 39"/>
                <a:gd name="T2" fmla="*/ 62 w 76"/>
                <a:gd name="T3" fmla="*/ 20 h 39"/>
                <a:gd name="T4" fmla="*/ 62 w 76"/>
                <a:gd name="T5" fmla="*/ 19 h 39"/>
                <a:gd name="T6" fmla="*/ 43 w 76"/>
                <a:gd name="T7" fmla="*/ 0 h 39"/>
                <a:gd name="T8" fmla="*/ 24 w 76"/>
                <a:gd name="T9" fmla="*/ 18 h 39"/>
                <a:gd name="T10" fmla="*/ 13 w 76"/>
                <a:gd name="T11" fmla="*/ 12 h 39"/>
                <a:gd name="T12" fmla="*/ 0 w 76"/>
                <a:gd name="T13" fmla="*/ 25 h 39"/>
                <a:gd name="T14" fmla="*/ 13 w 76"/>
                <a:gd name="T15" fmla="*/ 39 h 39"/>
                <a:gd name="T16" fmla="*/ 67 w 76"/>
                <a:gd name="T17" fmla="*/ 39 h 39"/>
                <a:gd name="T18" fmla="*/ 76 w 76"/>
                <a:gd name="T19" fmla="*/ 29 h 39"/>
                <a:gd name="T20" fmla="*/ 67 w 76"/>
                <a:gd name="T21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39">
                  <a:moveTo>
                    <a:pt x="67" y="19"/>
                  </a:moveTo>
                  <a:cubicBezTo>
                    <a:pt x="65" y="19"/>
                    <a:pt x="64" y="20"/>
                    <a:pt x="62" y="20"/>
                  </a:cubicBezTo>
                  <a:cubicBezTo>
                    <a:pt x="62" y="20"/>
                    <a:pt x="62" y="20"/>
                    <a:pt x="62" y="19"/>
                  </a:cubicBezTo>
                  <a:cubicBezTo>
                    <a:pt x="62" y="9"/>
                    <a:pt x="54" y="0"/>
                    <a:pt x="43" y="0"/>
                  </a:cubicBezTo>
                  <a:cubicBezTo>
                    <a:pt x="33" y="0"/>
                    <a:pt x="25" y="8"/>
                    <a:pt x="24" y="18"/>
                  </a:cubicBezTo>
                  <a:cubicBezTo>
                    <a:pt x="21" y="14"/>
                    <a:pt x="18" y="12"/>
                    <a:pt x="13" y="12"/>
                  </a:cubicBezTo>
                  <a:cubicBezTo>
                    <a:pt x="6" y="12"/>
                    <a:pt x="0" y="18"/>
                    <a:pt x="0" y="25"/>
                  </a:cubicBezTo>
                  <a:cubicBezTo>
                    <a:pt x="0" y="33"/>
                    <a:pt x="6" y="39"/>
                    <a:pt x="13" y="39"/>
                  </a:cubicBezTo>
                  <a:cubicBezTo>
                    <a:pt x="19" y="39"/>
                    <a:pt x="62" y="39"/>
                    <a:pt x="67" y="39"/>
                  </a:cubicBezTo>
                  <a:cubicBezTo>
                    <a:pt x="72" y="39"/>
                    <a:pt x="76" y="34"/>
                    <a:pt x="76" y="29"/>
                  </a:cubicBezTo>
                  <a:cubicBezTo>
                    <a:pt x="76" y="24"/>
                    <a:pt x="72" y="19"/>
                    <a:pt x="67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Rectangle 22">
              <a:extLst>
                <a:ext uri="{FF2B5EF4-FFF2-40B4-BE49-F238E27FC236}">
                  <a16:creationId xmlns:a16="http://schemas.microsoft.com/office/drawing/2014/main" id="{86089035-7893-441E-9991-CB39D1D1906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67" y="1898"/>
              <a:ext cx="30" cy="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23">
              <a:extLst>
                <a:ext uri="{FF2B5EF4-FFF2-40B4-BE49-F238E27FC236}">
                  <a16:creationId xmlns:a16="http://schemas.microsoft.com/office/drawing/2014/main" id="{70F0BF01-0229-489A-A16F-DF69094F13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09" y="1869"/>
              <a:ext cx="29" cy="5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Rectangle 24">
              <a:extLst>
                <a:ext uri="{FF2B5EF4-FFF2-40B4-BE49-F238E27FC236}">
                  <a16:creationId xmlns:a16="http://schemas.microsoft.com/office/drawing/2014/main" id="{FD6F4700-B8A6-4238-9F87-844518A5149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50" y="1830"/>
              <a:ext cx="27" cy="9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5">
              <a:extLst>
                <a:ext uri="{FF2B5EF4-FFF2-40B4-BE49-F238E27FC236}">
                  <a16:creationId xmlns:a16="http://schemas.microsoft.com/office/drawing/2014/main" id="{2BDEFB29-0116-41F2-B837-7120030FD68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8" y="1759"/>
              <a:ext cx="120" cy="93"/>
            </a:xfrm>
            <a:custGeom>
              <a:avLst/>
              <a:gdLst>
                <a:gd name="T0" fmla="*/ 64 w 120"/>
                <a:gd name="T1" fmla="*/ 0 h 93"/>
                <a:gd name="T2" fmla="*/ 59 w 120"/>
                <a:gd name="T3" fmla="*/ 20 h 93"/>
                <a:gd name="T4" fmla="*/ 83 w 120"/>
                <a:gd name="T5" fmla="*/ 25 h 93"/>
                <a:gd name="T6" fmla="*/ 0 w 120"/>
                <a:gd name="T7" fmla="*/ 76 h 93"/>
                <a:gd name="T8" fmla="*/ 10 w 120"/>
                <a:gd name="T9" fmla="*/ 93 h 93"/>
                <a:gd name="T10" fmla="*/ 93 w 120"/>
                <a:gd name="T11" fmla="*/ 42 h 93"/>
                <a:gd name="T12" fmla="*/ 86 w 120"/>
                <a:gd name="T13" fmla="*/ 66 h 93"/>
                <a:gd name="T14" fmla="*/ 105 w 120"/>
                <a:gd name="T15" fmla="*/ 71 h 93"/>
                <a:gd name="T16" fmla="*/ 120 w 120"/>
                <a:gd name="T17" fmla="*/ 12 h 93"/>
                <a:gd name="T18" fmla="*/ 64 w 120"/>
                <a:gd name="T1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93">
                  <a:moveTo>
                    <a:pt x="64" y="0"/>
                  </a:moveTo>
                  <a:lnTo>
                    <a:pt x="59" y="20"/>
                  </a:lnTo>
                  <a:lnTo>
                    <a:pt x="83" y="25"/>
                  </a:lnTo>
                  <a:lnTo>
                    <a:pt x="0" y="76"/>
                  </a:lnTo>
                  <a:lnTo>
                    <a:pt x="10" y="93"/>
                  </a:lnTo>
                  <a:lnTo>
                    <a:pt x="93" y="42"/>
                  </a:lnTo>
                  <a:lnTo>
                    <a:pt x="86" y="66"/>
                  </a:lnTo>
                  <a:lnTo>
                    <a:pt x="105" y="71"/>
                  </a:lnTo>
                  <a:lnTo>
                    <a:pt x="120" y="1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6">
              <a:extLst>
                <a:ext uri="{FF2B5EF4-FFF2-40B4-BE49-F238E27FC236}">
                  <a16:creationId xmlns:a16="http://schemas.microsoft.com/office/drawing/2014/main" id="{E149CFED-32BF-45A3-8B4F-2F6308CE6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45" y="1212"/>
              <a:ext cx="100" cy="90"/>
            </a:xfrm>
            <a:custGeom>
              <a:avLst/>
              <a:gdLst>
                <a:gd name="T0" fmla="*/ 8 w 41"/>
                <a:gd name="T1" fmla="*/ 16 h 37"/>
                <a:gd name="T2" fmla="*/ 15 w 41"/>
                <a:gd name="T3" fmla="*/ 12 h 37"/>
                <a:gd name="T4" fmla="*/ 29 w 41"/>
                <a:gd name="T5" fmla="*/ 12 h 37"/>
                <a:gd name="T6" fmla="*/ 29 w 41"/>
                <a:gd name="T7" fmla="*/ 22 h 37"/>
                <a:gd name="T8" fmla="*/ 25 w 41"/>
                <a:gd name="T9" fmla="*/ 29 h 37"/>
                <a:gd name="T10" fmla="*/ 33 w 41"/>
                <a:gd name="T11" fmla="*/ 37 h 37"/>
                <a:gd name="T12" fmla="*/ 41 w 41"/>
                <a:gd name="T13" fmla="*/ 29 h 37"/>
                <a:gd name="T14" fmla="*/ 37 w 41"/>
                <a:gd name="T15" fmla="*/ 22 h 37"/>
                <a:gd name="T16" fmla="*/ 37 w 41"/>
                <a:gd name="T17" fmla="*/ 4 h 37"/>
                <a:gd name="T18" fmla="*/ 15 w 41"/>
                <a:gd name="T19" fmla="*/ 4 h 37"/>
                <a:gd name="T20" fmla="*/ 8 w 41"/>
                <a:gd name="T21" fmla="*/ 0 h 37"/>
                <a:gd name="T22" fmla="*/ 0 w 41"/>
                <a:gd name="T23" fmla="*/ 8 h 37"/>
                <a:gd name="T24" fmla="*/ 8 w 41"/>
                <a:gd name="T25" fmla="*/ 1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37">
                  <a:moveTo>
                    <a:pt x="8" y="16"/>
                  </a:moveTo>
                  <a:cubicBezTo>
                    <a:pt x="11" y="16"/>
                    <a:pt x="13" y="14"/>
                    <a:pt x="15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7" y="24"/>
                    <a:pt x="25" y="26"/>
                    <a:pt x="25" y="29"/>
                  </a:cubicBezTo>
                  <a:cubicBezTo>
                    <a:pt x="25" y="34"/>
                    <a:pt x="29" y="37"/>
                    <a:pt x="33" y="37"/>
                  </a:cubicBezTo>
                  <a:cubicBezTo>
                    <a:pt x="37" y="37"/>
                    <a:pt x="41" y="34"/>
                    <a:pt x="41" y="29"/>
                  </a:cubicBezTo>
                  <a:cubicBezTo>
                    <a:pt x="41" y="26"/>
                    <a:pt x="39" y="24"/>
                    <a:pt x="37" y="22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3" y="1"/>
                    <a:pt x="11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7">
              <a:extLst>
                <a:ext uri="{FF2B5EF4-FFF2-40B4-BE49-F238E27FC236}">
                  <a16:creationId xmlns:a16="http://schemas.microsoft.com/office/drawing/2014/main" id="{AD31A459-DAB0-411A-942C-15F1F7A636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1" y="1185"/>
              <a:ext cx="118" cy="117"/>
            </a:xfrm>
            <a:custGeom>
              <a:avLst/>
              <a:gdLst>
                <a:gd name="T0" fmla="*/ 40 w 48"/>
                <a:gd name="T1" fmla="*/ 0 h 48"/>
                <a:gd name="T2" fmla="*/ 32 w 48"/>
                <a:gd name="T3" fmla="*/ 8 h 48"/>
                <a:gd name="T4" fmla="*/ 36 w 48"/>
                <a:gd name="T5" fmla="*/ 14 h 48"/>
                <a:gd name="T6" fmla="*/ 36 w 48"/>
                <a:gd name="T7" fmla="*/ 36 h 48"/>
                <a:gd name="T8" fmla="*/ 15 w 48"/>
                <a:gd name="T9" fmla="*/ 36 h 48"/>
                <a:gd name="T10" fmla="*/ 8 w 48"/>
                <a:gd name="T11" fmla="*/ 32 h 48"/>
                <a:gd name="T12" fmla="*/ 0 w 48"/>
                <a:gd name="T13" fmla="*/ 40 h 48"/>
                <a:gd name="T14" fmla="*/ 8 w 48"/>
                <a:gd name="T15" fmla="*/ 48 h 48"/>
                <a:gd name="T16" fmla="*/ 15 w 48"/>
                <a:gd name="T17" fmla="*/ 44 h 48"/>
                <a:gd name="T18" fmla="*/ 40 w 48"/>
                <a:gd name="T19" fmla="*/ 44 h 48"/>
                <a:gd name="T20" fmla="*/ 44 w 48"/>
                <a:gd name="T21" fmla="*/ 40 h 48"/>
                <a:gd name="T22" fmla="*/ 44 w 48"/>
                <a:gd name="T23" fmla="*/ 15 h 48"/>
                <a:gd name="T24" fmla="*/ 48 w 48"/>
                <a:gd name="T25" fmla="*/ 8 h 48"/>
                <a:gd name="T26" fmla="*/ 40 w 48"/>
                <a:gd name="T2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0" y="0"/>
                  </a:moveTo>
                  <a:cubicBezTo>
                    <a:pt x="36" y="0"/>
                    <a:pt x="32" y="3"/>
                    <a:pt x="32" y="8"/>
                  </a:cubicBezTo>
                  <a:cubicBezTo>
                    <a:pt x="32" y="11"/>
                    <a:pt x="33" y="13"/>
                    <a:pt x="36" y="14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4" y="34"/>
                    <a:pt x="11" y="32"/>
                    <a:pt x="8" y="32"/>
                  </a:cubicBezTo>
                  <a:cubicBezTo>
                    <a:pt x="4" y="32"/>
                    <a:pt x="0" y="36"/>
                    <a:pt x="0" y="40"/>
                  </a:cubicBezTo>
                  <a:cubicBezTo>
                    <a:pt x="0" y="45"/>
                    <a:pt x="4" y="48"/>
                    <a:pt x="8" y="48"/>
                  </a:cubicBezTo>
                  <a:cubicBezTo>
                    <a:pt x="11" y="48"/>
                    <a:pt x="14" y="47"/>
                    <a:pt x="15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6" y="14"/>
                    <a:pt x="48" y="11"/>
                    <a:pt x="48" y="8"/>
                  </a:cubicBezTo>
                  <a:cubicBezTo>
                    <a:pt x="48" y="3"/>
                    <a:pt x="44" y="0"/>
                    <a:pt x="4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8">
              <a:extLst>
                <a:ext uri="{FF2B5EF4-FFF2-40B4-BE49-F238E27FC236}">
                  <a16:creationId xmlns:a16="http://schemas.microsoft.com/office/drawing/2014/main" id="{C688A8DC-0195-438A-8D7D-EAAF12174A0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1" y="1134"/>
              <a:ext cx="117" cy="149"/>
            </a:xfrm>
            <a:custGeom>
              <a:avLst/>
              <a:gdLst>
                <a:gd name="T0" fmla="*/ 44 w 48"/>
                <a:gd name="T1" fmla="*/ 46 h 61"/>
                <a:gd name="T2" fmla="*/ 44 w 48"/>
                <a:gd name="T3" fmla="*/ 14 h 61"/>
                <a:gd name="T4" fmla="*/ 35 w 48"/>
                <a:gd name="T5" fmla="*/ 4 h 61"/>
                <a:gd name="T6" fmla="*/ 15 w 48"/>
                <a:gd name="T7" fmla="*/ 4 h 61"/>
                <a:gd name="T8" fmla="*/ 8 w 48"/>
                <a:gd name="T9" fmla="*/ 0 h 61"/>
                <a:gd name="T10" fmla="*/ 0 w 48"/>
                <a:gd name="T11" fmla="*/ 8 h 61"/>
                <a:gd name="T12" fmla="*/ 8 w 48"/>
                <a:gd name="T13" fmla="*/ 16 h 61"/>
                <a:gd name="T14" fmla="*/ 15 w 48"/>
                <a:gd name="T15" fmla="*/ 12 h 61"/>
                <a:gd name="T16" fmla="*/ 32 w 48"/>
                <a:gd name="T17" fmla="*/ 12 h 61"/>
                <a:gd name="T18" fmla="*/ 36 w 48"/>
                <a:gd name="T19" fmla="*/ 17 h 61"/>
                <a:gd name="T20" fmla="*/ 36 w 48"/>
                <a:gd name="T21" fmla="*/ 46 h 61"/>
                <a:gd name="T22" fmla="*/ 32 w 48"/>
                <a:gd name="T23" fmla="*/ 53 h 61"/>
                <a:gd name="T24" fmla="*/ 40 w 48"/>
                <a:gd name="T25" fmla="*/ 61 h 61"/>
                <a:gd name="T26" fmla="*/ 48 w 48"/>
                <a:gd name="T27" fmla="*/ 53 h 61"/>
                <a:gd name="T28" fmla="*/ 44 w 48"/>
                <a:gd name="T29" fmla="*/ 4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61">
                  <a:moveTo>
                    <a:pt x="44" y="46"/>
                  </a:moveTo>
                  <a:cubicBezTo>
                    <a:pt x="44" y="14"/>
                    <a:pt x="44" y="14"/>
                    <a:pt x="44" y="1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3" y="2"/>
                    <a:pt x="11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3"/>
                    <a:pt x="3" y="16"/>
                    <a:pt x="8" y="16"/>
                  </a:cubicBezTo>
                  <a:cubicBezTo>
                    <a:pt x="11" y="16"/>
                    <a:pt x="13" y="15"/>
                    <a:pt x="15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4" y="48"/>
                    <a:pt x="32" y="50"/>
                    <a:pt x="32" y="53"/>
                  </a:cubicBezTo>
                  <a:cubicBezTo>
                    <a:pt x="32" y="58"/>
                    <a:pt x="36" y="61"/>
                    <a:pt x="40" y="61"/>
                  </a:cubicBezTo>
                  <a:cubicBezTo>
                    <a:pt x="45" y="61"/>
                    <a:pt x="48" y="58"/>
                    <a:pt x="48" y="53"/>
                  </a:cubicBezTo>
                  <a:cubicBezTo>
                    <a:pt x="48" y="50"/>
                    <a:pt x="47" y="48"/>
                    <a:pt x="44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29">
              <a:extLst>
                <a:ext uri="{FF2B5EF4-FFF2-40B4-BE49-F238E27FC236}">
                  <a16:creationId xmlns:a16="http://schemas.microsoft.com/office/drawing/2014/main" id="{4E1759B8-5210-4A22-A1D9-E4D37493E870}"/>
                </a:ext>
              </a:extLst>
            </p:cNvPr>
            <p:cNvSpPr>
              <a:spLocks/>
            </p:cNvSpPr>
            <p:nvPr/>
          </p:nvSpPr>
          <p:spPr bwMode="gray">
            <a:xfrm>
              <a:off x="6197" y="1161"/>
              <a:ext cx="85" cy="95"/>
            </a:xfrm>
            <a:custGeom>
              <a:avLst/>
              <a:gdLst>
                <a:gd name="T0" fmla="*/ 27 w 35"/>
                <a:gd name="T1" fmla="*/ 23 h 39"/>
                <a:gd name="T2" fmla="*/ 20 w 35"/>
                <a:gd name="T3" fmla="*/ 27 h 39"/>
                <a:gd name="T4" fmla="*/ 12 w 35"/>
                <a:gd name="T5" fmla="*/ 27 h 39"/>
                <a:gd name="T6" fmla="*/ 12 w 35"/>
                <a:gd name="T7" fmla="*/ 14 h 39"/>
                <a:gd name="T8" fmla="*/ 16 w 35"/>
                <a:gd name="T9" fmla="*/ 8 h 39"/>
                <a:gd name="T10" fmla="*/ 8 w 35"/>
                <a:gd name="T11" fmla="*/ 0 h 39"/>
                <a:gd name="T12" fmla="*/ 0 w 35"/>
                <a:gd name="T13" fmla="*/ 8 h 39"/>
                <a:gd name="T14" fmla="*/ 4 w 35"/>
                <a:gd name="T15" fmla="*/ 14 h 39"/>
                <a:gd name="T16" fmla="*/ 4 w 35"/>
                <a:gd name="T17" fmla="*/ 31 h 39"/>
                <a:gd name="T18" fmla="*/ 8 w 35"/>
                <a:gd name="T19" fmla="*/ 35 h 39"/>
                <a:gd name="T20" fmla="*/ 20 w 35"/>
                <a:gd name="T21" fmla="*/ 35 h 39"/>
                <a:gd name="T22" fmla="*/ 27 w 35"/>
                <a:gd name="T23" fmla="*/ 39 h 39"/>
                <a:gd name="T24" fmla="*/ 35 w 35"/>
                <a:gd name="T25" fmla="*/ 31 h 39"/>
                <a:gd name="T26" fmla="*/ 27 w 35"/>
                <a:gd name="T27" fmla="*/ 2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9">
                  <a:moveTo>
                    <a:pt x="27" y="23"/>
                  </a:moveTo>
                  <a:cubicBezTo>
                    <a:pt x="24" y="23"/>
                    <a:pt x="21" y="25"/>
                    <a:pt x="20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13"/>
                    <a:pt x="16" y="10"/>
                    <a:pt x="16" y="8"/>
                  </a:cubicBezTo>
                  <a:cubicBezTo>
                    <a:pt x="16" y="3"/>
                    <a:pt x="13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0"/>
                    <a:pt x="2" y="13"/>
                    <a:pt x="4" y="14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1" y="38"/>
                    <a:pt x="24" y="39"/>
                    <a:pt x="27" y="39"/>
                  </a:cubicBezTo>
                  <a:cubicBezTo>
                    <a:pt x="31" y="39"/>
                    <a:pt x="35" y="36"/>
                    <a:pt x="35" y="31"/>
                  </a:cubicBezTo>
                  <a:cubicBezTo>
                    <a:pt x="35" y="27"/>
                    <a:pt x="31" y="23"/>
                    <a:pt x="27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0">
              <a:extLst>
                <a:ext uri="{FF2B5EF4-FFF2-40B4-BE49-F238E27FC236}">
                  <a16:creationId xmlns:a16="http://schemas.microsoft.com/office/drawing/2014/main" id="{3B6D48AF-FC90-41E3-AF9B-0C7EB34E41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6" y="1107"/>
              <a:ext cx="120" cy="39"/>
            </a:xfrm>
            <a:custGeom>
              <a:avLst/>
              <a:gdLst>
                <a:gd name="T0" fmla="*/ 8 w 49"/>
                <a:gd name="T1" fmla="*/ 16 h 16"/>
                <a:gd name="T2" fmla="*/ 15 w 49"/>
                <a:gd name="T3" fmla="*/ 12 h 16"/>
                <a:gd name="T4" fmla="*/ 34 w 49"/>
                <a:gd name="T5" fmla="*/ 12 h 16"/>
                <a:gd name="T6" fmla="*/ 41 w 49"/>
                <a:gd name="T7" fmla="*/ 16 h 16"/>
                <a:gd name="T8" fmla="*/ 49 w 49"/>
                <a:gd name="T9" fmla="*/ 8 h 16"/>
                <a:gd name="T10" fmla="*/ 41 w 49"/>
                <a:gd name="T11" fmla="*/ 0 h 16"/>
                <a:gd name="T12" fmla="*/ 34 w 49"/>
                <a:gd name="T13" fmla="*/ 4 h 16"/>
                <a:gd name="T14" fmla="*/ 15 w 49"/>
                <a:gd name="T15" fmla="*/ 4 h 16"/>
                <a:gd name="T16" fmla="*/ 8 w 49"/>
                <a:gd name="T17" fmla="*/ 0 h 16"/>
                <a:gd name="T18" fmla="*/ 0 w 49"/>
                <a:gd name="T19" fmla="*/ 8 h 16"/>
                <a:gd name="T20" fmla="*/ 8 w 49"/>
                <a:gd name="T2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16">
                  <a:moveTo>
                    <a:pt x="8" y="16"/>
                  </a:moveTo>
                  <a:cubicBezTo>
                    <a:pt x="11" y="16"/>
                    <a:pt x="13" y="14"/>
                    <a:pt x="15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6" y="14"/>
                    <a:pt x="38" y="16"/>
                    <a:pt x="41" y="16"/>
                  </a:cubicBezTo>
                  <a:cubicBezTo>
                    <a:pt x="46" y="16"/>
                    <a:pt x="49" y="12"/>
                    <a:pt x="49" y="8"/>
                  </a:cubicBezTo>
                  <a:cubicBezTo>
                    <a:pt x="49" y="4"/>
                    <a:pt x="46" y="0"/>
                    <a:pt x="41" y="0"/>
                  </a:cubicBezTo>
                  <a:cubicBezTo>
                    <a:pt x="38" y="0"/>
                    <a:pt x="36" y="2"/>
                    <a:pt x="34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3" y="2"/>
                    <a:pt x="11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1">
              <a:extLst>
                <a:ext uri="{FF2B5EF4-FFF2-40B4-BE49-F238E27FC236}">
                  <a16:creationId xmlns:a16="http://schemas.microsoft.com/office/drawing/2014/main" id="{EC2EBA3F-4812-4564-931F-B321BDA60B0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82" y="1158"/>
              <a:ext cx="115" cy="144"/>
            </a:xfrm>
            <a:custGeom>
              <a:avLst/>
              <a:gdLst>
                <a:gd name="T0" fmla="*/ 8 w 47"/>
                <a:gd name="T1" fmla="*/ 16 h 59"/>
                <a:gd name="T2" fmla="*/ 14 w 47"/>
                <a:gd name="T3" fmla="*/ 12 h 59"/>
                <a:gd name="T4" fmla="*/ 35 w 47"/>
                <a:gd name="T5" fmla="*/ 12 h 59"/>
                <a:gd name="T6" fmla="*/ 35 w 47"/>
                <a:gd name="T7" fmla="*/ 44 h 59"/>
                <a:gd name="T8" fmla="*/ 31 w 47"/>
                <a:gd name="T9" fmla="*/ 51 h 59"/>
                <a:gd name="T10" fmla="*/ 39 w 47"/>
                <a:gd name="T11" fmla="*/ 59 h 59"/>
                <a:gd name="T12" fmla="*/ 47 w 47"/>
                <a:gd name="T13" fmla="*/ 51 h 59"/>
                <a:gd name="T14" fmla="*/ 43 w 47"/>
                <a:gd name="T15" fmla="*/ 44 h 59"/>
                <a:gd name="T16" fmla="*/ 43 w 47"/>
                <a:gd name="T17" fmla="*/ 4 h 59"/>
                <a:gd name="T18" fmla="*/ 14 w 47"/>
                <a:gd name="T19" fmla="*/ 4 h 59"/>
                <a:gd name="T20" fmla="*/ 8 w 47"/>
                <a:gd name="T21" fmla="*/ 0 h 59"/>
                <a:gd name="T22" fmla="*/ 0 w 47"/>
                <a:gd name="T23" fmla="*/ 8 h 59"/>
                <a:gd name="T24" fmla="*/ 8 w 47"/>
                <a:gd name="T25" fmla="*/ 1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" h="59">
                  <a:moveTo>
                    <a:pt x="8" y="16"/>
                  </a:moveTo>
                  <a:cubicBezTo>
                    <a:pt x="10" y="16"/>
                    <a:pt x="13" y="14"/>
                    <a:pt x="1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3" y="46"/>
                    <a:pt x="31" y="48"/>
                    <a:pt x="31" y="51"/>
                  </a:cubicBezTo>
                  <a:cubicBezTo>
                    <a:pt x="31" y="56"/>
                    <a:pt x="35" y="59"/>
                    <a:pt x="39" y="59"/>
                  </a:cubicBezTo>
                  <a:cubicBezTo>
                    <a:pt x="44" y="59"/>
                    <a:pt x="47" y="56"/>
                    <a:pt x="47" y="51"/>
                  </a:cubicBezTo>
                  <a:cubicBezTo>
                    <a:pt x="47" y="48"/>
                    <a:pt x="46" y="46"/>
                    <a:pt x="43" y="4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1"/>
                    <a:pt x="11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2">
              <a:extLst>
                <a:ext uri="{FF2B5EF4-FFF2-40B4-BE49-F238E27FC236}">
                  <a16:creationId xmlns:a16="http://schemas.microsoft.com/office/drawing/2014/main" id="{2E9BCE0C-0596-447B-B799-BA7CF5916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45" y="1268"/>
              <a:ext cx="176" cy="83"/>
            </a:xfrm>
            <a:custGeom>
              <a:avLst/>
              <a:gdLst>
                <a:gd name="T0" fmla="*/ 64 w 72"/>
                <a:gd name="T1" fmla="*/ 18 h 34"/>
                <a:gd name="T2" fmla="*/ 57 w 72"/>
                <a:gd name="T3" fmla="*/ 22 h 34"/>
                <a:gd name="T4" fmla="*/ 28 w 72"/>
                <a:gd name="T5" fmla="*/ 22 h 34"/>
                <a:gd name="T6" fmla="*/ 16 w 72"/>
                <a:gd name="T7" fmla="*/ 10 h 34"/>
                <a:gd name="T8" fmla="*/ 16 w 72"/>
                <a:gd name="T9" fmla="*/ 8 h 34"/>
                <a:gd name="T10" fmla="*/ 8 w 72"/>
                <a:gd name="T11" fmla="*/ 0 h 34"/>
                <a:gd name="T12" fmla="*/ 0 w 72"/>
                <a:gd name="T13" fmla="*/ 8 h 34"/>
                <a:gd name="T14" fmla="*/ 8 w 72"/>
                <a:gd name="T15" fmla="*/ 16 h 34"/>
                <a:gd name="T16" fmla="*/ 10 w 72"/>
                <a:gd name="T17" fmla="*/ 16 h 34"/>
                <a:gd name="T18" fmla="*/ 24 w 72"/>
                <a:gd name="T19" fmla="*/ 30 h 34"/>
                <a:gd name="T20" fmla="*/ 57 w 72"/>
                <a:gd name="T21" fmla="*/ 30 h 34"/>
                <a:gd name="T22" fmla="*/ 64 w 72"/>
                <a:gd name="T23" fmla="*/ 34 h 34"/>
                <a:gd name="T24" fmla="*/ 72 w 72"/>
                <a:gd name="T25" fmla="*/ 26 h 34"/>
                <a:gd name="T26" fmla="*/ 64 w 72"/>
                <a:gd name="T27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34">
                  <a:moveTo>
                    <a:pt x="64" y="18"/>
                  </a:moveTo>
                  <a:cubicBezTo>
                    <a:pt x="61" y="18"/>
                    <a:pt x="58" y="19"/>
                    <a:pt x="57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9"/>
                    <a:pt x="16" y="9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3"/>
                    <a:pt x="3" y="16"/>
                    <a:pt x="8" y="16"/>
                  </a:cubicBezTo>
                  <a:cubicBezTo>
                    <a:pt x="9" y="16"/>
                    <a:pt x="10" y="16"/>
                    <a:pt x="10" y="16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8" y="32"/>
                    <a:pt x="61" y="34"/>
                    <a:pt x="64" y="34"/>
                  </a:cubicBezTo>
                  <a:cubicBezTo>
                    <a:pt x="68" y="34"/>
                    <a:pt x="72" y="30"/>
                    <a:pt x="72" y="26"/>
                  </a:cubicBezTo>
                  <a:cubicBezTo>
                    <a:pt x="72" y="21"/>
                    <a:pt x="68" y="18"/>
                    <a:pt x="64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3">
              <a:extLst>
                <a:ext uri="{FF2B5EF4-FFF2-40B4-BE49-F238E27FC236}">
                  <a16:creationId xmlns:a16="http://schemas.microsoft.com/office/drawing/2014/main" id="{31B1A057-C137-49A8-8838-C29CD98CE8C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6" y="1312"/>
              <a:ext cx="39" cy="132"/>
            </a:xfrm>
            <a:custGeom>
              <a:avLst/>
              <a:gdLst>
                <a:gd name="T0" fmla="*/ 16 w 16"/>
                <a:gd name="T1" fmla="*/ 8 h 54"/>
                <a:gd name="T2" fmla="*/ 8 w 16"/>
                <a:gd name="T3" fmla="*/ 0 h 54"/>
                <a:gd name="T4" fmla="*/ 0 w 16"/>
                <a:gd name="T5" fmla="*/ 8 h 54"/>
                <a:gd name="T6" fmla="*/ 4 w 16"/>
                <a:gd name="T7" fmla="*/ 15 h 54"/>
                <a:gd name="T8" fmla="*/ 4 w 16"/>
                <a:gd name="T9" fmla="*/ 39 h 54"/>
                <a:gd name="T10" fmla="*/ 0 w 16"/>
                <a:gd name="T11" fmla="*/ 46 h 54"/>
                <a:gd name="T12" fmla="*/ 8 w 16"/>
                <a:gd name="T13" fmla="*/ 54 h 54"/>
                <a:gd name="T14" fmla="*/ 16 w 16"/>
                <a:gd name="T15" fmla="*/ 46 h 54"/>
                <a:gd name="T16" fmla="*/ 12 w 16"/>
                <a:gd name="T17" fmla="*/ 39 h 54"/>
                <a:gd name="T18" fmla="*/ 12 w 16"/>
                <a:gd name="T19" fmla="*/ 15 h 54"/>
                <a:gd name="T20" fmla="*/ 16 w 16"/>
                <a:gd name="T21" fmla="*/ 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54">
                  <a:moveTo>
                    <a:pt x="16" y="8"/>
                  </a:moveTo>
                  <a:cubicBezTo>
                    <a:pt x="16" y="3"/>
                    <a:pt x="13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1"/>
                    <a:pt x="2" y="13"/>
                    <a:pt x="4" y="15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2" y="40"/>
                    <a:pt x="0" y="43"/>
                    <a:pt x="0" y="46"/>
                  </a:cubicBezTo>
                  <a:cubicBezTo>
                    <a:pt x="0" y="50"/>
                    <a:pt x="4" y="54"/>
                    <a:pt x="8" y="54"/>
                  </a:cubicBezTo>
                  <a:cubicBezTo>
                    <a:pt x="13" y="54"/>
                    <a:pt x="16" y="50"/>
                    <a:pt x="16" y="46"/>
                  </a:cubicBezTo>
                  <a:cubicBezTo>
                    <a:pt x="16" y="43"/>
                    <a:pt x="14" y="40"/>
                    <a:pt x="12" y="39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4" y="13"/>
                    <a:pt x="16" y="11"/>
                    <a:pt x="16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4">
              <a:extLst>
                <a:ext uri="{FF2B5EF4-FFF2-40B4-BE49-F238E27FC236}">
                  <a16:creationId xmlns:a16="http://schemas.microsoft.com/office/drawing/2014/main" id="{4B2EB112-6760-423C-931F-BB20DB567FC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0" y="1312"/>
              <a:ext cx="39" cy="98"/>
            </a:xfrm>
            <a:custGeom>
              <a:avLst/>
              <a:gdLst>
                <a:gd name="T0" fmla="*/ 16 w 16"/>
                <a:gd name="T1" fmla="*/ 8 h 40"/>
                <a:gd name="T2" fmla="*/ 8 w 16"/>
                <a:gd name="T3" fmla="*/ 0 h 40"/>
                <a:gd name="T4" fmla="*/ 0 w 16"/>
                <a:gd name="T5" fmla="*/ 8 h 40"/>
                <a:gd name="T6" fmla="*/ 4 w 16"/>
                <a:gd name="T7" fmla="*/ 15 h 40"/>
                <a:gd name="T8" fmla="*/ 4 w 16"/>
                <a:gd name="T9" fmla="*/ 25 h 40"/>
                <a:gd name="T10" fmla="*/ 0 w 16"/>
                <a:gd name="T11" fmla="*/ 32 h 40"/>
                <a:gd name="T12" fmla="*/ 8 w 16"/>
                <a:gd name="T13" fmla="*/ 40 h 40"/>
                <a:gd name="T14" fmla="*/ 16 w 16"/>
                <a:gd name="T15" fmla="*/ 32 h 40"/>
                <a:gd name="T16" fmla="*/ 12 w 16"/>
                <a:gd name="T17" fmla="*/ 25 h 40"/>
                <a:gd name="T18" fmla="*/ 12 w 16"/>
                <a:gd name="T19" fmla="*/ 15 h 40"/>
                <a:gd name="T20" fmla="*/ 16 w 16"/>
                <a:gd name="T2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40">
                  <a:moveTo>
                    <a:pt x="16" y="8"/>
                  </a:moveTo>
                  <a:cubicBezTo>
                    <a:pt x="16" y="3"/>
                    <a:pt x="12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1"/>
                    <a:pt x="1" y="13"/>
                    <a:pt x="4" y="1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1" y="26"/>
                    <a:pt x="0" y="29"/>
                    <a:pt x="0" y="32"/>
                  </a:cubicBezTo>
                  <a:cubicBezTo>
                    <a:pt x="0" y="36"/>
                    <a:pt x="3" y="40"/>
                    <a:pt x="8" y="40"/>
                  </a:cubicBezTo>
                  <a:cubicBezTo>
                    <a:pt x="12" y="40"/>
                    <a:pt x="16" y="36"/>
                    <a:pt x="16" y="32"/>
                  </a:cubicBezTo>
                  <a:cubicBezTo>
                    <a:pt x="16" y="29"/>
                    <a:pt x="14" y="26"/>
                    <a:pt x="12" y="2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4" y="13"/>
                    <a:pt x="16" y="11"/>
                    <a:pt x="16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5">
              <a:extLst>
                <a:ext uri="{FF2B5EF4-FFF2-40B4-BE49-F238E27FC236}">
                  <a16:creationId xmlns:a16="http://schemas.microsoft.com/office/drawing/2014/main" id="{26C66F18-14A7-4FA1-8911-3E573EE5090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0" y="1837"/>
              <a:ext cx="341" cy="113"/>
            </a:xfrm>
            <a:custGeom>
              <a:avLst/>
              <a:gdLst>
                <a:gd name="T0" fmla="*/ 70 w 139"/>
                <a:gd name="T1" fmla="*/ 35 h 46"/>
                <a:gd name="T2" fmla="*/ 88 w 139"/>
                <a:gd name="T3" fmla="*/ 46 h 46"/>
                <a:gd name="T4" fmla="*/ 137 w 139"/>
                <a:gd name="T5" fmla="*/ 20 h 46"/>
                <a:gd name="T6" fmla="*/ 139 w 139"/>
                <a:gd name="T7" fmla="*/ 12 h 46"/>
                <a:gd name="T8" fmla="*/ 138 w 139"/>
                <a:gd name="T9" fmla="*/ 10 h 46"/>
                <a:gd name="T10" fmla="*/ 70 w 139"/>
                <a:gd name="T11" fmla="*/ 0 h 46"/>
                <a:gd name="T12" fmla="*/ 70 w 139"/>
                <a:gd name="T13" fmla="*/ 0 h 46"/>
                <a:gd name="T14" fmla="*/ 2 w 139"/>
                <a:gd name="T15" fmla="*/ 10 h 46"/>
                <a:gd name="T16" fmla="*/ 0 w 139"/>
                <a:gd name="T17" fmla="*/ 12 h 46"/>
                <a:gd name="T18" fmla="*/ 2 w 139"/>
                <a:gd name="T19" fmla="*/ 20 h 46"/>
                <a:gd name="T20" fmla="*/ 51 w 139"/>
                <a:gd name="T21" fmla="*/ 46 h 46"/>
                <a:gd name="T22" fmla="*/ 70 w 139"/>
                <a:gd name="T23" fmla="*/ 3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46">
                  <a:moveTo>
                    <a:pt x="70" y="35"/>
                  </a:moveTo>
                  <a:cubicBezTo>
                    <a:pt x="75" y="35"/>
                    <a:pt x="76" y="46"/>
                    <a:pt x="88" y="46"/>
                  </a:cubicBezTo>
                  <a:cubicBezTo>
                    <a:pt x="131" y="46"/>
                    <a:pt x="136" y="26"/>
                    <a:pt x="137" y="20"/>
                  </a:cubicBezTo>
                  <a:cubicBezTo>
                    <a:pt x="138" y="16"/>
                    <a:pt x="139" y="14"/>
                    <a:pt x="139" y="12"/>
                  </a:cubicBezTo>
                  <a:cubicBezTo>
                    <a:pt x="139" y="11"/>
                    <a:pt x="139" y="10"/>
                    <a:pt x="138" y="10"/>
                  </a:cubicBezTo>
                  <a:cubicBezTo>
                    <a:pt x="131" y="8"/>
                    <a:pt x="105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4" y="0"/>
                    <a:pt x="8" y="8"/>
                    <a:pt x="2" y="10"/>
                  </a:cubicBezTo>
                  <a:cubicBezTo>
                    <a:pt x="1" y="10"/>
                    <a:pt x="0" y="11"/>
                    <a:pt x="0" y="12"/>
                  </a:cubicBezTo>
                  <a:cubicBezTo>
                    <a:pt x="0" y="14"/>
                    <a:pt x="1" y="16"/>
                    <a:pt x="2" y="20"/>
                  </a:cubicBezTo>
                  <a:cubicBezTo>
                    <a:pt x="4" y="26"/>
                    <a:pt x="9" y="46"/>
                    <a:pt x="51" y="46"/>
                  </a:cubicBezTo>
                  <a:cubicBezTo>
                    <a:pt x="63" y="46"/>
                    <a:pt x="64" y="35"/>
                    <a:pt x="70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6">
              <a:extLst>
                <a:ext uri="{FF2B5EF4-FFF2-40B4-BE49-F238E27FC236}">
                  <a16:creationId xmlns:a16="http://schemas.microsoft.com/office/drawing/2014/main" id="{7DEDA7A7-D850-4C38-B89B-22DA4EF2351C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0" y="1769"/>
              <a:ext cx="343" cy="78"/>
            </a:xfrm>
            <a:custGeom>
              <a:avLst/>
              <a:gdLst>
                <a:gd name="T0" fmla="*/ 0 w 140"/>
                <a:gd name="T1" fmla="*/ 31 h 32"/>
                <a:gd name="T2" fmla="*/ 0 w 140"/>
                <a:gd name="T3" fmla="*/ 13 h 32"/>
                <a:gd name="T4" fmla="*/ 1 w 140"/>
                <a:gd name="T5" fmla="*/ 12 h 32"/>
                <a:gd name="T6" fmla="*/ 70 w 140"/>
                <a:gd name="T7" fmla="*/ 0 h 32"/>
                <a:gd name="T8" fmla="*/ 139 w 140"/>
                <a:gd name="T9" fmla="*/ 12 h 32"/>
                <a:gd name="T10" fmla="*/ 140 w 140"/>
                <a:gd name="T11" fmla="*/ 14 h 32"/>
                <a:gd name="T12" fmla="*/ 140 w 140"/>
                <a:gd name="T13" fmla="*/ 31 h 32"/>
                <a:gd name="T14" fmla="*/ 138 w 140"/>
                <a:gd name="T15" fmla="*/ 32 h 32"/>
                <a:gd name="T16" fmla="*/ 70 w 140"/>
                <a:gd name="T17" fmla="*/ 22 h 32"/>
                <a:gd name="T18" fmla="*/ 1 w 140"/>
                <a:gd name="T19" fmla="*/ 32 h 32"/>
                <a:gd name="T20" fmla="*/ 0 w 140"/>
                <a:gd name="T21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32">
                  <a:moveTo>
                    <a:pt x="0" y="31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2"/>
                    <a:pt x="1" y="12"/>
                  </a:cubicBezTo>
                  <a:cubicBezTo>
                    <a:pt x="5" y="10"/>
                    <a:pt x="26" y="0"/>
                    <a:pt x="70" y="0"/>
                  </a:cubicBezTo>
                  <a:cubicBezTo>
                    <a:pt x="113" y="0"/>
                    <a:pt x="134" y="10"/>
                    <a:pt x="139" y="12"/>
                  </a:cubicBezTo>
                  <a:cubicBezTo>
                    <a:pt x="139" y="13"/>
                    <a:pt x="140" y="13"/>
                    <a:pt x="140" y="14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0" y="32"/>
                    <a:pt x="139" y="32"/>
                    <a:pt x="138" y="32"/>
                  </a:cubicBezTo>
                  <a:cubicBezTo>
                    <a:pt x="132" y="30"/>
                    <a:pt x="105" y="22"/>
                    <a:pt x="70" y="22"/>
                  </a:cubicBezTo>
                  <a:cubicBezTo>
                    <a:pt x="35" y="22"/>
                    <a:pt x="8" y="30"/>
                    <a:pt x="1" y="32"/>
                  </a:cubicBezTo>
                  <a:cubicBezTo>
                    <a:pt x="1" y="32"/>
                    <a:pt x="0" y="32"/>
                    <a:pt x="0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7">
              <a:extLst>
                <a:ext uri="{FF2B5EF4-FFF2-40B4-BE49-F238E27FC236}">
                  <a16:creationId xmlns:a16="http://schemas.microsoft.com/office/drawing/2014/main" id="{1E78659F-15C7-42D2-8BE1-8225C332712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3" y="1811"/>
              <a:ext cx="20" cy="48"/>
            </a:xfrm>
            <a:custGeom>
              <a:avLst/>
              <a:gdLst>
                <a:gd name="T0" fmla="*/ 8 w 8"/>
                <a:gd name="T1" fmla="*/ 15 h 20"/>
                <a:gd name="T2" fmla="*/ 8 w 8"/>
                <a:gd name="T3" fmla="*/ 1 h 20"/>
                <a:gd name="T4" fmla="*/ 6 w 8"/>
                <a:gd name="T5" fmla="*/ 0 h 20"/>
                <a:gd name="T6" fmla="*/ 0 w 8"/>
                <a:gd name="T7" fmla="*/ 5 h 20"/>
                <a:gd name="T8" fmla="*/ 0 w 8"/>
                <a:gd name="T9" fmla="*/ 19 h 20"/>
                <a:gd name="T10" fmla="*/ 2 w 8"/>
                <a:gd name="T11" fmla="*/ 20 h 20"/>
                <a:gd name="T12" fmla="*/ 6 w 8"/>
                <a:gd name="T13" fmla="*/ 18 h 20"/>
                <a:gd name="T14" fmla="*/ 8 w 8"/>
                <a:gd name="T15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0">
                  <a:moveTo>
                    <a:pt x="8" y="15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4" y="2"/>
                    <a:pt x="1" y="4"/>
                    <a:pt x="0" y="5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1" y="20"/>
                    <a:pt x="2" y="20"/>
                  </a:cubicBezTo>
                  <a:cubicBezTo>
                    <a:pt x="3" y="19"/>
                    <a:pt x="4" y="19"/>
                    <a:pt x="6" y="18"/>
                  </a:cubicBezTo>
                  <a:cubicBezTo>
                    <a:pt x="7" y="18"/>
                    <a:pt x="8" y="16"/>
                    <a:pt x="8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38">
              <a:extLst>
                <a:ext uri="{FF2B5EF4-FFF2-40B4-BE49-F238E27FC236}">
                  <a16:creationId xmlns:a16="http://schemas.microsoft.com/office/drawing/2014/main" id="{A2A7355F-BDEF-4FA1-B16C-EAEA81777349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3" y="1867"/>
              <a:ext cx="30" cy="27"/>
            </a:xfrm>
            <a:custGeom>
              <a:avLst/>
              <a:gdLst>
                <a:gd name="T0" fmla="*/ 10 w 12"/>
                <a:gd name="T1" fmla="*/ 2 h 11"/>
                <a:gd name="T2" fmla="*/ 12 w 12"/>
                <a:gd name="T3" fmla="*/ 11 h 11"/>
                <a:gd name="T4" fmla="*/ 11 w 12"/>
                <a:gd name="T5" fmla="*/ 11 h 11"/>
                <a:gd name="T6" fmla="*/ 0 w 12"/>
                <a:gd name="T7" fmla="*/ 4 h 11"/>
                <a:gd name="T8" fmla="*/ 1 w 12"/>
                <a:gd name="T9" fmla="*/ 3 h 11"/>
                <a:gd name="T10" fmla="*/ 7 w 12"/>
                <a:gd name="T11" fmla="*/ 1 h 11"/>
                <a:gd name="T12" fmla="*/ 10 w 12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1">
                  <a:moveTo>
                    <a:pt x="10" y="2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1" y="11"/>
                  </a:cubicBezTo>
                  <a:cubicBezTo>
                    <a:pt x="9" y="10"/>
                    <a:pt x="3" y="8"/>
                    <a:pt x="0" y="4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3" y="2"/>
                    <a:pt x="6" y="1"/>
                    <a:pt x="7" y="1"/>
                  </a:cubicBezTo>
                  <a:cubicBezTo>
                    <a:pt x="9" y="0"/>
                    <a:pt x="10" y="1"/>
                    <a:pt x="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9">
              <a:extLst>
                <a:ext uri="{FF2B5EF4-FFF2-40B4-BE49-F238E27FC236}">
                  <a16:creationId xmlns:a16="http://schemas.microsoft.com/office/drawing/2014/main" id="{5EB26CDE-211B-47BA-96D5-C2ED97D0BA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68" y="1811"/>
              <a:ext cx="19" cy="48"/>
            </a:xfrm>
            <a:custGeom>
              <a:avLst/>
              <a:gdLst>
                <a:gd name="T0" fmla="*/ 0 w 8"/>
                <a:gd name="T1" fmla="*/ 15 h 20"/>
                <a:gd name="T2" fmla="*/ 0 w 8"/>
                <a:gd name="T3" fmla="*/ 1 h 20"/>
                <a:gd name="T4" fmla="*/ 2 w 8"/>
                <a:gd name="T5" fmla="*/ 0 h 20"/>
                <a:gd name="T6" fmla="*/ 8 w 8"/>
                <a:gd name="T7" fmla="*/ 5 h 20"/>
                <a:gd name="T8" fmla="*/ 8 w 8"/>
                <a:gd name="T9" fmla="*/ 19 h 20"/>
                <a:gd name="T10" fmla="*/ 6 w 8"/>
                <a:gd name="T11" fmla="*/ 20 h 20"/>
                <a:gd name="T12" fmla="*/ 2 w 8"/>
                <a:gd name="T13" fmla="*/ 18 h 20"/>
                <a:gd name="T14" fmla="*/ 0 w 8"/>
                <a:gd name="T15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0">
                  <a:moveTo>
                    <a:pt x="0" y="15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4" y="2"/>
                    <a:pt x="7" y="4"/>
                    <a:pt x="8" y="5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5" y="19"/>
                    <a:pt x="4" y="19"/>
                    <a:pt x="2" y="18"/>
                  </a:cubicBezTo>
                  <a:cubicBezTo>
                    <a:pt x="1" y="18"/>
                    <a:pt x="0" y="16"/>
                    <a:pt x="0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0">
              <a:extLst>
                <a:ext uri="{FF2B5EF4-FFF2-40B4-BE49-F238E27FC236}">
                  <a16:creationId xmlns:a16="http://schemas.microsoft.com/office/drawing/2014/main" id="{99653C78-9EA9-40CE-AC7D-A84FABD6946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8" y="1867"/>
              <a:ext cx="29" cy="27"/>
            </a:xfrm>
            <a:custGeom>
              <a:avLst/>
              <a:gdLst>
                <a:gd name="T0" fmla="*/ 2 w 12"/>
                <a:gd name="T1" fmla="*/ 2 h 11"/>
                <a:gd name="T2" fmla="*/ 0 w 12"/>
                <a:gd name="T3" fmla="*/ 11 h 11"/>
                <a:gd name="T4" fmla="*/ 1 w 12"/>
                <a:gd name="T5" fmla="*/ 11 h 11"/>
                <a:gd name="T6" fmla="*/ 12 w 12"/>
                <a:gd name="T7" fmla="*/ 4 h 11"/>
                <a:gd name="T8" fmla="*/ 12 w 12"/>
                <a:gd name="T9" fmla="*/ 3 h 11"/>
                <a:gd name="T10" fmla="*/ 5 w 12"/>
                <a:gd name="T11" fmla="*/ 1 h 11"/>
                <a:gd name="T12" fmla="*/ 2 w 12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1">
                  <a:moveTo>
                    <a:pt x="2" y="2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1" y="11"/>
                  </a:cubicBezTo>
                  <a:cubicBezTo>
                    <a:pt x="3" y="10"/>
                    <a:pt x="9" y="8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2"/>
                    <a:pt x="7" y="1"/>
                    <a:pt x="5" y="1"/>
                  </a:cubicBezTo>
                  <a:cubicBezTo>
                    <a:pt x="4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1">
              <a:extLst>
                <a:ext uri="{FF2B5EF4-FFF2-40B4-BE49-F238E27FC236}">
                  <a16:creationId xmlns:a16="http://schemas.microsoft.com/office/drawing/2014/main" id="{D6210694-F05C-46D0-892E-7751A5FFDD7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61" y="1876"/>
              <a:ext cx="230" cy="198"/>
            </a:xfrm>
            <a:custGeom>
              <a:avLst/>
              <a:gdLst>
                <a:gd name="T0" fmla="*/ 79 w 94"/>
                <a:gd name="T1" fmla="*/ 27 h 81"/>
                <a:gd name="T2" fmla="*/ 68 w 94"/>
                <a:gd name="T3" fmla="*/ 32 h 81"/>
                <a:gd name="T4" fmla="*/ 51 w 94"/>
                <a:gd name="T5" fmla="*/ 23 h 81"/>
                <a:gd name="T6" fmla="*/ 55 w 94"/>
                <a:gd name="T7" fmla="*/ 17 h 81"/>
                <a:gd name="T8" fmla="*/ 56 w 94"/>
                <a:gd name="T9" fmla="*/ 17 h 81"/>
                <a:gd name="T10" fmla="*/ 65 w 94"/>
                <a:gd name="T11" fmla="*/ 9 h 81"/>
                <a:gd name="T12" fmla="*/ 56 w 94"/>
                <a:gd name="T13" fmla="*/ 0 h 81"/>
                <a:gd name="T14" fmla="*/ 47 w 94"/>
                <a:gd name="T15" fmla="*/ 6 h 81"/>
                <a:gd name="T16" fmla="*/ 27 w 94"/>
                <a:gd name="T17" fmla="*/ 8 h 81"/>
                <a:gd name="T18" fmla="*/ 21 w 94"/>
                <a:gd name="T19" fmla="*/ 5 h 81"/>
                <a:gd name="T20" fmla="*/ 13 w 94"/>
                <a:gd name="T21" fmla="*/ 13 h 81"/>
                <a:gd name="T22" fmla="*/ 17 w 94"/>
                <a:gd name="T23" fmla="*/ 20 h 81"/>
                <a:gd name="T24" fmla="*/ 16 w 94"/>
                <a:gd name="T25" fmla="*/ 43 h 81"/>
                <a:gd name="T26" fmla="*/ 0 w 94"/>
                <a:gd name="T27" fmla="*/ 62 h 81"/>
                <a:gd name="T28" fmla="*/ 19 w 94"/>
                <a:gd name="T29" fmla="*/ 81 h 81"/>
                <a:gd name="T30" fmla="*/ 39 w 94"/>
                <a:gd name="T31" fmla="*/ 62 h 81"/>
                <a:gd name="T32" fmla="*/ 39 w 94"/>
                <a:gd name="T33" fmla="*/ 61 h 81"/>
                <a:gd name="T34" fmla="*/ 67 w 94"/>
                <a:gd name="T35" fmla="*/ 50 h 81"/>
                <a:gd name="T36" fmla="*/ 79 w 94"/>
                <a:gd name="T37" fmla="*/ 56 h 81"/>
                <a:gd name="T38" fmla="*/ 94 w 94"/>
                <a:gd name="T39" fmla="*/ 41 h 81"/>
                <a:gd name="T40" fmla="*/ 79 w 94"/>
                <a:gd name="T41" fmla="*/ 27 h 81"/>
                <a:gd name="T42" fmla="*/ 28 w 94"/>
                <a:gd name="T43" fmla="*/ 44 h 81"/>
                <a:gd name="T44" fmla="*/ 24 w 94"/>
                <a:gd name="T45" fmla="*/ 43 h 81"/>
                <a:gd name="T46" fmla="*/ 25 w 94"/>
                <a:gd name="T47" fmla="*/ 20 h 81"/>
                <a:gd name="T48" fmla="*/ 25 w 94"/>
                <a:gd name="T49" fmla="*/ 20 h 81"/>
                <a:gd name="T50" fmla="*/ 39 w 94"/>
                <a:gd name="T51" fmla="*/ 27 h 81"/>
                <a:gd name="T52" fmla="*/ 28 w 94"/>
                <a:gd name="T53" fmla="*/ 44 h 81"/>
                <a:gd name="T54" fmla="*/ 34 w 94"/>
                <a:gd name="T55" fmla="*/ 15 h 81"/>
                <a:gd name="T56" fmla="*/ 48 w 94"/>
                <a:gd name="T57" fmla="*/ 14 h 81"/>
                <a:gd name="T58" fmla="*/ 43 w 94"/>
                <a:gd name="T59" fmla="*/ 20 h 81"/>
                <a:gd name="T60" fmla="*/ 34 w 94"/>
                <a:gd name="T61" fmla="*/ 15 h 81"/>
                <a:gd name="T62" fmla="*/ 37 w 94"/>
                <a:gd name="T63" fmla="*/ 53 h 81"/>
                <a:gd name="T64" fmla="*/ 34 w 94"/>
                <a:gd name="T65" fmla="*/ 49 h 81"/>
                <a:gd name="T66" fmla="*/ 46 w 94"/>
                <a:gd name="T67" fmla="*/ 30 h 81"/>
                <a:gd name="T68" fmla="*/ 65 w 94"/>
                <a:gd name="T69" fmla="*/ 39 h 81"/>
                <a:gd name="T70" fmla="*/ 64 w 94"/>
                <a:gd name="T71" fmla="*/ 41 h 81"/>
                <a:gd name="T72" fmla="*/ 64 w 94"/>
                <a:gd name="T73" fmla="*/ 43 h 81"/>
                <a:gd name="T74" fmla="*/ 37 w 94"/>
                <a:gd name="T75" fmla="*/ 5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4" h="81">
                  <a:moveTo>
                    <a:pt x="79" y="27"/>
                  </a:moveTo>
                  <a:cubicBezTo>
                    <a:pt x="75" y="27"/>
                    <a:pt x="71" y="29"/>
                    <a:pt x="68" y="32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55" y="17"/>
                    <a:pt x="55" y="17"/>
                    <a:pt x="56" y="17"/>
                  </a:cubicBezTo>
                  <a:cubicBezTo>
                    <a:pt x="61" y="17"/>
                    <a:pt x="65" y="13"/>
                    <a:pt x="65" y="9"/>
                  </a:cubicBezTo>
                  <a:cubicBezTo>
                    <a:pt x="65" y="4"/>
                    <a:pt x="61" y="0"/>
                    <a:pt x="56" y="0"/>
                  </a:cubicBezTo>
                  <a:cubicBezTo>
                    <a:pt x="52" y="0"/>
                    <a:pt x="48" y="2"/>
                    <a:pt x="47" y="6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5" y="7"/>
                    <a:pt x="23" y="5"/>
                    <a:pt x="21" y="5"/>
                  </a:cubicBezTo>
                  <a:cubicBezTo>
                    <a:pt x="16" y="5"/>
                    <a:pt x="13" y="9"/>
                    <a:pt x="13" y="13"/>
                  </a:cubicBezTo>
                  <a:cubicBezTo>
                    <a:pt x="13" y="16"/>
                    <a:pt x="14" y="19"/>
                    <a:pt x="17" y="20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7" y="44"/>
                    <a:pt x="0" y="52"/>
                    <a:pt x="0" y="62"/>
                  </a:cubicBezTo>
                  <a:cubicBezTo>
                    <a:pt x="0" y="73"/>
                    <a:pt x="9" y="81"/>
                    <a:pt x="19" y="81"/>
                  </a:cubicBezTo>
                  <a:cubicBezTo>
                    <a:pt x="30" y="81"/>
                    <a:pt x="39" y="73"/>
                    <a:pt x="39" y="62"/>
                  </a:cubicBezTo>
                  <a:cubicBezTo>
                    <a:pt x="39" y="62"/>
                    <a:pt x="39" y="61"/>
                    <a:pt x="39" y="61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70" y="54"/>
                    <a:pt x="74" y="56"/>
                    <a:pt x="79" y="56"/>
                  </a:cubicBezTo>
                  <a:cubicBezTo>
                    <a:pt x="87" y="56"/>
                    <a:pt x="94" y="49"/>
                    <a:pt x="94" y="41"/>
                  </a:cubicBezTo>
                  <a:cubicBezTo>
                    <a:pt x="94" y="33"/>
                    <a:pt x="87" y="27"/>
                    <a:pt x="79" y="27"/>
                  </a:cubicBezTo>
                  <a:close/>
                  <a:moveTo>
                    <a:pt x="28" y="44"/>
                  </a:moveTo>
                  <a:cubicBezTo>
                    <a:pt x="26" y="44"/>
                    <a:pt x="25" y="43"/>
                    <a:pt x="24" y="43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39" y="27"/>
                    <a:pt x="39" y="27"/>
                    <a:pt x="39" y="27"/>
                  </a:cubicBezTo>
                  <a:lnTo>
                    <a:pt x="28" y="44"/>
                  </a:lnTo>
                  <a:close/>
                  <a:moveTo>
                    <a:pt x="34" y="15"/>
                  </a:moveTo>
                  <a:cubicBezTo>
                    <a:pt x="48" y="14"/>
                    <a:pt x="48" y="14"/>
                    <a:pt x="48" y="14"/>
                  </a:cubicBezTo>
                  <a:cubicBezTo>
                    <a:pt x="43" y="20"/>
                    <a:pt x="43" y="20"/>
                    <a:pt x="43" y="20"/>
                  </a:cubicBezTo>
                  <a:lnTo>
                    <a:pt x="34" y="15"/>
                  </a:lnTo>
                  <a:close/>
                  <a:moveTo>
                    <a:pt x="37" y="53"/>
                  </a:moveTo>
                  <a:cubicBezTo>
                    <a:pt x="36" y="52"/>
                    <a:pt x="35" y="50"/>
                    <a:pt x="34" y="49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4" y="40"/>
                    <a:pt x="64" y="40"/>
                    <a:pt x="64" y="41"/>
                  </a:cubicBezTo>
                  <a:cubicBezTo>
                    <a:pt x="64" y="42"/>
                    <a:pt x="64" y="42"/>
                    <a:pt x="64" y="43"/>
                  </a:cubicBezTo>
                  <a:lnTo>
                    <a:pt x="37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2">
              <a:extLst>
                <a:ext uri="{FF2B5EF4-FFF2-40B4-BE49-F238E27FC236}">
                  <a16:creationId xmlns:a16="http://schemas.microsoft.com/office/drawing/2014/main" id="{AE361163-6F58-4F2E-8719-D80DA145A86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7" y="2341"/>
              <a:ext cx="165" cy="107"/>
            </a:xfrm>
            <a:custGeom>
              <a:avLst/>
              <a:gdLst>
                <a:gd name="T0" fmla="*/ 46 w 67"/>
                <a:gd name="T1" fmla="*/ 9 h 44"/>
                <a:gd name="T2" fmla="*/ 37 w 67"/>
                <a:gd name="T3" fmla="*/ 25 h 44"/>
                <a:gd name="T4" fmla="*/ 25 w 67"/>
                <a:gd name="T5" fmla="*/ 0 h 44"/>
                <a:gd name="T6" fmla="*/ 18 w 67"/>
                <a:gd name="T7" fmla="*/ 12 h 44"/>
                <a:gd name="T8" fmla="*/ 0 w 67"/>
                <a:gd name="T9" fmla="*/ 12 h 44"/>
                <a:gd name="T10" fmla="*/ 32 w 67"/>
                <a:gd name="T11" fmla="*/ 44 h 44"/>
                <a:gd name="T12" fmla="*/ 67 w 67"/>
                <a:gd name="T13" fmla="*/ 9 h 44"/>
                <a:gd name="T14" fmla="*/ 46 w 67"/>
                <a:gd name="T15" fmla="*/ 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44">
                  <a:moveTo>
                    <a:pt x="46" y="9"/>
                  </a:moveTo>
                  <a:cubicBezTo>
                    <a:pt x="37" y="25"/>
                    <a:pt x="37" y="25"/>
                    <a:pt x="37" y="2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1" y="30"/>
                    <a:pt x="32" y="44"/>
                    <a:pt x="32" y="44"/>
                  </a:cubicBezTo>
                  <a:cubicBezTo>
                    <a:pt x="32" y="44"/>
                    <a:pt x="56" y="28"/>
                    <a:pt x="67" y="9"/>
                  </a:cubicBezTo>
                  <a:lnTo>
                    <a:pt x="46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3">
              <a:extLst>
                <a:ext uri="{FF2B5EF4-FFF2-40B4-BE49-F238E27FC236}">
                  <a16:creationId xmlns:a16="http://schemas.microsoft.com/office/drawing/2014/main" id="{54ED08D8-19F6-4086-8B34-52032E9559D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" y="1278"/>
              <a:ext cx="100" cy="124"/>
            </a:xfrm>
            <a:custGeom>
              <a:avLst/>
              <a:gdLst>
                <a:gd name="T0" fmla="*/ 32 w 41"/>
                <a:gd name="T1" fmla="*/ 8 h 51"/>
                <a:gd name="T2" fmla="*/ 20 w 41"/>
                <a:gd name="T3" fmla="*/ 0 h 51"/>
                <a:gd name="T4" fmla="*/ 20 w 41"/>
                <a:gd name="T5" fmla="*/ 0 h 51"/>
                <a:gd name="T6" fmla="*/ 9 w 41"/>
                <a:gd name="T7" fmla="*/ 8 h 51"/>
                <a:gd name="T8" fmla="*/ 0 w 41"/>
                <a:gd name="T9" fmla="*/ 8 h 51"/>
                <a:gd name="T10" fmla="*/ 0 w 41"/>
                <a:gd name="T11" fmla="*/ 20 h 51"/>
                <a:gd name="T12" fmla="*/ 13 w 41"/>
                <a:gd name="T13" fmla="*/ 45 h 51"/>
                <a:gd name="T14" fmla="*/ 20 w 41"/>
                <a:gd name="T15" fmla="*/ 51 h 51"/>
                <a:gd name="T16" fmla="*/ 20 w 41"/>
                <a:gd name="T17" fmla="*/ 51 h 51"/>
                <a:gd name="T18" fmla="*/ 28 w 41"/>
                <a:gd name="T19" fmla="*/ 45 h 51"/>
                <a:gd name="T20" fmla="*/ 41 w 41"/>
                <a:gd name="T21" fmla="*/ 20 h 51"/>
                <a:gd name="T22" fmla="*/ 41 w 41"/>
                <a:gd name="T23" fmla="*/ 8 h 51"/>
                <a:gd name="T24" fmla="*/ 32 w 41"/>
                <a:gd name="T25" fmla="*/ 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51">
                  <a:moveTo>
                    <a:pt x="32" y="8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0"/>
                    <a:pt x="5" y="39"/>
                    <a:pt x="13" y="4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6" y="39"/>
                    <a:pt x="41" y="30"/>
                    <a:pt x="41" y="20"/>
                  </a:cubicBezTo>
                  <a:cubicBezTo>
                    <a:pt x="41" y="8"/>
                    <a:pt x="41" y="8"/>
                    <a:pt x="41" y="8"/>
                  </a:cubicBezTo>
                  <a:lnTo>
                    <a:pt x="32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4">
              <a:extLst>
                <a:ext uri="{FF2B5EF4-FFF2-40B4-BE49-F238E27FC236}">
                  <a16:creationId xmlns:a16="http://schemas.microsoft.com/office/drawing/2014/main" id="{E313AB8A-11F1-4723-8099-4E8C6B4D68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26" y="1417"/>
              <a:ext cx="333" cy="147"/>
            </a:xfrm>
            <a:custGeom>
              <a:avLst/>
              <a:gdLst>
                <a:gd name="T0" fmla="*/ 107 w 136"/>
                <a:gd name="T1" fmla="*/ 0 h 60"/>
                <a:gd name="T2" fmla="*/ 68 w 136"/>
                <a:gd name="T3" fmla="*/ 23 h 60"/>
                <a:gd name="T4" fmla="*/ 30 w 136"/>
                <a:gd name="T5" fmla="*/ 0 h 60"/>
                <a:gd name="T6" fmla="*/ 0 w 136"/>
                <a:gd name="T7" fmla="*/ 30 h 60"/>
                <a:gd name="T8" fmla="*/ 30 w 136"/>
                <a:gd name="T9" fmla="*/ 60 h 60"/>
                <a:gd name="T10" fmla="*/ 61 w 136"/>
                <a:gd name="T11" fmla="*/ 45 h 60"/>
                <a:gd name="T12" fmla="*/ 54 w 136"/>
                <a:gd name="T13" fmla="*/ 37 h 60"/>
                <a:gd name="T14" fmla="*/ 30 w 136"/>
                <a:gd name="T15" fmla="*/ 50 h 60"/>
                <a:gd name="T16" fmla="*/ 10 w 136"/>
                <a:gd name="T17" fmla="*/ 30 h 60"/>
                <a:gd name="T18" fmla="*/ 30 w 136"/>
                <a:gd name="T19" fmla="*/ 10 h 60"/>
                <a:gd name="T20" fmla="*/ 61 w 136"/>
                <a:gd name="T21" fmla="*/ 30 h 60"/>
                <a:gd name="T22" fmla="*/ 68 w 136"/>
                <a:gd name="T23" fmla="*/ 38 h 60"/>
                <a:gd name="T24" fmla="*/ 107 w 136"/>
                <a:gd name="T25" fmla="*/ 60 h 60"/>
                <a:gd name="T26" fmla="*/ 136 w 136"/>
                <a:gd name="T27" fmla="*/ 30 h 60"/>
                <a:gd name="T28" fmla="*/ 107 w 136"/>
                <a:gd name="T29" fmla="*/ 0 h 60"/>
                <a:gd name="T30" fmla="*/ 107 w 136"/>
                <a:gd name="T31" fmla="*/ 50 h 60"/>
                <a:gd name="T32" fmla="*/ 75 w 136"/>
                <a:gd name="T33" fmla="*/ 30 h 60"/>
                <a:gd name="T34" fmla="*/ 107 w 136"/>
                <a:gd name="T35" fmla="*/ 10 h 60"/>
                <a:gd name="T36" fmla="*/ 126 w 136"/>
                <a:gd name="T37" fmla="*/ 30 h 60"/>
                <a:gd name="T38" fmla="*/ 107 w 136"/>
                <a:gd name="T39" fmla="*/ 5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6" h="60">
                  <a:moveTo>
                    <a:pt x="107" y="0"/>
                  </a:moveTo>
                  <a:cubicBezTo>
                    <a:pt x="91" y="0"/>
                    <a:pt x="79" y="11"/>
                    <a:pt x="68" y="23"/>
                  </a:cubicBezTo>
                  <a:cubicBezTo>
                    <a:pt x="57" y="11"/>
                    <a:pt x="46" y="0"/>
                    <a:pt x="30" y="0"/>
                  </a:cubicBezTo>
                  <a:cubicBezTo>
                    <a:pt x="14" y="0"/>
                    <a:pt x="0" y="14"/>
                    <a:pt x="0" y="30"/>
                  </a:cubicBezTo>
                  <a:cubicBezTo>
                    <a:pt x="0" y="47"/>
                    <a:pt x="14" y="60"/>
                    <a:pt x="30" y="60"/>
                  </a:cubicBezTo>
                  <a:cubicBezTo>
                    <a:pt x="42" y="60"/>
                    <a:pt x="52" y="53"/>
                    <a:pt x="61" y="45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47" y="45"/>
                    <a:pt x="39" y="50"/>
                    <a:pt x="30" y="50"/>
                  </a:cubicBezTo>
                  <a:cubicBezTo>
                    <a:pt x="19" y="50"/>
                    <a:pt x="10" y="41"/>
                    <a:pt x="10" y="30"/>
                  </a:cubicBezTo>
                  <a:cubicBezTo>
                    <a:pt x="10" y="19"/>
                    <a:pt x="19" y="10"/>
                    <a:pt x="30" y="10"/>
                  </a:cubicBezTo>
                  <a:cubicBezTo>
                    <a:pt x="42" y="10"/>
                    <a:pt x="51" y="20"/>
                    <a:pt x="61" y="30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79" y="49"/>
                    <a:pt x="91" y="60"/>
                    <a:pt x="107" y="60"/>
                  </a:cubicBezTo>
                  <a:cubicBezTo>
                    <a:pt x="123" y="60"/>
                    <a:pt x="136" y="47"/>
                    <a:pt x="136" y="30"/>
                  </a:cubicBezTo>
                  <a:cubicBezTo>
                    <a:pt x="136" y="14"/>
                    <a:pt x="123" y="0"/>
                    <a:pt x="107" y="0"/>
                  </a:cubicBezTo>
                  <a:close/>
                  <a:moveTo>
                    <a:pt x="107" y="50"/>
                  </a:moveTo>
                  <a:cubicBezTo>
                    <a:pt x="95" y="50"/>
                    <a:pt x="85" y="41"/>
                    <a:pt x="75" y="30"/>
                  </a:cubicBezTo>
                  <a:cubicBezTo>
                    <a:pt x="85" y="20"/>
                    <a:pt x="95" y="10"/>
                    <a:pt x="107" y="10"/>
                  </a:cubicBezTo>
                  <a:cubicBezTo>
                    <a:pt x="118" y="10"/>
                    <a:pt x="126" y="19"/>
                    <a:pt x="126" y="30"/>
                  </a:cubicBezTo>
                  <a:cubicBezTo>
                    <a:pt x="126" y="41"/>
                    <a:pt x="118" y="50"/>
                    <a:pt x="107" y="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5">
              <a:extLst>
                <a:ext uri="{FF2B5EF4-FFF2-40B4-BE49-F238E27FC236}">
                  <a16:creationId xmlns:a16="http://schemas.microsoft.com/office/drawing/2014/main" id="{8C9F24EE-C373-405C-B386-FA3B51BCDDB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10" y="1544"/>
              <a:ext cx="161" cy="161"/>
            </a:xfrm>
            <a:custGeom>
              <a:avLst/>
              <a:gdLst>
                <a:gd name="T0" fmla="*/ 66 w 66"/>
                <a:gd name="T1" fmla="*/ 38 h 66"/>
                <a:gd name="T2" fmla="*/ 66 w 66"/>
                <a:gd name="T3" fmla="*/ 29 h 66"/>
                <a:gd name="T4" fmla="*/ 57 w 66"/>
                <a:gd name="T5" fmla="*/ 27 h 66"/>
                <a:gd name="T6" fmla="*/ 54 w 66"/>
                <a:gd name="T7" fmla="*/ 21 h 66"/>
                <a:gd name="T8" fmla="*/ 60 w 66"/>
                <a:gd name="T9" fmla="*/ 13 h 66"/>
                <a:gd name="T10" fmla="*/ 53 w 66"/>
                <a:gd name="T11" fmla="*/ 7 h 66"/>
                <a:gd name="T12" fmla="*/ 45 w 66"/>
                <a:gd name="T13" fmla="*/ 12 h 66"/>
                <a:gd name="T14" fmla="*/ 39 w 66"/>
                <a:gd name="T15" fmla="*/ 10 h 66"/>
                <a:gd name="T16" fmla="*/ 38 w 66"/>
                <a:gd name="T17" fmla="*/ 0 h 66"/>
                <a:gd name="T18" fmla="*/ 29 w 66"/>
                <a:gd name="T19" fmla="*/ 0 h 66"/>
                <a:gd name="T20" fmla="*/ 27 w 66"/>
                <a:gd name="T21" fmla="*/ 10 h 66"/>
                <a:gd name="T22" fmla="*/ 21 w 66"/>
                <a:gd name="T23" fmla="*/ 12 h 66"/>
                <a:gd name="T24" fmla="*/ 13 w 66"/>
                <a:gd name="T25" fmla="*/ 7 h 66"/>
                <a:gd name="T26" fmla="*/ 7 w 66"/>
                <a:gd name="T27" fmla="*/ 13 h 66"/>
                <a:gd name="T28" fmla="*/ 13 w 66"/>
                <a:gd name="T29" fmla="*/ 21 h 66"/>
                <a:gd name="T30" fmla="*/ 10 w 66"/>
                <a:gd name="T31" fmla="*/ 27 h 66"/>
                <a:gd name="T32" fmla="*/ 0 w 66"/>
                <a:gd name="T33" fmla="*/ 29 h 66"/>
                <a:gd name="T34" fmla="*/ 0 w 66"/>
                <a:gd name="T35" fmla="*/ 38 h 66"/>
                <a:gd name="T36" fmla="*/ 10 w 66"/>
                <a:gd name="T37" fmla="*/ 39 h 66"/>
                <a:gd name="T38" fmla="*/ 12 w 66"/>
                <a:gd name="T39" fmla="*/ 46 h 66"/>
                <a:gd name="T40" fmla="*/ 7 w 66"/>
                <a:gd name="T41" fmla="*/ 53 h 66"/>
                <a:gd name="T42" fmla="*/ 13 w 66"/>
                <a:gd name="T43" fmla="*/ 60 h 66"/>
                <a:gd name="T44" fmla="*/ 21 w 66"/>
                <a:gd name="T45" fmla="*/ 54 h 66"/>
                <a:gd name="T46" fmla="*/ 27 w 66"/>
                <a:gd name="T47" fmla="*/ 57 h 66"/>
                <a:gd name="T48" fmla="*/ 29 w 66"/>
                <a:gd name="T49" fmla="*/ 66 h 66"/>
                <a:gd name="T50" fmla="*/ 38 w 66"/>
                <a:gd name="T51" fmla="*/ 66 h 66"/>
                <a:gd name="T52" fmla="*/ 39 w 66"/>
                <a:gd name="T53" fmla="*/ 57 h 66"/>
                <a:gd name="T54" fmla="*/ 46 w 66"/>
                <a:gd name="T55" fmla="*/ 54 h 66"/>
                <a:gd name="T56" fmla="*/ 53 w 66"/>
                <a:gd name="T57" fmla="*/ 60 h 66"/>
                <a:gd name="T58" fmla="*/ 60 w 66"/>
                <a:gd name="T59" fmla="*/ 53 h 66"/>
                <a:gd name="T60" fmla="*/ 54 w 66"/>
                <a:gd name="T61" fmla="*/ 46 h 66"/>
                <a:gd name="T62" fmla="*/ 57 w 66"/>
                <a:gd name="T63" fmla="*/ 39 h 66"/>
                <a:gd name="T64" fmla="*/ 66 w 66"/>
                <a:gd name="T65" fmla="*/ 38 h 66"/>
                <a:gd name="T66" fmla="*/ 33 w 66"/>
                <a:gd name="T67" fmla="*/ 46 h 66"/>
                <a:gd name="T68" fmla="*/ 20 w 66"/>
                <a:gd name="T69" fmla="*/ 33 h 66"/>
                <a:gd name="T70" fmla="*/ 33 w 66"/>
                <a:gd name="T71" fmla="*/ 20 h 66"/>
                <a:gd name="T72" fmla="*/ 46 w 66"/>
                <a:gd name="T73" fmla="*/ 33 h 66"/>
                <a:gd name="T74" fmla="*/ 33 w 66"/>
                <a:gd name="T75" fmla="*/ 4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6" h="66">
                  <a:moveTo>
                    <a:pt x="66" y="38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6" y="25"/>
                    <a:pt x="55" y="23"/>
                    <a:pt x="54" y="21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3" y="11"/>
                    <a:pt x="41" y="11"/>
                    <a:pt x="39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5" y="11"/>
                    <a:pt x="23" y="11"/>
                    <a:pt x="21" y="1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1" y="23"/>
                    <a:pt x="11" y="25"/>
                    <a:pt x="10" y="27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41"/>
                    <a:pt x="11" y="44"/>
                    <a:pt x="12" y="46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13" y="60"/>
                    <a:pt x="13" y="60"/>
                    <a:pt x="13" y="60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3" y="55"/>
                    <a:pt x="25" y="56"/>
                    <a:pt x="27" y="57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2" y="56"/>
                    <a:pt x="44" y="55"/>
                    <a:pt x="46" y="54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5" y="44"/>
                    <a:pt x="56" y="41"/>
                    <a:pt x="57" y="39"/>
                  </a:cubicBezTo>
                  <a:lnTo>
                    <a:pt x="66" y="38"/>
                  </a:lnTo>
                  <a:close/>
                  <a:moveTo>
                    <a:pt x="33" y="46"/>
                  </a:moveTo>
                  <a:cubicBezTo>
                    <a:pt x="26" y="46"/>
                    <a:pt x="20" y="41"/>
                    <a:pt x="20" y="33"/>
                  </a:cubicBezTo>
                  <a:cubicBezTo>
                    <a:pt x="20" y="26"/>
                    <a:pt x="26" y="20"/>
                    <a:pt x="33" y="20"/>
                  </a:cubicBezTo>
                  <a:cubicBezTo>
                    <a:pt x="40" y="20"/>
                    <a:pt x="46" y="26"/>
                    <a:pt x="46" y="33"/>
                  </a:cubicBezTo>
                  <a:cubicBezTo>
                    <a:pt x="46" y="41"/>
                    <a:pt x="40" y="46"/>
                    <a:pt x="33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6">
              <a:extLst>
                <a:ext uri="{FF2B5EF4-FFF2-40B4-BE49-F238E27FC236}">
                  <a16:creationId xmlns:a16="http://schemas.microsoft.com/office/drawing/2014/main" id="{39FB5831-C7B4-4259-B67B-1158CBD361B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9" y="2607"/>
              <a:ext cx="587" cy="335"/>
            </a:xfrm>
            <a:custGeom>
              <a:avLst/>
              <a:gdLst>
                <a:gd name="T0" fmla="*/ 0 w 240"/>
                <a:gd name="T1" fmla="*/ 0 h 137"/>
                <a:gd name="T2" fmla="*/ 0 w 240"/>
                <a:gd name="T3" fmla="*/ 54 h 137"/>
                <a:gd name="T4" fmla="*/ 43 w 240"/>
                <a:gd name="T5" fmla="*/ 97 h 137"/>
                <a:gd name="T6" fmla="*/ 83 w 240"/>
                <a:gd name="T7" fmla="*/ 97 h 137"/>
                <a:gd name="T8" fmla="*/ 83 w 240"/>
                <a:gd name="T9" fmla="*/ 106 h 137"/>
                <a:gd name="T10" fmla="*/ 104 w 240"/>
                <a:gd name="T11" fmla="*/ 126 h 137"/>
                <a:gd name="T12" fmla="*/ 106 w 240"/>
                <a:gd name="T13" fmla="*/ 126 h 137"/>
                <a:gd name="T14" fmla="*/ 106 w 240"/>
                <a:gd name="T15" fmla="*/ 137 h 137"/>
                <a:gd name="T16" fmla="*/ 127 w 240"/>
                <a:gd name="T17" fmla="*/ 137 h 137"/>
                <a:gd name="T18" fmla="*/ 127 w 240"/>
                <a:gd name="T19" fmla="*/ 126 h 137"/>
                <a:gd name="T20" fmla="*/ 127 w 240"/>
                <a:gd name="T21" fmla="*/ 126 h 137"/>
                <a:gd name="T22" fmla="*/ 148 w 240"/>
                <a:gd name="T23" fmla="*/ 106 h 137"/>
                <a:gd name="T24" fmla="*/ 148 w 240"/>
                <a:gd name="T25" fmla="*/ 97 h 137"/>
                <a:gd name="T26" fmla="*/ 197 w 240"/>
                <a:gd name="T27" fmla="*/ 97 h 137"/>
                <a:gd name="T28" fmla="*/ 240 w 240"/>
                <a:gd name="T29" fmla="*/ 54 h 137"/>
                <a:gd name="T30" fmla="*/ 240 w 240"/>
                <a:gd name="T31" fmla="*/ 0 h 137"/>
                <a:gd name="T32" fmla="*/ 0 w 240"/>
                <a:gd name="T33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137">
                  <a:moveTo>
                    <a:pt x="0" y="0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0" y="78"/>
                    <a:pt x="20" y="97"/>
                    <a:pt x="43" y="97"/>
                  </a:cubicBezTo>
                  <a:cubicBezTo>
                    <a:pt x="83" y="97"/>
                    <a:pt x="83" y="97"/>
                    <a:pt x="83" y="97"/>
                  </a:cubicBezTo>
                  <a:cubicBezTo>
                    <a:pt x="83" y="106"/>
                    <a:pt x="83" y="106"/>
                    <a:pt x="83" y="106"/>
                  </a:cubicBezTo>
                  <a:cubicBezTo>
                    <a:pt x="83" y="117"/>
                    <a:pt x="93" y="126"/>
                    <a:pt x="104" y="126"/>
                  </a:cubicBezTo>
                  <a:cubicBezTo>
                    <a:pt x="106" y="126"/>
                    <a:pt x="106" y="126"/>
                    <a:pt x="106" y="126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127" y="137"/>
                    <a:pt x="127" y="137"/>
                    <a:pt x="127" y="137"/>
                  </a:cubicBezTo>
                  <a:cubicBezTo>
                    <a:pt x="127" y="126"/>
                    <a:pt x="127" y="126"/>
                    <a:pt x="127" y="126"/>
                  </a:cubicBezTo>
                  <a:cubicBezTo>
                    <a:pt x="127" y="126"/>
                    <a:pt x="127" y="126"/>
                    <a:pt x="127" y="126"/>
                  </a:cubicBezTo>
                  <a:cubicBezTo>
                    <a:pt x="139" y="126"/>
                    <a:pt x="148" y="117"/>
                    <a:pt x="148" y="106"/>
                  </a:cubicBezTo>
                  <a:cubicBezTo>
                    <a:pt x="148" y="97"/>
                    <a:pt x="148" y="97"/>
                    <a:pt x="148" y="97"/>
                  </a:cubicBezTo>
                  <a:cubicBezTo>
                    <a:pt x="197" y="97"/>
                    <a:pt x="197" y="97"/>
                    <a:pt x="197" y="97"/>
                  </a:cubicBezTo>
                  <a:cubicBezTo>
                    <a:pt x="221" y="97"/>
                    <a:pt x="240" y="78"/>
                    <a:pt x="240" y="54"/>
                  </a:cubicBezTo>
                  <a:cubicBezTo>
                    <a:pt x="240" y="0"/>
                    <a:pt x="240" y="0"/>
                    <a:pt x="24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7">
              <a:extLst>
                <a:ext uri="{FF2B5EF4-FFF2-40B4-BE49-F238E27FC236}">
                  <a16:creationId xmlns:a16="http://schemas.microsoft.com/office/drawing/2014/main" id="{C8CA9CF8-0AEF-4541-A114-077A2E1AE84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6" y="2636"/>
              <a:ext cx="483" cy="228"/>
            </a:xfrm>
            <a:custGeom>
              <a:avLst/>
              <a:gdLst>
                <a:gd name="T0" fmla="*/ 0 w 197"/>
                <a:gd name="T1" fmla="*/ 0 h 93"/>
                <a:gd name="T2" fmla="*/ 0 w 197"/>
                <a:gd name="T3" fmla="*/ 10 h 93"/>
                <a:gd name="T4" fmla="*/ 63 w 197"/>
                <a:gd name="T5" fmla="*/ 10 h 93"/>
                <a:gd name="T6" fmla="*/ 63 w 197"/>
                <a:gd name="T7" fmla="*/ 85 h 93"/>
                <a:gd name="T8" fmla="*/ 39 w 197"/>
                <a:gd name="T9" fmla="*/ 85 h 93"/>
                <a:gd name="T10" fmla="*/ 39 w 197"/>
                <a:gd name="T11" fmla="*/ 93 h 93"/>
                <a:gd name="T12" fmla="*/ 104 w 197"/>
                <a:gd name="T13" fmla="*/ 93 h 93"/>
                <a:gd name="T14" fmla="*/ 104 w 197"/>
                <a:gd name="T15" fmla="*/ 85 h 93"/>
                <a:gd name="T16" fmla="*/ 155 w 197"/>
                <a:gd name="T17" fmla="*/ 85 h 93"/>
                <a:gd name="T18" fmla="*/ 197 w 197"/>
                <a:gd name="T19" fmla="*/ 44 h 93"/>
                <a:gd name="T20" fmla="*/ 197 w 197"/>
                <a:gd name="T21" fmla="*/ 0 h 93"/>
                <a:gd name="T22" fmla="*/ 0 w 197"/>
                <a:gd name="T2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7" h="93">
                  <a:moveTo>
                    <a:pt x="0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3" y="85"/>
                    <a:pt x="63" y="85"/>
                    <a:pt x="63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104" y="93"/>
                    <a:pt x="104" y="93"/>
                    <a:pt x="104" y="93"/>
                  </a:cubicBezTo>
                  <a:cubicBezTo>
                    <a:pt x="104" y="85"/>
                    <a:pt x="104" y="85"/>
                    <a:pt x="104" y="85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78" y="85"/>
                    <a:pt x="197" y="67"/>
                    <a:pt x="197" y="44"/>
                  </a:cubicBezTo>
                  <a:cubicBezTo>
                    <a:pt x="197" y="0"/>
                    <a:pt x="197" y="0"/>
                    <a:pt x="19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48">
              <a:extLst>
                <a:ext uri="{FF2B5EF4-FFF2-40B4-BE49-F238E27FC236}">
                  <a16:creationId xmlns:a16="http://schemas.microsoft.com/office/drawing/2014/main" id="{49A87721-DA24-43FA-A586-9BE1C061A1F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" y="1617"/>
              <a:ext cx="79" cy="142"/>
            </a:xfrm>
            <a:custGeom>
              <a:avLst/>
              <a:gdLst>
                <a:gd name="T0" fmla="*/ 8 w 32"/>
                <a:gd name="T1" fmla="*/ 36 h 58"/>
                <a:gd name="T2" fmla="*/ 18 w 32"/>
                <a:gd name="T3" fmla="*/ 20 h 58"/>
                <a:gd name="T4" fmla="*/ 14 w 32"/>
                <a:gd name="T5" fmla="*/ 26 h 58"/>
                <a:gd name="T6" fmla="*/ 21 w 32"/>
                <a:gd name="T7" fmla="*/ 31 h 58"/>
                <a:gd name="T8" fmla="*/ 32 w 32"/>
                <a:gd name="T9" fmla="*/ 14 h 58"/>
                <a:gd name="T10" fmla="*/ 17 w 32"/>
                <a:gd name="T11" fmla="*/ 0 h 58"/>
                <a:gd name="T12" fmla="*/ 12 w 32"/>
                <a:gd name="T13" fmla="*/ 6 h 58"/>
                <a:gd name="T14" fmla="*/ 18 w 32"/>
                <a:gd name="T15" fmla="*/ 12 h 58"/>
                <a:gd name="T16" fmla="*/ 0 w 32"/>
                <a:gd name="T17" fmla="*/ 36 h 58"/>
                <a:gd name="T18" fmla="*/ 12 w 32"/>
                <a:gd name="T19" fmla="*/ 58 h 58"/>
                <a:gd name="T20" fmla="*/ 16 w 32"/>
                <a:gd name="T21" fmla="*/ 51 h 58"/>
                <a:gd name="T22" fmla="*/ 8 w 32"/>
                <a:gd name="T23" fmla="*/ 3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58">
                  <a:moveTo>
                    <a:pt x="8" y="36"/>
                  </a:moveTo>
                  <a:cubicBezTo>
                    <a:pt x="8" y="29"/>
                    <a:pt x="12" y="23"/>
                    <a:pt x="18" y="20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7" y="15"/>
                    <a:pt x="0" y="25"/>
                    <a:pt x="0" y="36"/>
                  </a:cubicBezTo>
                  <a:cubicBezTo>
                    <a:pt x="0" y="45"/>
                    <a:pt x="4" y="53"/>
                    <a:pt x="12" y="58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1" y="48"/>
                    <a:pt x="8" y="42"/>
                    <a:pt x="8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9">
              <a:extLst>
                <a:ext uri="{FF2B5EF4-FFF2-40B4-BE49-F238E27FC236}">
                  <a16:creationId xmlns:a16="http://schemas.microsoft.com/office/drawing/2014/main" id="{94BE7000-59F6-49A6-92B3-9458536D7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6731" y="1654"/>
              <a:ext cx="80" cy="139"/>
            </a:xfrm>
            <a:custGeom>
              <a:avLst/>
              <a:gdLst>
                <a:gd name="T0" fmla="*/ 33 w 33"/>
                <a:gd name="T1" fmla="*/ 21 h 57"/>
                <a:gd name="T2" fmla="*/ 21 w 33"/>
                <a:gd name="T3" fmla="*/ 0 h 57"/>
                <a:gd name="T4" fmla="*/ 17 w 33"/>
                <a:gd name="T5" fmla="*/ 7 h 57"/>
                <a:gd name="T6" fmla="*/ 25 w 33"/>
                <a:gd name="T7" fmla="*/ 21 h 57"/>
                <a:gd name="T8" fmla="*/ 14 w 33"/>
                <a:gd name="T9" fmla="*/ 37 h 57"/>
                <a:gd name="T10" fmla="*/ 18 w 33"/>
                <a:gd name="T11" fmla="*/ 32 h 57"/>
                <a:gd name="T12" fmla="*/ 11 w 33"/>
                <a:gd name="T13" fmla="*/ 27 h 57"/>
                <a:gd name="T14" fmla="*/ 0 w 33"/>
                <a:gd name="T15" fmla="*/ 43 h 57"/>
                <a:gd name="T16" fmla="*/ 15 w 33"/>
                <a:gd name="T17" fmla="*/ 57 h 57"/>
                <a:gd name="T18" fmla="*/ 20 w 33"/>
                <a:gd name="T19" fmla="*/ 51 h 57"/>
                <a:gd name="T20" fmla="*/ 14 w 33"/>
                <a:gd name="T21" fmla="*/ 46 h 57"/>
                <a:gd name="T22" fmla="*/ 33 w 33"/>
                <a:gd name="T23" fmla="*/ 2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57">
                  <a:moveTo>
                    <a:pt x="33" y="21"/>
                  </a:moveTo>
                  <a:cubicBezTo>
                    <a:pt x="33" y="13"/>
                    <a:pt x="28" y="5"/>
                    <a:pt x="21" y="0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22" y="10"/>
                    <a:pt x="25" y="15"/>
                    <a:pt x="25" y="21"/>
                  </a:cubicBezTo>
                  <a:cubicBezTo>
                    <a:pt x="25" y="29"/>
                    <a:pt x="20" y="35"/>
                    <a:pt x="14" y="37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25" y="43"/>
                    <a:pt x="33" y="33"/>
                    <a:pt x="33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0">
              <a:extLst>
                <a:ext uri="{FF2B5EF4-FFF2-40B4-BE49-F238E27FC236}">
                  <a16:creationId xmlns:a16="http://schemas.microsoft.com/office/drawing/2014/main" id="{4A59F934-29AA-443C-A0F4-AB4663979D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00" y="2277"/>
              <a:ext cx="194" cy="96"/>
            </a:xfrm>
            <a:custGeom>
              <a:avLst/>
              <a:gdLst>
                <a:gd name="T0" fmla="*/ 21 w 79"/>
                <a:gd name="T1" fmla="*/ 32 h 39"/>
                <a:gd name="T2" fmla="*/ 33 w 79"/>
                <a:gd name="T3" fmla="*/ 13 h 39"/>
                <a:gd name="T4" fmla="*/ 45 w 79"/>
                <a:gd name="T5" fmla="*/ 39 h 39"/>
                <a:gd name="T6" fmla="*/ 50 w 79"/>
                <a:gd name="T7" fmla="*/ 30 h 39"/>
                <a:gd name="T8" fmla="*/ 76 w 79"/>
                <a:gd name="T9" fmla="*/ 30 h 39"/>
                <a:gd name="T10" fmla="*/ 79 w 79"/>
                <a:gd name="T11" fmla="*/ 19 h 39"/>
                <a:gd name="T12" fmla="*/ 58 w 79"/>
                <a:gd name="T13" fmla="*/ 0 h 39"/>
                <a:gd name="T14" fmla="*/ 39 w 79"/>
                <a:gd name="T15" fmla="*/ 12 h 39"/>
                <a:gd name="T16" fmla="*/ 21 w 79"/>
                <a:gd name="T17" fmla="*/ 0 h 39"/>
                <a:gd name="T18" fmla="*/ 0 w 79"/>
                <a:gd name="T19" fmla="*/ 19 h 39"/>
                <a:gd name="T20" fmla="*/ 4 w 79"/>
                <a:gd name="T21" fmla="*/ 32 h 39"/>
                <a:gd name="T22" fmla="*/ 21 w 79"/>
                <a:gd name="T23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" h="39">
                  <a:moveTo>
                    <a:pt x="21" y="32"/>
                  </a:moveTo>
                  <a:cubicBezTo>
                    <a:pt x="33" y="13"/>
                    <a:pt x="33" y="13"/>
                    <a:pt x="33" y="13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8" y="27"/>
                    <a:pt x="79" y="23"/>
                    <a:pt x="79" y="19"/>
                  </a:cubicBezTo>
                  <a:cubicBezTo>
                    <a:pt x="79" y="8"/>
                    <a:pt x="70" y="0"/>
                    <a:pt x="58" y="0"/>
                  </a:cubicBezTo>
                  <a:cubicBezTo>
                    <a:pt x="50" y="0"/>
                    <a:pt x="43" y="5"/>
                    <a:pt x="39" y="12"/>
                  </a:cubicBezTo>
                  <a:cubicBezTo>
                    <a:pt x="36" y="5"/>
                    <a:pt x="29" y="0"/>
                    <a:pt x="21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23"/>
                    <a:pt x="1" y="28"/>
                    <a:pt x="4" y="32"/>
                  </a:cubicBezTo>
                  <a:lnTo>
                    <a:pt x="21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1">
              <a:extLst>
                <a:ext uri="{FF2B5EF4-FFF2-40B4-BE49-F238E27FC236}">
                  <a16:creationId xmlns:a16="http://schemas.microsoft.com/office/drawing/2014/main" id="{8A7A667C-AC26-45B3-8C6B-EB8481FBDF1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1" y="4010"/>
              <a:ext cx="115" cy="102"/>
            </a:xfrm>
            <a:custGeom>
              <a:avLst/>
              <a:gdLst>
                <a:gd name="T0" fmla="*/ 41 w 47"/>
                <a:gd name="T1" fmla="*/ 26 h 42"/>
                <a:gd name="T2" fmla="*/ 30 w 47"/>
                <a:gd name="T3" fmla="*/ 1 h 42"/>
                <a:gd name="T4" fmla="*/ 0 w 47"/>
                <a:gd name="T5" fmla="*/ 42 h 42"/>
                <a:gd name="T6" fmla="*/ 30 w 47"/>
                <a:gd name="T7" fmla="*/ 34 h 42"/>
                <a:gd name="T8" fmla="*/ 41 w 47"/>
                <a:gd name="T9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2">
                  <a:moveTo>
                    <a:pt x="41" y="26"/>
                  </a:moveTo>
                  <a:cubicBezTo>
                    <a:pt x="47" y="8"/>
                    <a:pt x="34" y="2"/>
                    <a:pt x="30" y="1"/>
                  </a:cubicBezTo>
                  <a:cubicBezTo>
                    <a:pt x="26" y="0"/>
                    <a:pt x="0" y="42"/>
                    <a:pt x="0" y="42"/>
                  </a:cubicBezTo>
                  <a:cubicBezTo>
                    <a:pt x="30" y="34"/>
                    <a:pt x="30" y="34"/>
                    <a:pt x="30" y="34"/>
                  </a:cubicBezTo>
                  <a:lnTo>
                    <a:pt x="41" y="26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2">
              <a:extLst>
                <a:ext uri="{FF2B5EF4-FFF2-40B4-BE49-F238E27FC236}">
                  <a16:creationId xmlns:a16="http://schemas.microsoft.com/office/drawing/2014/main" id="{0BC06160-1137-4CF3-9367-013E31338A5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9" y="3130"/>
              <a:ext cx="683" cy="1136"/>
            </a:xfrm>
            <a:custGeom>
              <a:avLst/>
              <a:gdLst>
                <a:gd name="T0" fmla="*/ 279 w 279"/>
                <a:gd name="T1" fmla="*/ 104 h 465"/>
                <a:gd name="T2" fmla="*/ 255 w 279"/>
                <a:gd name="T3" fmla="*/ 37 h 465"/>
                <a:gd name="T4" fmla="*/ 227 w 279"/>
                <a:gd name="T5" fmla="*/ 23 h 465"/>
                <a:gd name="T6" fmla="*/ 198 w 279"/>
                <a:gd name="T7" fmla="*/ 2 h 465"/>
                <a:gd name="T8" fmla="*/ 190 w 279"/>
                <a:gd name="T9" fmla="*/ 4 h 465"/>
                <a:gd name="T10" fmla="*/ 189 w 279"/>
                <a:gd name="T11" fmla="*/ 27 h 465"/>
                <a:gd name="T12" fmla="*/ 227 w 279"/>
                <a:gd name="T13" fmla="*/ 42 h 465"/>
                <a:gd name="T14" fmla="*/ 231 w 279"/>
                <a:gd name="T15" fmla="*/ 78 h 465"/>
                <a:gd name="T16" fmla="*/ 184 w 279"/>
                <a:gd name="T17" fmla="*/ 52 h 465"/>
                <a:gd name="T18" fmla="*/ 134 w 279"/>
                <a:gd name="T19" fmla="*/ 34 h 465"/>
                <a:gd name="T20" fmla="*/ 125 w 279"/>
                <a:gd name="T21" fmla="*/ 38 h 465"/>
                <a:gd name="T22" fmla="*/ 125 w 279"/>
                <a:gd name="T23" fmla="*/ 42 h 465"/>
                <a:gd name="T24" fmla="*/ 143 w 279"/>
                <a:gd name="T25" fmla="*/ 78 h 465"/>
                <a:gd name="T26" fmla="*/ 203 w 279"/>
                <a:gd name="T27" fmla="*/ 110 h 465"/>
                <a:gd name="T28" fmla="*/ 195 w 279"/>
                <a:gd name="T29" fmla="*/ 175 h 465"/>
                <a:gd name="T30" fmla="*/ 167 w 279"/>
                <a:gd name="T31" fmla="*/ 203 h 465"/>
                <a:gd name="T32" fmla="*/ 152 w 279"/>
                <a:gd name="T33" fmla="*/ 207 h 465"/>
                <a:gd name="T34" fmla="*/ 119 w 279"/>
                <a:gd name="T35" fmla="*/ 188 h 465"/>
                <a:gd name="T36" fmla="*/ 104 w 279"/>
                <a:gd name="T37" fmla="*/ 157 h 465"/>
                <a:gd name="T38" fmla="*/ 112 w 279"/>
                <a:gd name="T39" fmla="*/ 105 h 465"/>
                <a:gd name="T40" fmla="*/ 120 w 279"/>
                <a:gd name="T41" fmla="*/ 82 h 465"/>
                <a:gd name="T42" fmla="*/ 107 w 279"/>
                <a:gd name="T43" fmla="*/ 56 h 465"/>
                <a:gd name="T44" fmla="*/ 107 w 279"/>
                <a:gd name="T45" fmla="*/ 56 h 465"/>
                <a:gd name="T46" fmla="*/ 88 w 279"/>
                <a:gd name="T47" fmla="*/ 63 h 465"/>
                <a:gd name="T48" fmla="*/ 66 w 279"/>
                <a:gd name="T49" fmla="*/ 97 h 465"/>
                <a:gd name="T50" fmla="*/ 46 w 279"/>
                <a:gd name="T51" fmla="*/ 184 h 465"/>
                <a:gd name="T52" fmla="*/ 31 w 279"/>
                <a:gd name="T53" fmla="*/ 211 h 465"/>
                <a:gd name="T54" fmla="*/ 6 w 279"/>
                <a:gd name="T55" fmla="*/ 339 h 465"/>
                <a:gd name="T56" fmla="*/ 13 w 279"/>
                <a:gd name="T57" fmla="*/ 388 h 465"/>
                <a:gd name="T58" fmla="*/ 105 w 279"/>
                <a:gd name="T59" fmla="*/ 465 h 465"/>
                <a:gd name="T60" fmla="*/ 124 w 279"/>
                <a:gd name="T61" fmla="*/ 388 h 465"/>
                <a:gd name="T62" fmla="*/ 165 w 279"/>
                <a:gd name="T63" fmla="*/ 313 h 465"/>
                <a:gd name="T64" fmla="*/ 182 w 279"/>
                <a:gd name="T65" fmla="*/ 287 h 465"/>
                <a:gd name="T66" fmla="*/ 252 w 279"/>
                <a:gd name="T67" fmla="*/ 198 h 465"/>
                <a:gd name="T68" fmla="*/ 265 w 279"/>
                <a:gd name="T69" fmla="*/ 183 h 465"/>
                <a:gd name="T70" fmla="*/ 279 w 279"/>
                <a:gd name="T71" fmla="*/ 10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79" h="465">
                  <a:moveTo>
                    <a:pt x="279" y="104"/>
                  </a:moveTo>
                  <a:cubicBezTo>
                    <a:pt x="255" y="37"/>
                    <a:pt x="255" y="37"/>
                    <a:pt x="255" y="37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198" y="2"/>
                    <a:pt x="198" y="2"/>
                    <a:pt x="198" y="2"/>
                  </a:cubicBezTo>
                  <a:cubicBezTo>
                    <a:pt x="195" y="0"/>
                    <a:pt x="191" y="1"/>
                    <a:pt x="190" y="4"/>
                  </a:cubicBezTo>
                  <a:cubicBezTo>
                    <a:pt x="186" y="11"/>
                    <a:pt x="186" y="19"/>
                    <a:pt x="189" y="27"/>
                  </a:cubicBezTo>
                  <a:cubicBezTo>
                    <a:pt x="197" y="32"/>
                    <a:pt x="214" y="42"/>
                    <a:pt x="227" y="42"/>
                  </a:cubicBezTo>
                  <a:cubicBezTo>
                    <a:pt x="224" y="53"/>
                    <a:pt x="228" y="68"/>
                    <a:pt x="231" y="78"/>
                  </a:cubicBezTo>
                  <a:cubicBezTo>
                    <a:pt x="184" y="52"/>
                    <a:pt x="184" y="52"/>
                    <a:pt x="184" y="52"/>
                  </a:cubicBezTo>
                  <a:cubicBezTo>
                    <a:pt x="134" y="34"/>
                    <a:pt x="134" y="34"/>
                    <a:pt x="134" y="34"/>
                  </a:cubicBezTo>
                  <a:cubicBezTo>
                    <a:pt x="130" y="32"/>
                    <a:pt x="126" y="35"/>
                    <a:pt x="125" y="38"/>
                  </a:cubicBezTo>
                  <a:cubicBezTo>
                    <a:pt x="125" y="42"/>
                    <a:pt x="125" y="42"/>
                    <a:pt x="125" y="42"/>
                  </a:cubicBezTo>
                  <a:cubicBezTo>
                    <a:pt x="122" y="56"/>
                    <a:pt x="129" y="71"/>
                    <a:pt x="143" y="78"/>
                  </a:cubicBezTo>
                  <a:cubicBezTo>
                    <a:pt x="203" y="110"/>
                    <a:pt x="203" y="110"/>
                    <a:pt x="203" y="110"/>
                  </a:cubicBezTo>
                  <a:cubicBezTo>
                    <a:pt x="195" y="175"/>
                    <a:pt x="195" y="175"/>
                    <a:pt x="195" y="175"/>
                  </a:cubicBezTo>
                  <a:cubicBezTo>
                    <a:pt x="184" y="182"/>
                    <a:pt x="174" y="191"/>
                    <a:pt x="167" y="203"/>
                  </a:cubicBezTo>
                  <a:cubicBezTo>
                    <a:pt x="164" y="208"/>
                    <a:pt x="158" y="210"/>
                    <a:pt x="152" y="207"/>
                  </a:cubicBezTo>
                  <a:cubicBezTo>
                    <a:pt x="119" y="188"/>
                    <a:pt x="119" y="188"/>
                    <a:pt x="119" y="188"/>
                  </a:cubicBezTo>
                  <a:cubicBezTo>
                    <a:pt x="108" y="182"/>
                    <a:pt x="102" y="170"/>
                    <a:pt x="104" y="157"/>
                  </a:cubicBezTo>
                  <a:cubicBezTo>
                    <a:pt x="112" y="105"/>
                    <a:pt x="112" y="105"/>
                    <a:pt x="112" y="105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3" y="71"/>
                    <a:pt x="117" y="60"/>
                    <a:pt x="107" y="56"/>
                  </a:cubicBezTo>
                  <a:cubicBezTo>
                    <a:pt x="107" y="56"/>
                    <a:pt x="107" y="56"/>
                    <a:pt x="107" y="56"/>
                  </a:cubicBezTo>
                  <a:cubicBezTo>
                    <a:pt x="100" y="54"/>
                    <a:pt x="92" y="57"/>
                    <a:pt x="88" y="63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46" y="184"/>
                    <a:pt x="46" y="184"/>
                    <a:pt x="46" y="184"/>
                  </a:cubicBezTo>
                  <a:cubicBezTo>
                    <a:pt x="31" y="211"/>
                    <a:pt x="31" y="211"/>
                    <a:pt x="31" y="211"/>
                  </a:cubicBezTo>
                  <a:cubicBezTo>
                    <a:pt x="9" y="250"/>
                    <a:pt x="0" y="295"/>
                    <a:pt x="6" y="339"/>
                  </a:cubicBezTo>
                  <a:cubicBezTo>
                    <a:pt x="13" y="388"/>
                    <a:pt x="13" y="388"/>
                    <a:pt x="13" y="388"/>
                  </a:cubicBezTo>
                  <a:cubicBezTo>
                    <a:pt x="105" y="465"/>
                    <a:pt x="105" y="465"/>
                    <a:pt x="105" y="465"/>
                  </a:cubicBezTo>
                  <a:cubicBezTo>
                    <a:pt x="124" y="388"/>
                    <a:pt x="124" y="388"/>
                    <a:pt x="124" y="388"/>
                  </a:cubicBezTo>
                  <a:cubicBezTo>
                    <a:pt x="165" y="313"/>
                    <a:pt x="165" y="313"/>
                    <a:pt x="165" y="313"/>
                  </a:cubicBezTo>
                  <a:cubicBezTo>
                    <a:pt x="170" y="304"/>
                    <a:pt x="175" y="295"/>
                    <a:pt x="182" y="287"/>
                  </a:cubicBezTo>
                  <a:cubicBezTo>
                    <a:pt x="201" y="262"/>
                    <a:pt x="239" y="214"/>
                    <a:pt x="252" y="198"/>
                  </a:cubicBezTo>
                  <a:cubicBezTo>
                    <a:pt x="255" y="194"/>
                    <a:pt x="265" y="187"/>
                    <a:pt x="265" y="183"/>
                  </a:cubicBezTo>
                  <a:lnTo>
                    <a:pt x="279" y="104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3">
              <a:extLst>
                <a:ext uri="{FF2B5EF4-FFF2-40B4-BE49-F238E27FC236}">
                  <a16:creationId xmlns:a16="http://schemas.microsoft.com/office/drawing/2014/main" id="{AE707247-4CE9-4EB3-9A4F-B4F407353B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40" y="3201"/>
              <a:ext cx="96" cy="49"/>
            </a:xfrm>
            <a:custGeom>
              <a:avLst/>
              <a:gdLst>
                <a:gd name="T0" fmla="*/ 1 w 39"/>
                <a:gd name="T1" fmla="*/ 0 h 20"/>
                <a:gd name="T2" fmla="*/ 1 w 39"/>
                <a:gd name="T3" fmla="*/ 0 h 20"/>
                <a:gd name="T4" fmla="*/ 9 w 39"/>
                <a:gd name="T5" fmla="*/ 15 h 20"/>
                <a:gd name="T6" fmla="*/ 39 w 39"/>
                <a:gd name="T7" fmla="*/ 15 h 20"/>
                <a:gd name="T8" fmla="*/ 1 w 39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0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6"/>
                    <a:pt x="4" y="12"/>
                    <a:pt x="9" y="15"/>
                  </a:cubicBezTo>
                  <a:cubicBezTo>
                    <a:pt x="17" y="18"/>
                    <a:pt x="28" y="20"/>
                    <a:pt x="39" y="15"/>
                  </a:cubicBezTo>
                  <a:cubicBezTo>
                    <a:pt x="24" y="9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4">
              <a:extLst>
                <a:ext uri="{FF2B5EF4-FFF2-40B4-BE49-F238E27FC236}">
                  <a16:creationId xmlns:a16="http://schemas.microsoft.com/office/drawing/2014/main" id="{72A4FE20-E9B6-49CC-9458-8AE2F06D1E7A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0" y="3120"/>
              <a:ext cx="80" cy="64"/>
            </a:xfrm>
            <a:custGeom>
              <a:avLst/>
              <a:gdLst>
                <a:gd name="T0" fmla="*/ 3 w 33"/>
                <a:gd name="T1" fmla="*/ 0 h 26"/>
                <a:gd name="T2" fmla="*/ 1 w 33"/>
                <a:gd name="T3" fmla="*/ 5 h 26"/>
                <a:gd name="T4" fmla="*/ 3 w 33"/>
                <a:gd name="T5" fmla="*/ 14 h 26"/>
                <a:gd name="T6" fmla="*/ 33 w 33"/>
                <a:gd name="T7" fmla="*/ 22 h 26"/>
                <a:gd name="T8" fmla="*/ 3 w 33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6">
                  <a:moveTo>
                    <a:pt x="3" y="0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8"/>
                    <a:pt x="1" y="11"/>
                    <a:pt x="3" y="14"/>
                  </a:cubicBezTo>
                  <a:cubicBezTo>
                    <a:pt x="9" y="19"/>
                    <a:pt x="19" y="26"/>
                    <a:pt x="33" y="22"/>
                  </a:cubicBezTo>
                  <a:cubicBezTo>
                    <a:pt x="20" y="13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Oval 55">
              <a:extLst>
                <a:ext uri="{FF2B5EF4-FFF2-40B4-BE49-F238E27FC236}">
                  <a16:creationId xmlns:a16="http://schemas.microsoft.com/office/drawing/2014/main" id="{C54B601A-E4CC-4BB0-90BC-C33B7BF45D4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8" y="3001"/>
              <a:ext cx="47" cy="46"/>
            </a:xfrm>
            <a:prstGeom prst="ellipse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Oval 56">
              <a:extLst>
                <a:ext uri="{FF2B5EF4-FFF2-40B4-BE49-F238E27FC236}">
                  <a16:creationId xmlns:a16="http://schemas.microsoft.com/office/drawing/2014/main" id="{21744D95-F0C9-4956-ACE2-8B9CD438B48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8" y="3066"/>
              <a:ext cx="47" cy="47"/>
            </a:xfrm>
            <a:prstGeom prst="ellipse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Oval 57">
              <a:extLst>
                <a:ext uri="{FF2B5EF4-FFF2-40B4-BE49-F238E27FC236}">
                  <a16:creationId xmlns:a16="http://schemas.microsoft.com/office/drawing/2014/main" id="{665BCE99-9D20-4CEE-A53A-90B7FD7C4D9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8" y="3132"/>
              <a:ext cx="47" cy="47"/>
            </a:xfrm>
            <a:prstGeom prst="ellipse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Oval 58">
              <a:extLst>
                <a:ext uri="{FF2B5EF4-FFF2-40B4-BE49-F238E27FC236}">
                  <a16:creationId xmlns:a16="http://schemas.microsoft.com/office/drawing/2014/main" id="{06DC504A-D010-4FA5-AA8A-43EF651DEBF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8" y="3196"/>
              <a:ext cx="47" cy="46"/>
            </a:xfrm>
            <a:prstGeom prst="ellipse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9">
              <a:extLst>
                <a:ext uri="{FF2B5EF4-FFF2-40B4-BE49-F238E27FC236}">
                  <a16:creationId xmlns:a16="http://schemas.microsoft.com/office/drawing/2014/main" id="{CA955800-5C34-4B26-83D6-D1A09F6ECBF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1" y="3328"/>
              <a:ext cx="44" cy="46"/>
            </a:xfrm>
            <a:custGeom>
              <a:avLst/>
              <a:gdLst>
                <a:gd name="T0" fmla="*/ 9 w 18"/>
                <a:gd name="T1" fmla="*/ 0 h 19"/>
                <a:gd name="T2" fmla="*/ 4 w 18"/>
                <a:gd name="T3" fmla="*/ 1 h 19"/>
                <a:gd name="T4" fmla="*/ 0 w 18"/>
                <a:gd name="T5" fmla="*/ 14 h 19"/>
                <a:gd name="T6" fmla="*/ 9 w 18"/>
                <a:gd name="T7" fmla="*/ 19 h 19"/>
                <a:gd name="T8" fmla="*/ 18 w 18"/>
                <a:gd name="T9" fmla="*/ 10 h 19"/>
                <a:gd name="T10" fmla="*/ 9 w 18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9">
                  <a:moveTo>
                    <a:pt x="9" y="0"/>
                  </a:moveTo>
                  <a:cubicBezTo>
                    <a:pt x="7" y="0"/>
                    <a:pt x="6" y="0"/>
                    <a:pt x="4" y="1"/>
                  </a:cubicBezTo>
                  <a:cubicBezTo>
                    <a:pt x="3" y="5"/>
                    <a:pt x="2" y="10"/>
                    <a:pt x="0" y="14"/>
                  </a:cubicBezTo>
                  <a:cubicBezTo>
                    <a:pt x="2" y="17"/>
                    <a:pt x="5" y="19"/>
                    <a:pt x="9" y="19"/>
                  </a:cubicBezTo>
                  <a:cubicBezTo>
                    <a:pt x="14" y="19"/>
                    <a:pt x="18" y="15"/>
                    <a:pt x="18" y="10"/>
                  </a:cubicBezTo>
                  <a:cubicBezTo>
                    <a:pt x="18" y="4"/>
                    <a:pt x="14" y="0"/>
                    <a:pt x="9" y="0"/>
                  </a:cubicBez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0">
              <a:extLst>
                <a:ext uri="{FF2B5EF4-FFF2-40B4-BE49-F238E27FC236}">
                  <a16:creationId xmlns:a16="http://schemas.microsoft.com/office/drawing/2014/main" id="{3CCC19F8-FF9C-41C8-B118-CE32BEF2BA1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1" y="3262"/>
              <a:ext cx="44" cy="46"/>
            </a:xfrm>
            <a:custGeom>
              <a:avLst/>
              <a:gdLst>
                <a:gd name="T0" fmla="*/ 9 w 18"/>
                <a:gd name="T1" fmla="*/ 0 h 19"/>
                <a:gd name="T2" fmla="*/ 0 w 18"/>
                <a:gd name="T3" fmla="*/ 7 h 19"/>
                <a:gd name="T4" fmla="*/ 6 w 18"/>
                <a:gd name="T5" fmla="*/ 19 h 19"/>
                <a:gd name="T6" fmla="*/ 9 w 18"/>
                <a:gd name="T7" fmla="*/ 19 h 19"/>
                <a:gd name="T8" fmla="*/ 18 w 18"/>
                <a:gd name="T9" fmla="*/ 10 h 19"/>
                <a:gd name="T10" fmla="*/ 9 w 18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9">
                  <a:moveTo>
                    <a:pt x="9" y="0"/>
                  </a:moveTo>
                  <a:cubicBezTo>
                    <a:pt x="4" y="0"/>
                    <a:pt x="1" y="3"/>
                    <a:pt x="0" y="7"/>
                  </a:cubicBezTo>
                  <a:cubicBezTo>
                    <a:pt x="3" y="10"/>
                    <a:pt x="5" y="14"/>
                    <a:pt x="6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14" y="19"/>
                    <a:pt x="18" y="15"/>
                    <a:pt x="18" y="10"/>
                  </a:cubicBezTo>
                  <a:cubicBezTo>
                    <a:pt x="18" y="4"/>
                    <a:pt x="14" y="0"/>
                    <a:pt x="9" y="0"/>
                  </a:cubicBez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1">
              <a:extLst>
                <a:ext uri="{FF2B5EF4-FFF2-40B4-BE49-F238E27FC236}">
                  <a16:creationId xmlns:a16="http://schemas.microsoft.com/office/drawing/2014/main" id="{75C5DD16-B460-4C27-8004-B29D0B304E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2" y="3255"/>
              <a:ext cx="79" cy="95"/>
            </a:xfrm>
            <a:custGeom>
              <a:avLst/>
              <a:gdLst>
                <a:gd name="T0" fmla="*/ 14 w 32"/>
                <a:gd name="T1" fmla="*/ 1 h 39"/>
                <a:gd name="T2" fmla="*/ 32 w 32"/>
                <a:gd name="T3" fmla="*/ 8 h 39"/>
                <a:gd name="T4" fmla="*/ 25 w 32"/>
                <a:gd name="T5" fmla="*/ 29 h 39"/>
                <a:gd name="T6" fmla="*/ 10 w 32"/>
                <a:gd name="T7" fmla="*/ 36 h 39"/>
                <a:gd name="T8" fmla="*/ 10 w 32"/>
                <a:gd name="T9" fmla="*/ 36 h 39"/>
                <a:gd name="T10" fmla="*/ 3 w 32"/>
                <a:gd name="T11" fmla="*/ 21 h 39"/>
                <a:gd name="T12" fmla="*/ 14 w 32"/>
                <a:gd name="T13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9">
                  <a:moveTo>
                    <a:pt x="14" y="1"/>
                  </a:moveTo>
                  <a:cubicBezTo>
                    <a:pt x="14" y="1"/>
                    <a:pt x="24" y="0"/>
                    <a:pt x="32" y="8"/>
                  </a:cubicBezTo>
                  <a:cubicBezTo>
                    <a:pt x="31" y="9"/>
                    <a:pt x="26" y="28"/>
                    <a:pt x="25" y="29"/>
                  </a:cubicBezTo>
                  <a:cubicBezTo>
                    <a:pt x="23" y="35"/>
                    <a:pt x="16" y="39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4" y="34"/>
                    <a:pt x="0" y="27"/>
                    <a:pt x="3" y="21"/>
                  </a:cubicBezTo>
                  <a:lnTo>
                    <a:pt x="1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2">
              <a:extLst>
                <a:ext uri="{FF2B5EF4-FFF2-40B4-BE49-F238E27FC236}">
                  <a16:creationId xmlns:a16="http://schemas.microsoft.com/office/drawing/2014/main" id="{C15D2A3F-CA19-47FD-BF6E-1D03E0A94C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2" y="3196"/>
              <a:ext cx="103" cy="125"/>
            </a:xfrm>
            <a:custGeom>
              <a:avLst/>
              <a:gdLst>
                <a:gd name="T0" fmla="*/ 0 w 42"/>
                <a:gd name="T1" fmla="*/ 0 h 51"/>
                <a:gd name="T2" fmla="*/ 9 w 42"/>
                <a:gd name="T3" fmla="*/ 13 h 51"/>
                <a:gd name="T4" fmla="*/ 29 w 42"/>
                <a:gd name="T5" fmla="*/ 30 h 51"/>
                <a:gd name="T6" fmla="*/ 32 w 42"/>
                <a:gd name="T7" fmla="*/ 46 h 51"/>
                <a:gd name="T8" fmla="*/ 42 w 42"/>
                <a:gd name="T9" fmla="*/ 51 h 51"/>
                <a:gd name="T10" fmla="*/ 42 w 42"/>
                <a:gd name="T11" fmla="*/ 11 h 51"/>
                <a:gd name="T12" fmla="*/ 0 w 42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51">
                  <a:moveTo>
                    <a:pt x="0" y="0"/>
                  </a:moveTo>
                  <a:cubicBezTo>
                    <a:pt x="1" y="5"/>
                    <a:pt x="4" y="9"/>
                    <a:pt x="9" y="13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39" y="41"/>
                    <a:pt x="40" y="22"/>
                    <a:pt x="42" y="11"/>
                  </a:cubicBezTo>
                  <a:cubicBezTo>
                    <a:pt x="30" y="11"/>
                    <a:pt x="8" y="5"/>
                    <a:pt x="0" y="0"/>
                  </a:cubicBezTo>
                  <a:close/>
                </a:path>
              </a:pathLst>
            </a:custGeom>
            <a:solidFill>
              <a:srgbClr val="DEB6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3">
              <a:extLst>
                <a:ext uri="{FF2B5EF4-FFF2-40B4-BE49-F238E27FC236}">
                  <a16:creationId xmlns:a16="http://schemas.microsoft.com/office/drawing/2014/main" id="{1DF7263D-D278-4675-9787-C6AE8841E7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" y="3135"/>
              <a:ext cx="549" cy="1029"/>
            </a:xfrm>
            <a:custGeom>
              <a:avLst/>
              <a:gdLst>
                <a:gd name="T0" fmla="*/ 224 w 224"/>
                <a:gd name="T1" fmla="*/ 108 h 421"/>
                <a:gd name="T2" fmla="*/ 218 w 224"/>
                <a:gd name="T3" fmla="*/ 54 h 421"/>
                <a:gd name="T4" fmla="*/ 176 w 224"/>
                <a:gd name="T5" fmla="*/ 7 h 421"/>
                <a:gd name="T6" fmla="*/ 173 w 224"/>
                <a:gd name="T7" fmla="*/ 11 h 421"/>
                <a:gd name="T8" fmla="*/ 168 w 224"/>
                <a:gd name="T9" fmla="*/ 21 h 421"/>
                <a:gd name="T10" fmla="*/ 138 w 224"/>
                <a:gd name="T11" fmla="*/ 0 h 421"/>
                <a:gd name="T12" fmla="*/ 193 w 224"/>
                <a:gd name="T13" fmla="*/ 39 h 421"/>
                <a:gd name="T14" fmla="*/ 214 w 224"/>
                <a:gd name="T15" fmla="*/ 100 h 421"/>
                <a:gd name="T16" fmla="*/ 214 w 224"/>
                <a:gd name="T17" fmla="*/ 106 h 421"/>
                <a:gd name="T18" fmla="*/ 191 w 224"/>
                <a:gd name="T19" fmla="*/ 105 h 421"/>
                <a:gd name="T20" fmla="*/ 197 w 224"/>
                <a:gd name="T21" fmla="*/ 183 h 421"/>
                <a:gd name="T22" fmla="*/ 197 w 224"/>
                <a:gd name="T23" fmla="*/ 183 h 421"/>
                <a:gd name="T24" fmla="*/ 192 w 224"/>
                <a:gd name="T25" fmla="*/ 191 h 421"/>
                <a:gd name="T26" fmla="*/ 146 w 224"/>
                <a:gd name="T27" fmla="*/ 216 h 421"/>
                <a:gd name="T28" fmla="*/ 10 w 224"/>
                <a:gd name="T29" fmla="*/ 377 h 421"/>
                <a:gd name="T30" fmla="*/ 7 w 224"/>
                <a:gd name="T31" fmla="*/ 387 h 421"/>
                <a:gd name="T32" fmla="*/ 0 w 224"/>
                <a:gd name="T33" fmla="*/ 414 h 421"/>
                <a:gd name="T34" fmla="*/ 56 w 224"/>
                <a:gd name="T35" fmla="*/ 421 h 421"/>
                <a:gd name="T36" fmla="*/ 65 w 224"/>
                <a:gd name="T37" fmla="*/ 386 h 421"/>
                <a:gd name="T38" fmla="*/ 105 w 224"/>
                <a:gd name="T39" fmla="*/ 311 h 421"/>
                <a:gd name="T40" fmla="*/ 122 w 224"/>
                <a:gd name="T41" fmla="*/ 285 h 421"/>
                <a:gd name="T42" fmla="*/ 179 w 224"/>
                <a:gd name="T43" fmla="*/ 212 h 421"/>
                <a:gd name="T44" fmla="*/ 204 w 224"/>
                <a:gd name="T45" fmla="*/ 193 h 421"/>
                <a:gd name="T46" fmla="*/ 215 w 224"/>
                <a:gd name="T47" fmla="*/ 173 h 421"/>
                <a:gd name="T48" fmla="*/ 214 w 224"/>
                <a:gd name="T49" fmla="*/ 150 h 421"/>
                <a:gd name="T50" fmla="*/ 224 w 224"/>
                <a:gd name="T51" fmla="*/ 108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4" h="421">
                  <a:moveTo>
                    <a:pt x="224" y="108"/>
                  </a:moveTo>
                  <a:cubicBezTo>
                    <a:pt x="218" y="54"/>
                    <a:pt x="218" y="54"/>
                    <a:pt x="218" y="54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0" y="14"/>
                    <a:pt x="169" y="18"/>
                    <a:pt x="168" y="21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93" y="39"/>
                    <a:pt x="193" y="39"/>
                    <a:pt x="193" y="39"/>
                  </a:cubicBezTo>
                  <a:cubicBezTo>
                    <a:pt x="214" y="100"/>
                    <a:pt x="214" y="100"/>
                    <a:pt x="214" y="100"/>
                  </a:cubicBezTo>
                  <a:cubicBezTo>
                    <a:pt x="214" y="106"/>
                    <a:pt x="214" y="106"/>
                    <a:pt x="214" y="106"/>
                  </a:cubicBezTo>
                  <a:cubicBezTo>
                    <a:pt x="207" y="109"/>
                    <a:pt x="198" y="109"/>
                    <a:pt x="191" y="105"/>
                  </a:cubicBezTo>
                  <a:cubicBezTo>
                    <a:pt x="197" y="183"/>
                    <a:pt x="197" y="183"/>
                    <a:pt x="197" y="183"/>
                  </a:cubicBezTo>
                  <a:cubicBezTo>
                    <a:pt x="197" y="183"/>
                    <a:pt x="197" y="183"/>
                    <a:pt x="197" y="183"/>
                  </a:cubicBezTo>
                  <a:cubicBezTo>
                    <a:pt x="197" y="187"/>
                    <a:pt x="195" y="189"/>
                    <a:pt x="192" y="191"/>
                  </a:cubicBezTo>
                  <a:cubicBezTo>
                    <a:pt x="146" y="216"/>
                    <a:pt x="146" y="216"/>
                    <a:pt x="146" y="216"/>
                  </a:cubicBezTo>
                  <a:cubicBezTo>
                    <a:pt x="82" y="251"/>
                    <a:pt x="34" y="308"/>
                    <a:pt x="10" y="377"/>
                  </a:cubicBezTo>
                  <a:cubicBezTo>
                    <a:pt x="7" y="387"/>
                    <a:pt x="7" y="387"/>
                    <a:pt x="7" y="387"/>
                  </a:cubicBezTo>
                  <a:cubicBezTo>
                    <a:pt x="0" y="414"/>
                    <a:pt x="0" y="414"/>
                    <a:pt x="0" y="414"/>
                  </a:cubicBezTo>
                  <a:cubicBezTo>
                    <a:pt x="56" y="421"/>
                    <a:pt x="56" y="421"/>
                    <a:pt x="56" y="421"/>
                  </a:cubicBezTo>
                  <a:cubicBezTo>
                    <a:pt x="65" y="386"/>
                    <a:pt x="65" y="386"/>
                    <a:pt x="65" y="386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10" y="302"/>
                    <a:pt x="115" y="293"/>
                    <a:pt x="122" y="285"/>
                  </a:cubicBezTo>
                  <a:cubicBezTo>
                    <a:pt x="136" y="266"/>
                    <a:pt x="162" y="234"/>
                    <a:pt x="179" y="212"/>
                  </a:cubicBezTo>
                  <a:cubicBezTo>
                    <a:pt x="204" y="193"/>
                    <a:pt x="204" y="193"/>
                    <a:pt x="204" y="193"/>
                  </a:cubicBezTo>
                  <a:cubicBezTo>
                    <a:pt x="211" y="188"/>
                    <a:pt x="215" y="181"/>
                    <a:pt x="215" y="173"/>
                  </a:cubicBezTo>
                  <a:cubicBezTo>
                    <a:pt x="214" y="150"/>
                    <a:pt x="214" y="150"/>
                    <a:pt x="214" y="150"/>
                  </a:cubicBezTo>
                  <a:lnTo>
                    <a:pt x="224" y="108"/>
                  </a:lnTo>
                  <a:close/>
                </a:path>
              </a:pathLst>
            </a:custGeom>
            <a:solidFill>
              <a:srgbClr val="DEB6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4">
              <a:extLst>
                <a:ext uri="{FF2B5EF4-FFF2-40B4-BE49-F238E27FC236}">
                  <a16:creationId xmlns:a16="http://schemas.microsoft.com/office/drawing/2014/main" id="{E28CAF57-77D9-4894-84C8-EA60571C8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2" y="3145"/>
              <a:ext cx="49" cy="49"/>
            </a:xfrm>
            <a:custGeom>
              <a:avLst/>
              <a:gdLst>
                <a:gd name="T0" fmla="*/ 20 w 20"/>
                <a:gd name="T1" fmla="*/ 19 h 20"/>
                <a:gd name="T2" fmla="*/ 4 w 20"/>
                <a:gd name="T3" fmla="*/ 0 h 20"/>
                <a:gd name="T4" fmla="*/ 3 w 20"/>
                <a:gd name="T5" fmla="*/ 3 h 20"/>
                <a:gd name="T6" fmla="*/ 4 w 20"/>
                <a:gd name="T7" fmla="*/ 13 h 20"/>
                <a:gd name="T8" fmla="*/ 20 w 20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0" y="19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0" y="6"/>
                    <a:pt x="1" y="11"/>
                    <a:pt x="4" y="13"/>
                  </a:cubicBezTo>
                  <a:cubicBezTo>
                    <a:pt x="8" y="17"/>
                    <a:pt x="13" y="20"/>
                    <a:pt x="20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5">
              <a:extLst>
                <a:ext uri="{FF2B5EF4-FFF2-40B4-BE49-F238E27FC236}">
                  <a16:creationId xmlns:a16="http://schemas.microsoft.com/office/drawing/2014/main" id="{D55C325C-21E2-4D55-873F-3DC9602A92B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2" y="4024"/>
              <a:ext cx="510" cy="296"/>
            </a:xfrm>
            <a:custGeom>
              <a:avLst/>
              <a:gdLst>
                <a:gd name="T0" fmla="*/ 5 w 208"/>
                <a:gd name="T1" fmla="*/ 26 h 121"/>
                <a:gd name="T2" fmla="*/ 89 w 208"/>
                <a:gd name="T3" fmla="*/ 11 h 121"/>
                <a:gd name="T4" fmla="*/ 208 w 208"/>
                <a:gd name="T5" fmla="*/ 20 h 121"/>
                <a:gd name="T6" fmla="*/ 179 w 208"/>
                <a:gd name="T7" fmla="*/ 121 h 121"/>
                <a:gd name="T8" fmla="*/ 0 w 208"/>
                <a:gd name="T9" fmla="*/ 121 h 121"/>
                <a:gd name="T10" fmla="*/ 5 w 208"/>
                <a:gd name="T11" fmla="*/ 2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8" h="121">
                  <a:moveTo>
                    <a:pt x="5" y="26"/>
                  </a:moveTo>
                  <a:cubicBezTo>
                    <a:pt x="5" y="26"/>
                    <a:pt x="53" y="0"/>
                    <a:pt x="89" y="11"/>
                  </a:cubicBezTo>
                  <a:cubicBezTo>
                    <a:pt x="125" y="21"/>
                    <a:pt x="182" y="35"/>
                    <a:pt x="208" y="20"/>
                  </a:cubicBezTo>
                  <a:cubicBezTo>
                    <a:pt x="195" y="65"/>
                    <a:pt x="179" y="121"/>
                    <a:pt x="179" y="121"/>
                  </a:cubicBezTo>
                  <a:cubicBezTo>
                    <a:pt x="0" y="121"/>
                    <a:pt x="0" y="121"/>
                    <a:pt x="0" y="121"/>
                  </a:cubicBezTo>
                  <a:lnTo>
                    <a:pt x="5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6">
              <a:extLst>
                <a:ext uri="{FF2B5EF4-FFF2-40B4-BE49-F238E27FC236}">
                  <a16:creationId xmlns:a16="http://schemas.microsoft.com/office/drawing/2014/main" id="{CFBEF4CF-383F-4B23-8F8A-1EDC8D2A97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3" y="4088"/>
              <a:ext cx="68" cy="93"/>
            </a:xfrm>
            <a:custGeom>
              <a:avLst/>
              <a:gdLst>
                <a:gd name="T0" fmla="*/ 31 w 68"/>
                <a:gd name="T1" fmla="*/ 93 h 93"/>
                <a:gd name="T2" fmla="*/ 0 w 68"/>
                <a:gd name="T3" fmla="*/ 81 h 93"/>
                <a:gd name="T4" fmla="*/ 34 w 68"/>
                <a:gd name="T5" fmla="*/ 0 h 93"/>
                <a:gd name="T6" fmla="*/ 68 w 68"/>
                <a:gd name="T7" fmla="*/ 15 h 93"/>
                <a:gd name="T8" fmla="*/ 31 w 68"/>
                <a:gd name="T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93">
                  <a:moveTo>
                    <a:pt x="31" y="93"/>
                  </a:moveTo>
                  <a:lnTo>
                    <a:pt x="0" y="81"/>
                  </a:lnTo>
                  <a:lnTo>
                    <a:pt x="34" y="0"/>
                  </a:lnTo>
                  <a:lnTo>
                    <a:pt x="68" y="15"/>
                  </a:lnTo>
                  <a:lnTo>
                    <a:pt x="31" y="93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4" name="TextBox 203">
            <a:extLst>
              <a:ext uri="{FF2B5EF4-FFF2-40B4-BE49-F238E27FC236}">
                <a16:creationId xmlns:a16="http://schemas.microsoft.com/office/drawing/2014/main" id="{76125DF7-43E1-4DB2-AB94-52E5B7FD9962}"/>
              </a:ext>
            </a:extLst>
          </p:cNvPr>
          <p:cNvSpPr txBox="1"/>
          <p:nvPr userDrawn="1"/>
        </p:nvSpPr>
        <p:spPr>
          <a:xfrm>
            <a:off x="585215" y="2972233"/>
            <a:ext cx="718074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defTabSz="932742">
              <a:lnSpc>
                <a:spcPct val="100000"/>
              </a:lnSpc>
              <a:spcBef>
                <a:spcPct val="0"/>
              </a:spcBef>
              <a:buNone/>
              <a:defRPr lang="en-US" sz="3600" b="1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Value proposition statement</a:t>
            </a:r>
          </a:p>
        </p:txBody>
      </p:sp>
    </p:spTree>
    <p:extLst>
      <p:ext uri="{BB962C8B-B14F-4D97-AF65-F5344CB8AC3E}">
        <p14:creationId xmlns:p14="http://schemas.microsoft.com/office/powerpoint/2010/main" val="2732745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_Roadmap_Title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TextBox 250">
            <a:extLst>
              <a:ext uri="{FF2B5EF4-FFF2-40B4-BE49-F238E27FC236}">
                <a16:creationId xmlns:a16="http://schemas.microsoft.com/office/drawing/2014/main" id="{34464774-21DF-4F2D-B64C-D748B6754175}"/>
              </a:ext>
            </a:extLst>
          </p:cNvPr>
          <p:cNvSpPr txBox="1"/>
          <p:nvPr userDrawn="1"/>
        </p:nvSpPr>
        <p:spPr>
          <a:xfrm>
            <a:off x="585215" y="2972233"/>
            <a:ext cx="718074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defTabSz="932742">
              <a:lnSpc>
                <a:spcPct val="100000"/>
              </a:lnSpc>
              <a:spcBef>
                <a:spcPct val="0"/>
              </a:spcBef>
              <a:buNone/>
              <a:defRPr lang="en-US" sz="3600" b="1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Product roadmap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D680E4B-7CE2-4368-90B8-7D933CE98716}"/>
              </a:ext>
            </a:extLst>
          </p:cNvPr>
          <p:cNvGrpSpPr/>
          <p:nvPr userDrawn="1"/>
        </p:nvGrpSpPr>
        <p:grpSpPr bwMode="gray">
          <a:xfrm>
            <a:off x="6761163" y="0"/>
            <a:ext cx="4859337" cy="5585619"/>
            <a:chOff x="6761163" y="-178593"/>
            <a:chExt cx="4859337" cy="5585619"/>
          </a:xfrm>
        </p:grpSpPr>
        <p:sp>
          <p:nvSpPr>
            <p:cNvPr id="69" name="Freeform 5">
              <a:extLst>
                <a:ext uri="{FF2B5EF4-FFF2-40B4-BE49-F238E27FC236}">
                  <a16:creationId xmlns:a16="http://schemas.microsoft.com/office/drawing/2014/main" id="{E51F7AE2-6988-435A-8659-9DCA4C8316A1}"/>
                </a:ext>
              </a:extLst>
            </p:cNvPr>
            <p:cNvSpPr>
              <a:spLocks/>
            </p:cNvSpPr>
            <p:nvPr/>
          </p:nvSpPr>
          <p:spPr bwMode="gray">
            <a:xfrm>
              <a:off x="9332913" y="2112963"/>
              <a:ext cx="550862" cy="414338"/>
            </a:xfrm>
            <a:custGeom>
              <a:avLst/>
              <a:gdLst>
                <a:gd name="T0" fmla="*/ 186 w 186"/>
                <a:gd name="T1" fmla="*/ 46 h 140"/>
                <a:gd name="T2" fmla="*/ 186 w 186"/>
                <a:gd name="T3" fmla="*/ 36 h 140"/>
                <a:gd name="T4" fmla="*/ 159 w 186"/>
                <a:gd name="T5" fmla="*/ 36 h 140"/>
                <a:gd name="T6" fmla="*/ 159 w 186"/>
                <a:gd name="T7" fmla="*/ 24 h 140"/>
                <a:gd name="T8" fmla="*/ 147 w 186"/>
                <a:gd name="T9" fmla="*/ 12 h 140"/>
                <a:gd name="T10" fmla="*/ 113 w 186"/>
                <a:gd name="T11" fmla="*/ 12 h 140"/>
                <a:gd name="T12" fmla="*/ 97 w 186"/>
                <a:gd name="T13" fmla="*/ 0 h 140"/>
                <a:gd name="T14" fmla="*/ 82 w 186"/>
                <a:gd name="T15" fmla="*/ 12 h 140"/>
                <a:gd name="T16" fmla="*/ 77 w 186"/>
                <a:gd name="T17" fmla="*/ 12 h 140"/>
                <a:gd name="T18" fmla="*/ 61 w 186"/>
                <a:gd name="T19" fmla="*/ 0 h 140"/>
                <a:gd name="T20" fmla="*/ 46 w 186"/>
                <a:gd name="T21" fmla="*/ 12 h 140"/>
                <a:gd name="T22" fmla="*/ 12 w 186"/>
                <a:gd name="T23" fmla="*/ 12 h 140"/>
                <a:gd name="T24" fmla="*/ 0 w 186"/>
                <a:gd name="T25" fmla="*/ 24 h 140"/>
                <a:gd name="T26" fmla="*/ 0 w 186"/>
                <a:gd name="T27" fmla="*/ 140 h 140"/>
                <a:gd name="T28" fmla="*/ 159 w 186"/>
                <a:gd name="T29" fmla="*/ 140 h 140"/>
                <a:gd name="T30" fmla="*/ 159 w 186"/>
                <a:gd name="T31" fmla="*/ 126 h 140"/>
                <a:gd name="T32" fmla="*/ 186 w 186"/>
                <a:gd name="T33" fmla="*/ 126 h 140"/>
                <a:gd name="T34" fmla="*/ 186 w 186"/>
                <a:gd name="T35" fmla="*/ 116 h 140"/>
                <a:gd name="T36" fmla="*/ 159 w 186"/>
                <a:gd name="T37" fmla="*/ 116 h 140"/>
                <a:gd name="T38" fmla="*/ 159 w 186"/>
                <a:gd name="T39" fmla="*/ 86 h 140"/>
                <a:gd name="T40" fmla="*/ 186 w 186"/>
                <a:gd name="T41" fmla="*/ 86 h 140"/>
                <a:gd name="T42" fmla="*/ 186 w 186"/>
                <a:gd name="T43" fmla="*/ 76 h 140"/>
                <a:gd name="T44" fmla="*/ 159 w 186"/>
                <a:gd name="T45" fmla="*/ 76 h 140"/>
                <a:gd name="T46" fmla="*/ 159 w 186"/>
                <a:gd name="T47" fmla="*/ 46 h 140"/>
                <a:gd name="T48" fmla="*/ 186 w 186"/>
                <a:gd name="T49" fmla="*/ 4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6" h="140">
                  <a:moveTo>
                    <a:pt x="186" y="46"/>
                  </a:moveTo>
                  <a:cubicBezTo>
                    <a:pt x="186" y="36"/>
                    <a:pt x="186" y="36"/>
                    <a:pt x="186" y="36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59" y="18"/>
                    <a:pt x="154" y="12"/>
                    <a:pt x="147" y="12"/>
                  </a:cubicBezTo>
                  <a:cubicBezTo>
                    <a:pt x="113" y="12"/>
                    <a:pt x="113" y="12"/>
                    <a:pt x="113" y="12"/>
                  </a:cubicBezTo>
                  <a:cubicBezTo>
                    <a:pt x="111" y="5"/>
                    <a:pt x="105" y="0"/>
                    <a:pt x="97" y="0"/>
                  </a:cubicBezTo>
                  <a:cubicBezTo>
                    <a:pt x="90" y="0"/>
                    <a:pt x="84" y="5"/>
                    <a:pt x="82" y="12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5" y="5"/>
                    <a:pt x="69" y="0"/>
                    <a:pt x="61" y="0"/>
                  </a:cubicBezTo>
                  <a:cubicBezTo>
                    <a:pt x="54" y="0"/>
                    <a:pt x="48" y="5"/>
                    <a:pt x="46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5" y="12"/>
                    <a:pt x="0" y="18"/>
                    <a:pt x="0" y="24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59" y="140"/>
                    <a:pt x="159" y="140"/>
                    <a:pt x="159" y="140"/>
                  </a:cubicBezTo>
                  <a:cubicBezTo>
                    <a:pt x="159" y="126"/>
                    <a:pt x="159" y="126"/>
                    <a:pt x="159" y="126"/>
                  </a:cubicBezTo>
                  <a:cubicBezTo>
                    <a:pt x="186" y="126"/>
                    <a:pt x="186" y="126"/>
                    <a:pt x="186" y="126"/>
                  </a:cubicBezTo>
                  <a:cubicBezTo>
                    <a:pt x="186" y="116"/>
                    <a:pt x="186" y="116"/>
                    <a:pt x="186" y="116"/>
                  </a:cubicBezTo>
                  <a:cubicBezTo>
                    <a:pt x="159" y="116"/>
                    <a:pt x="159" y="116"/>
                    <a:pt x="159" y="116"/>
                  </a:cubicBezTo>
                  <a:cubicBezTo>
                    <a:pt x="159" y="86"/>
                    <a:pt x="159" y="86"/>
                    <a:pt x="159" y="86"/>
                  </a:cubicBezTo>
                  <a:cubicBezTo>
                    <a:pt x="186" y="86"/>
                    <a:pt x="186" y="86"/>
                    <a:pt x="186" y="86"/>
                  </a:cubicBezTo>
                  <a:cubicBezTo>
                    <a:pt x="186" y="76"/>
                    <a:pt x="186" y="76"/>
                    <a:pt x="186" y="76"/>
                  </a:cubicBezTo>
                  <a:cubicBezTo>
                    <a:pt x="159" y="76"/>
                    <a:pt x="159" y="76"/>
                    <a:pt x="159" y="76"/>
                  </a:cubicBezTo>
                  <a:cubicBezTo>
                    <a:pt x="159" y="46"/>
                    <a:pt x="159" y="46"/>
                    <a:pt x="159" y="46"/>
                  </a:cubicBezTo>
                  <a:lnTo>
                    <a:pt x="186" y="46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35AC330A-FA59-42AB-8B59-D08770BB6646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87000" y="2295525"/>
              <a:ext cx="427037" cy="344488"/>
            </a:xfrm>
            <a:custGeom>
              <a:avLst/>
              <a:gdLst>
                <a:gd name="T0" fmla="*/ 144 w 144"/>
                <a:gd name="T1" fmla="*/ 15 h 116"/>
                <a:gd name="T2" fmla="*/ 122 w 144"/>
                <a:gd name="T3" fmla="*/ 105 h 116"/>
                <a:gd name="T4" fmla="*/ 109 w 144"/>
                <a:gd name="T5" fmla="*/ 116 h 116"/>
                <a:gd name="T6" fmla="*/ 0 w 144"/>
                <a:gd name="T7" fmla="*/ 116 h 116"/>
                <a:gd name="T8" fmla="*/ 0 w 144"/>
                <a:gd name="T9" fmla="*/ 101 h 116"/>
                <a:gd name="T10" fmla="*/ 91 w 144"/>
                <a:gd name="T11" fmla="*/ 88 h 116"/>
                <a:gd name="T12" fmla="*/ 103 w 144"/>
                <a:gd name="T13" fmla="*/ 0 h 116"/>
                <a:gd name="T14" fmla="*/ 144 w 144"/>
                <a:gd name="T15" fmla="*/ 1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116">
                  <a:moveTo>
                    <a:pt x="144" y="15"/>
                  </a:moveTo>
                  <a:cubicBezTo>
                    <a:pt x="122" y="105"/>
                    <a:pt x="122" y="105"/>
                    <a:pt x="122" y="105"/>
                  </a:cubicBezTo>
                  <a:cubicBezTo>
                    <a:pt x="121" y="111"/>
                    <a:pt x="115" y="116"/>
                    <a:pt x="109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91" y="88"/>
                    <a:pt x="91" y="88"/>
                    <a:pt x="91" y="88"/>
                  </a:cubicBezTo>
                  <a:cubicBezTo>
                    <a:pt x="103" y="0"/>
                    <a:pt x="103" y="0"/>
                    <a:pt x="103" y="0"/>
                  </a:cubicBezTo>
                  <a:lnTo>
                    <a:pt x="144" y="15"/>
                  </a:lnTo>
                  <a:close/>
                </a:path>
              </a:pathLst>
            </a:custGeom>
            <a:solidFill>
              <a:srgbClr val="B48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5193C9A4-8D9E-425C-B14D-D63481F39D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513888" y="1228725"/>
              <a:ext cx="96837" cy="430213"/>
            </a:xfrm>
            <a:custGeom>
              <a:avLst/>
              <a:gdLst>
                <a:gd name="T0" fmla="*/ 33 w 33"/>
                <a:gd name="T1" fmla="*/ 9 h 145"/>
                <a:gd name="T2" fmla="*/ 33 w 33"/>
                <a:gd name="T3" fmla="*/ 0 h 145"/>
                <a:gd name="T4" fmla="*/ 24 w 33"/>
                <a:gd name="T5" fmla="*/ 0 h 145"/>
                <a:gd name="T6" fmla="*/ 24 w 33"/>
                <a:gd name="T7" fmla="*/ 9 h 145"/>
                <a:gd name="T8" fmla="*/ 21 w 33"/>
                <a:gd name="T9" fmla="*/ 14 h 145"/>
                <a:gd name="T10" fmla="*/ 21 w 33"/>
                <a:gd name="T11" fmla="*/ 11 h 145"/>
                <a:gd name="T12" fmla="*/ 17 w 33"/>
                <a:gd name="T13" fmla="*/ 6 h 145"/>
                <a:gd name="T14" fmla="*/ 12 w 33"/>
                <a:gd name="T15" fmla="*/ 11 h 145"/>
                <a:gd name="T16" fmla="*/ 12 w 33"/>
                <a:gd name="T17" fmla="*/ 14 h 145"/>
                <a:gd name="T18" fmla="*/ 9 w 33"/>
                <a:gd name="T19" fmla="*/ 9 h 145"/>
                <a:gd name="T20" fmla="*/ 9 w 33"/>
                <a:gd name="T21" fmla="*/ 0 h 145"/>
                <a:gd name="T22" fmla="*/ 0 w 33"/>
                <a:gd name="T23" fmla="*/ 0 h 145"/>
                <a:gd name="T24" fmla="*/ 0 w 33"/>
                <a:gd name="T25" fmla="*/ 9 h 145"/>
                <a:gd name="T26" fmla="*/ 12 w 33"/>
                <a:gd name="T27" fmla="*/ 24 h 145"/>
                <a:gd name="T28" fmla="*/ 12 w 33"/>
                <a:gd name="T29" fmla="*/ 37 h 145"/>
                <a:gd name="T30" fmla="*/ 0 w 33"/>
                <a:gd name="T31" fmla="*/ 53 h 145"/>
                <a:gd name="T32" fmla="*/ 0 w 33"/>
                <a:gd name="T33" fmla="*/ 68 h 145"/>
                <a:gd name="T34" fmla="*/ 12 w 33"/>
                <a:gd name="T35" fmla="*/ 84 h 145"/>
                <a:gd name="T36" fmla="*/ 12 w 33"/>
                <a:gd name="T37" fmla="*/ 97 h 145"/>
                <a:gd name="T38" fmla="*/ 0 w 33"/>
                <a:gd name="T39" fmla="*/ 113 h 145"/>
                <a:gd name="T40" fmla="*/ 0 w 33"/>
                <a:gd name="T41" fmla="*/ 128 h 145"/>
                <a:gd name="T42" fmla="*/ 17 w 33"/>
                <a:gd name="T43" fmla="*/ 145 h 145"/>
                <a:gd name="T44" fmla="*/ 33 w 33"/>
                <a:gd name="T45" fmla="*/ 128 h 145"/>
                <a:gd name="T46" fmla="*/ 33 w 33"/>
                <a:gd name="T47" fmla="*/ 113 h 145"/>
                <a:gd name="T48" fmla="*/ 21 w 33"/>
                <a:gd name="T49" fmla="*/ 97 h 145"/>
                <a:gd name="T50" fmla="*/ 21 w 33"/>
                <a:gd name="T51" fmla="*/ 84 h 145"/>
                <a:gd name="T52" fmla="*/ 33 w 33"/>
                <a:gd name="T53" fmla="*/ 68 h 145"/>
                <a:gd name="T54" fmla="*/ 33 w 33"/>
                <a:gd name="T55" fmla="*/ 53 h 145"/>
                <a:gd name="T56" fmla="*/ 21 w 33"/>
                <a:gd name="T57" fmla="*/ 37 h 145"/>
                <a:gd name="T58" fmla="*/ 21 w 33"/>
                <a:gd name="T59" fmla="*/ 24 h 145"/>
                <a:gd name="T60" fmla="*/ 33 w 33"/>
                <a:gd name="T61" fmla="*/ 9 h 145"/>
                <a:gd name="T62" fmla="*/ 24 w 33"/>
                <a:gd name="T63" fmla="*/ 113 h 145"/>
                <a:gd name="T64" fmla="*/ 24 w 33"/>
                <a:gd name="T65" fmla="*/ 128 h 145"/>
                <a:gd name="T66" fmla="*/ 17 w 33"/>
                <a:gd name="T67" fmla="*/ 135 h 145"/>
                <a:gd name="T68" fmla="*/ 9 w 33"/>
                <a:gd name="T69" fmla="*/ 128 h 145"/>
                <a:gd name="T70" fmla="*/ 9 w 33"/>
                <a:gd name="T71" fmla="*/ 113 h 145"/>
                <a:gd name="T72" fmla="*/ 12 w 33"/>
                <a:gd name="T73" fmla="*/ 107 h 145"/>
                <a:gd name="T74" fmla="*/ 12 w 33"/>
                <a:gd name="T75" fmla="*/ 110 h 145"/>
                <a:gd name="T76" fmla="*/ 17 w 33"/>
                <a:gd name="T77" fmla="*/ 114 h 145"/>
                <a:gd name="T78" fmla="*/ 21 w 33"/>
                <a:gd name="T79" fmla="*/ 110 h 145"/>
                <a:gd name="T80" fmla="*/ 21 w 33"/>
                <a:gd name="T81" fmla="*/ 107 h 145"/>
                <a:gd name="T82" fmla="*/ 24 w 33"/>
                <a:gd name="T83" fmla="*/ 113 h 145"/>
                <a:gd name="T84" fmla="*/ 24 w 33"/>
                <a:gd name="T85" fmla="*/ 53 h 145"/>
                <a:gd name="T86" fmla="*/ 24 w 33"/>
                <a:gd name="T87" fmla="*/ 68 h 145"/>
                <a:gd name="T88" fmla="*/ 21 w 33"/>
                <a:gd name="T89" fmla="*/ 74 h 145"/>
                <a:gd name="T90" fmla="*/ 21 w 33"/>
                <a:gd name="T91" fmla="*/ 71 h 145"/>
                <a:gd name="T92" fmla="*/ 17 w 33"/>
                <a:gd name="T93" fmla="*/ 66 h 145"/>
                <a:gd name="T94" fmla="*/ 12 w 33"/>
                <a:gd name="T95" fmla="*/ 71 h 145"/>
                <a:gd name="T96" fmla="*/ 12 w 33"/>
                <a:gd name="T97" fmla="*/ 74 h 145"/>
                <a:gd name="T98" fmla="*/ 9 w 33"/>
                <a:gd name="T99" fmla="*/ 68 h 145"/>
                <a:gd name="T100" fmla="*/ 9 w 33"/>
                <a:gd name="T101" fmla="*/ 53 h 145"/>
                <a:gd name="T102" fmla="*/ 12 w 33"/>
                <a:gd name="T103" fmla="*/ 48 h 145"/>
                <a:gd name="T104" fmla="*/ 12 w 33"/>
                <a:gd name="T105" fmla="*/ 50 h 145"/>
                <a:gd name="T106" fmla="*/ 17 w 33"/>
                <a:gd name="T107" fmla="*/ 55 h 145"/>
                <a:gd name="T108" fmla="*/ 21 w 33"/>
                <a:gd name="T109" fmla="*/ 50 h 145"/>
                <a:gd name="T110" fmla="*/ 21 w 33"/>
                <a:gd name="T111" fmla="*/ 48 h 145"/>
                <a:gd name="T112" fmla="*/ 24 w 33"/>
                <a:gd name="T113" fmla="*/ 5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" h="145">
                  <a:moveTo>
                    <a:pt x="33" y="9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1"/>
                    <a:pt x="23" y="13"/>
                    <a:pt x="21" y="14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8"/>
                    <a:pt x="19" y="6"/>
                    <a:pt x="17" y="6"/>
                  </a:cubicBezTo>
                  <a:cubicBezTo>
                    <a:pt x="14" y="6"/>
                    <a:pt x="12" y="8"/>
                    <a:pt x="12" y="11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3"/>
                    <a:pt x="9" y="11"/>
                    <a:pt x="9" y="9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5" y="22"/>
                    <a:pt x="12" y="24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5" y="39"/>
                    <a:pt x="0" y="46"/>
                    <a:pt x="0" y="5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6"/>
                    <a:pt x="5" y="82"/>
                    <a:pt x="12" y="84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5" y="99"/>
                    <a:pt x="0" y="105"/>
                    <a:pt x="0" y="113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7"/>
                    <a:pt x="7" y="145"/>
                    <a:pt x="17" y="145"/>
                  </a:cubicBezTo>
                  <a:cubicBezTo>
                    <a:pt x="26" y="145"/>
                    <a:pt x="33" y="137"/>
                    <a:pt x="33" y="128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3" y="105"/>
                    <a:pt x="28" y="99"/>
                    <a:pt x="21" y="97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8" y="82"/>
                    <a:pt x="33" y="76"/>
                    <a:pt x="33" y="68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46"/>
                    <a:pt x="28" y="39"/>
                    <a:pt x="21" y="37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8" y="22"/>
                    <a:pt x="33" y="16"/>
                    <a:pt x="33" y="9"/>
                  </a:cubicBezTo>
                  <a:close/>
                  <a:moveTo>
                    <a:pt x="24" y="113"/>
                  </a:moveTo>
                  <a:cubicBezTo>
                    <a:pt x="24" y="128"/>
                    <a:pt x="24" y="128"/>
                    <a:pt x="24" y="128"/>
                  </a:cubicBezTo>
                  <a:cubicBezTo>
                    <a:pt x="24" y="132"/>
                    <a:pt x="21" y="135"/>
                    <a:pt x="17" y="135"/>
                  </a:cubicBezTo>
                  <a:cubicBezTo>
                    <a:pt x="13" y="135"/>
                    <a:pt x="9" y="132"/>
                    <a:pt x="9" y="128"/>
                  </a:cubicBezTo>
                  <a:cubicBezTo>
                    <a:pt x="9" y="113"/>
                    <a:pt x="9" y="113"/>
                    <a:pt x="9" y="113"/>
                  </a:cubicBezTo>
                  <a:cubicBezTo>
                    <a:pt x="9" y="111"/>
                    <a:pt x="10" y="109"/>
                    <a:pt x="12" y="107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2"/>
                    <a:pt x="14" y="114"/>
                    <a:pt x="17" y="114"/>
                  </a:cubicBezTo>
                  <a:cubicBezTo>
                    <a:pt x="19" y="114"/>
                    <a:pt x="21" y="112"/>
                    <a:pt x="21" y="110"/>
                  </a:cubicBezTo>
                  <a:cubicBezTo>
                    <a:pt x="21" y="107"/>
                    <a:pt x="21" y="107"/>
                    <a:pt x="21" y="107"/>
                  </a:cubicBezTo>
                  <a:cubicBezTo>
                    <a:pt x="23" y="109"/>
                    <a:pt x="24" y="111"/>
                    <a:pt x="24" y="113"/>
                  </a:cubicBezTo>
                  <a:close/>
                  <a:moveTo>
                    <a:pt x="24" y="53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4" y="71"/>
                    <a:pt x="23" y="73"/>
                    <a:pt x="21" y="74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68"/>
                    <a:pt x="19" y="66"/>
                    <a:pt x="17" y="66"/>
                  </a:cubicBezTo>
                  <a:cubicBezTo>
                    <a:pt x="14" y="66"/>
                    <a:pt x="12" y="68"/>
                    <a:pt x="12" y="71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3"/>
                    <a:pt x="9" y="71"/>
                    <a:pt x="9" y="68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1"/>
                    <a:pt x="10" y="49"/>
                    <a:pt x="12" y="48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3"/>
                    <a:pt x="14" y="55"/>
                    <a:pt x="17" y="55"/>
                  </a:cubicBezTo>
                  <a:cubicBezTo>
                    <a:pt x="19" y="55"/>
                    <a:pt x="21" y="53"/>
                    <a:pt x="21" y="50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3" y="49"/>
                    <a:pt x="24" y="51"/>
                    <a:pt x="24" y="53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9EF2E6C7-3DAC-4A27-AC42-C299857581E1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0913" y="2697163"/>
              <a:ext cx="184150" cy="204788"/>
            </a:xfrm>
            <a:custGeom>
              <a:avLst/>
              <a:gdLst>
                <a:gd name="T0" fmla="*/ 105 w 116"/>
                <a:gd name="T1" fmla="*/ 35 h 129"/>
                <a:gd name="T2" fmla="*/ 105 w 116"/>
                <a:gd name="T3" fmla="*/ 0 h 129"/>
                <a:gd name="T4" fmla="*/ 30 w 116"/>
                <a:gd name="T5" fmla="*/ 0 h 129"/>
                <a:gd name="T6" fmla="*/ 30 w 116"/>
                <a:gd name="T7" fmla="*/ 35 h 129"/>
                <a:gd name="T8" fmla="*/ 0 w 116"/>
                <a:gd name="T9" fmla="*/ 35 h 129"/>
                <a:gd name="T10" fmla="*/ 0 w 116"/>
                <a:gd name="T11" fmla="*/ 93 h 129"/>
                <a:gd name="T12" fmla="*/ 30 w 116"/>
                <a:gd name="T13" fmla="*/ 93 h 129"/>
                <a:gd name="T14" fmla="*/ 30 w 116"/>
                <a:gd name="T15" fmla="*/ 129 h 129"/>
                <a:gd name="T16" fmla="*/ 105 w 116"/>
                <a:gd name="T17" fmla="*/ 129 h 129"/>
                <a:gd name="T18" fmla="*/ 105 w 116"/>
                <a:gd name="T19" fmla="*/ 93 h 129"/>
                <a:gd name="T20" fmla="*/ 116 w 116"/>
                <a:gd name="T21" fmla="*/ 93 h 129"/>
                <a:gd name="T22" fmla="*/ 116 w 116"/>
                <a:gd name="T23" fmla="*/ 35 h 129"/>
                <a:gd name="T24" fmla="*/ 105 w 116"/>
                <a:gd name="T25" fmla="*/ 3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" h="129">
                  <a:moveTo>
                    <a:pt x="105" y="35"/>
                  </a:moveTo>
                  <a:lnTo>
                    <a:pt x="105" y="0"/>
                  </a:lnTo>
                  <a:lnTo>
                    <a:pt x="30" y="0"/>
                  </a:lnTo>
                  <a:lnTo>
                    <a:pt x="30" y="35"/>
                  </a:lnTo>
                  <a:lnTo>
                    <a:pt x="0" y="35"/>
                  </a:lnTo>
                  <a:lnTo>
                    <a:pt x="0" y="93"/>
                  </a:lnTo>
                  <a:lnTo>
                    <a:pt x="30" y="93"/>
                  </a:lnTo>
                  <a:lnTo>
                    <a:pt x="30" y="129"/>
                  </a:lnTo>
                  <a:lnTo>
                    <a:pt x="105" y="129"/>
                  </a:lnTo>
                  <a:lnTo>
                    <a:pt x="105" y="93"/>
                  </a:lnTo>
                  <a:lnTo>
                    <a:pt x="116" y="93"/>
                  </a:lnTo>
                  <a:lnTo>
                    <a:pt x="116" y="35"/>
                  </a:lnTo>
                  <a:lnTo>
                    <a:pt x="105" y="35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8A481708-F1D0-4962-AEC9-A24CDC44A250}"/>
                </a:ext>
              </a:extLst>
            </p:cNvPr>
            <p:cNvSpPr>
              <a:spLocks/>
            </p:cNvSpPr>
            <p:nvPr/>
          </p:nvSpPr>
          <p:spPr bwMode="gray">
            <a:xfrm>
              <a:off x="8778875" y="5127625"/>
              <a:ext cx="1700212" cy="66675"/>
            </a:xfrm>
            <a:custGeom>
              <a:avLst/>
              <a:gdLst>
                <a:gd name="T0" fmla="*/ 11 w 574"/>
                <a:gd name="T1" fmla="*/ 0 h 22"/>
                <a:gd name="T2" fmla="*/ 563 w 574"/>
                <a:gd name="T3" fmla="*/ 0 h 22"/>
                <a:gd name="T4" fmla="*/ 574 w 574"/>
                <a:gd name="T5" fmla="*/ 11 h 22"/>
                <a:gd name="T6" fmla="*/ 574 w 574"/>
                <a:gd name="T7" fmla="*/ 11 h 22"/>
                <a:gd name="T8" fmla="*/ 563 w 574"/>
                <a:gd name="T9" fmla="*/ 22 h 22"/>
                <a:gd name="T10" fmla="*/ 11 w 574"/>
                <a:gd name="T11" fmla="*/ 22 h 22"/>
                <a:gd name="T12" fmla="*/ 0 w 574"/>
                <a:gd name="T13" fmla="*/ 11 h 22"/>
                <a:gd name="T14" fmla="*/ 0 w 574"/>
                <a:gd name="T15" fmla="*/ 11 h 22"/>
                <a:gd name="T16" fmla="*/ 11 w 574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4" h="22">
                  <a:moveTo>
                    <a:pt x="11" y="0"/>
                  </a:moveTo>
                  <a:cubicBezTo>
                    <a:pt x="563" y="0"/>
                    <a:pt x="563" y="0"/>
                    <a:pt x="563" y="0"/>
                  </a:cubicBezTo>
                  <a:cubicBezTo>
                    <a:pt x="569" y="0"/>
                    <a:pt x="574" y="5"/>
                    <a:pt x="574" y="11"/>
                  </a:cubicBezTo>
                  <a:cubicBezTo>
                    <a:pt x="574" y="11"/>
                    <a:pt x="574" y="11"/>
                    <a:pt x="574" y="11"/>
                  </a:cubicBezTo>
                  <a:cubicBezTo>
                    <a:pt x="574" y="17"/>
                    <a:pt x="569" y="22"/>
                    <a:pt x="563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lose/>
                </a:path>
              </a:pathLst>
            </a:custGeom>
            <a:solidFill>
              <a:srgbClr val="C2C2C2">
                <a:alpha val="5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73DA7EE4-CC9F-4E1C-8F8C-A6C423013164}"/>
                </a:ext>
              </a:extLst>
            </p:cNvPr>
            <p:cNvSpPr>
              <a:spLocks/>
            </p:cNvSpPr>
            <p:nvPr/>
          </p:nvSpPr>
          <p:spPr bwMode="gray">
            <a:xfrm>
              <a:off x="7967663" y="5127625"/>
              <a:ext cx="336550" cy="66675"/>
            </a:xfrm>
            <a:custGeom>
              <a:avLst/>
              <a:gdLst>
                <a:gd name="T0" fmla="*/ 11 w 114"/>
                <a:gd name="T1" fmla="*/ 0 h 22"/>
                <a:gd name="T2" fmla="*/ 103 w 114"/>
                <a:gd name="T3" fmla="*/ 0 h 22"/>
                <a:gd name="T4" fmla="*/ 114 w 114"/>
                <a:gd name="T5" fmla="*/ 11 h 22"/>
                <a:gd name="T6" fmla="*/ 114 w 114"/>
                <a:gd name="T7" fmla="*/ 11 h 22"/>
                <a:gd name="T8" fmla="*/ 103 w 114"/>
                <a:gd name="T9" fmla="*/ 22 h 22"/>
                <a:gd name="T10" fmla="*/ 11 w 114"/>
                <a:gd name="T11" fmla="*/ 22 h 22"/>
                <a:gd name="T12" fmla="*/ 0 w 114"/>
                <a:gd name="T13" fmla="*/ 11 h 22"/>
                <a:gd name="T14" fmla="*/ 0 w 114"/>
                <a:gd name="T15" fmla="*/ 11 h 22"/>
                <a:gd name="T16" fmla="*/ 11 w 114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22">
                  <a:moveTo>
                    <a:pt x="11" y="0"/>
                  </a:moveTo>
                  <a:cubicBezTo>
                    <a:pt x="103" y="0"/>
                    <a:pt x="103" y="0"/>
                    <a:pt x="103" y="0"/>
                  </a:cubicBezTo>
                  <a:cubicBezTo>
                    <a:pt x="109" y="0"/>
                    <a:pt x="114" y="5"/>
                    <a:pt x="114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4" y="17"/>
                    <a:pt x="109" y="22"/>
                    <a:pt x="103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lose/>
                </a:path>
              </a:pathLst>
            </a:custGeom>
            <a:solidFill>
              <a:srgbClr val="C2C2C2">
                <a:alpha val="5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3585D70B-DB12-4194-B4FC-1EC264EFAF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61163" y="5127625"/>
              <a:ext cx="858837" cy="66675"/>
            </a:xfrm>
            <a:custGeom>
              <a:avLst/>
              <a:gdLst>
                <a:gd name="T0" fmla="*/ 11 w 290"/>
                <a:gd name="T1" fmla="*/ 0 h 22"/>
                <a:gd name="T2" fmla="*/ 279 w 290"/>
                <a:gd name="T3" fmla="*/ 0 h 22"/>
                <a:gd name="T4" fmla="*/ 290 w 290"/>
                <a:gd name="T5" fmla="*/ 11 h 22"/>
                <a:gd name="T6" fmla="*/ 290 w 290"/>
                <a:gd name="T7" fmla="*/ 11 h 22"/>
                <a:gd name="T8" fmla="*/ 279 w 290"/>
                <a:gd name="T9" fmla="*/ 22 h 22"/>
                <a:gd name="T10" fmla="*/ 11 w 290"/>
                <a:gd name="T11" fmla="*/ 22 h 22"/>
                <a:gd name="T12" fmla="*/ 0 w 290"/>
                <a:gd name="T13" fmla="*/ 11 h 22"/>
                <a:gd name="T14" fmla="*/ 0 w 290"/>
                <a:gd name="T15" fmla="*/ 11 h 22"/>
                <a:gd name="T16" fmla="*/ 11 w 290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0" h="22">
                  <a:moveTo>
                    <a:pt x="11" y="0"/>
                  </a:moveTo>
                  <a:cubicBezTo>
                    <a:pt x="279" y="0"/>
                    <a:pt x="279" y="0"/>
                    <a:pt x="279" y="0"/>
                  </a:cubicBezTo>
                  <a:cubicBezTo>
                    <a:pt x="285" y="0"/>
                    <a:pt x="290" y="5"/>
                    <a:pt x="290" y="11"/>
                  </a:cubicBezTo>
                  <a:cubicBezTo>
                    <a:pt x="290" y="11"/>
                    <a:pt x="290" y="11"/>
                    <a:pt x="290" y="11"/>
                  </a:cubicBezTo>
                  <a:cubicBezTo>
                    <a:pt x="290" y="17"/>
                    <a:pt x="285" y="22"/>
                    <a:pt x="279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lose/>
                </a:path>
              </a:pathLst>
            </a:custGeom>
            <a:solidFill>
              <a:srgbClr val="C2C2C2">
                <a:alpha val="5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12">
              <a:extLst>
                <a:ext uri="{FF2B5EF4-FFF2-40B4-BE49-F238E27FC236}">
                  <a16:creationId xmlns:a16="http://schemas.microsoft.com/office/drawing/2014/main" id="{56276EA8-A6C3-41CE-995B-DC85A560105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98000" y="2201863"/>
              <a:ext cx="341312" cy="6508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13">
              <a:extLst>
                <a:ext uri="{FF2B5EF4-FFF2-40B4-BE49-F238E27FC236}">
                  <a16:creationId xmlns:a16="http://schemas.microsoft.com/office/drawing/2014/main" id="{C73246E0-0E62-4BA7-9369-BFA3728754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98000" y="2319338"/>
              <a:ext cx="341312" cy="6508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14">
              <a:extLst>
                <a:ext uri="{FF2B5EF4-FFF2-40B4-BE49-F238E27FC236}">
                  <a16:creationId xmlns:a16="http://schemas.microsoft.com/office/drawing/2014/main" id="{515CAFBD-BC70-4409-BDEB-9D5A8370FDD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98000" y="2438400"/>
              <a:ext cx="341312" cy="65088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15">
              <a:extLst>
                <a:ext uri="{FF2B5EF4-FFF2-40B4-BE49-F238E27FC236}">
                  <a16:creationId xmlns:a16="http://schemas.microsoft.com/office/drawing/2014/main" id="{E4862D82-7815-4805-B758-39123276BF9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390188" y="2640013"/>
              <a:ext cx="246062" cy="317500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6">
              <a:extLst>
                <a:ext uri="{FF2B5EF4-FFF2-40B4-BE49-F238E27FC236}">
                  <a16:creationId xmlns:a16="http://schemas.microsoft.com/office/drawing/2014/main" id="{659760BA-634D-4C82-9144-6E238DBA1EA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90188" y="2844800"/>
              <a:ext cx="246062" cy="758825"/>
            </a:xfrm>
            <a:custGeom>
              <a:avLst/>
              <a:gdLst>
                <a:gd name="T0" fmla="*/ 155 w 155"/>
                <a:gd name="T1" fmla="*/ 0 h 478"/>
                <a:gd name="T2" fmla="*/ 0 w 155"/>
                <a:gd name="T3" fmla="*/ 0 h 478"/>
                <a:gd name="T4" fmla="*/ 0 w 155"/>
                <a:gd name="T5" fmla="*/ 71 h 478"/>
                <a:gd name="T6" fmla="*/ 58 w 155"/>
                <a:gd name="T7" fmla="*/ 71 h 478"/>
                <a:gd name="T8" fmla="*/ 58 w 155"/>
                <a:gd name="T9" fmla="*/ 478 h 478"/>
                <a:gd name="T10" fmla="*/ 131 w 155"/>
                <a:gd name="T11" fmla="*/ 478 h 478"/>
                <a:gd name="T12" fmla="*/ 131 w 155"/>
                <a:gd name="T13" fmla="*/ 71 h 478"/>
                <a:gd name="T14" fmla="*/ 155 w 155"/>
                <a:gd name="T15" fmla="*/ 71 h 478"/>
                <a:gd name="T16" fmla="*/ 155 w 155"/>
                <a:gd name="T17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5" h="478">
                  <a:moveTo>
                    <a:pt x="155" y="0"/>
                  </a:moveTo>
                  <a:lnTo>
                    <a:pt x="0" y="0"/>
                  </a:lnTo>
                  <a:lnTo>
                    <a:pt x="0" y="71"/>
                  </a:lnTo>
                  <a:lnTo>
                    <a:pt x="58" y="71"/>
                  </a:lnTo>
                  <a:lnTo>
                    <a:pt x="58" y="478"/>
                  </a:lnTo>
                  <a:lnTo>
                    <a:pt x="131" y="478"/>
                  </a:lnTo>
                  <a:lnTo>
                    <a:pt x="131" y="71"/>
                  </a:lnTo>
                  <a:lnTo>
                    <a:pt x="155" y="7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17">
              <a:extLst>
                <a:ext uri="{FF2B5EF4-FFF2-40B4-BE49-F238E27FC236}">
                  <a16:creationId xmlns:a16="http://schemas.microsoft.com/office/drawing/2014/main" id="{E6B5873E-DE40-48D4-8F2F-4D17C350AC2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390188" y="2640013"/>
              <a:ext cx="246062" cy="1127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18">
              <a:extLst>
                <a:ext uri="{FF2B5EF4-FFF2-40B4-BE49-F238E27FC236}">
                  <a16:creationId xmlns:a16="http://schemas.microsoft.com/office/drawing/2014/main" id="{FAE93564-D773-4604-A467-9245C9F538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75750" y="3736975"/>
              <a:ext cx="785812" cy="317500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19">
              <a:extLst>
                <a:ext uri="{FF2B5EF4-FFF2-40B4-BE49-F238E27FC236}">
                  <a16:creationId xmlns:a16="http://schemas.microsoft.com/office/drawing/2014/main" id="{23897269-547E-46AA-9AF4-95F25E0B191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75750" y="3941763"/>
              <a:ext cx="785812" cy="112713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0">
              <a:extLst>
                <a:ext uri="{FF2B5EF4-FFF2-40B4-BE49-F238E27FC236}">
                  <a16:creationId xmlns:a16="http://schemas.microsoft.com/office/drawing/2014/main" id="{33A00844-DA34-4AFE-B8C0-DED567644AD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080500" y="3736975"/>
              <a:ext cx="153987" cy="3175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1">
              <a:extLst>
                <a:ext uri="{FF2B5EF4-FFF2-40B4-BE49-F238E27FC236}">
                  <a16:creationId xmlns:a16="http://schemas.microsoft.com/office/drawing/2014/main" id="{4D3034B7-179D-4080-BF2F-2FC65EF653A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01238" y="3736975"/>
              <a:ext cx="153987" cy="3175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22">
              <a:extLst>
                <a:ext uri="{FF2B5EF4-FFF2-40B4-BE49-F238E27FC236}">
                  <a16:creationId xmlns:a16="http://schemas.microsoft.com/office/drawing/2014/main" id="{3D42005A-F0E3-4B09-94E3-D5275A32C57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080500" y="3941763"/>
              <a:ext cx="153987" cy="112713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23">
              <a:extLst>
                <a:ext uri="{FF2B5EF4-FFF2-40B4-BE49-F238E27FC236}">
                  <a16:creationId xmlns:a16="http://schemas.microsoft.com/office/drawing/2014/main" id="{4FE89A18-7F51-470D-998E-46FC374375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01238" y="3941763"/>
              <a:ext cx="153987" cy="112713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4">
              <a:extLst>
                <a:ext uri="{FF2B5EF4-FFF2-40B4-BE49-F238E27FC236}">
                  <a16:creationId xmlns:a16="http://schemas.microsoft.com/office/drawing/2014/main" id="{D81D35E5-2BF4-464E-B9BD-33D14CC9E77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64638" y="1590675"/>
              <a:ext cx="808037" cy="454025"/>
            </a:xfrm>
            <a:custGeom>
              <a:avLst/>
              <a:gdLst>
                <a:gd name="T0" fmla="*/ 273 w 273"/>
                <a:gd name="T1" fmla="*/ 153 h 153"/>
                <a:gd name="T2" fmla="*/ 0 w 273"/>
                <a:gd name="T3" fmla="*/ 153 h 153"/>
                <a:gd name="T4" fmla="*/ 0 w 273"/>
                <a:gd name="T5" fmla="*/ 137 h 153"/>
                <a:gd name="T6" fmla="*/ 136 w 273"/>
                <a:gd name="T7" fmla="*/ 0 h 153"/>
                <a:gd name="T8" fmla="*/ 136 w 273"/>
                <a:gd name="T9" fmla="*/ 0 h 153"/>
                <a:gd name="T10" fmla="*/ 273 w 273"/>
                <a:gd name="T11" fmla="*/ 137 h 153"/>
                <a:gd name="T12" fmla="*/ 273 w 273"/>
                <a:gd name="T1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3" h="153">
                  <a:moveTo>
                    <a:pt x="273" y="153"/>
                  </a:moveTo>
                  <a:cubicBezTo>
                    <a:pt x="0" y="153"/>
                    <a:pt x="0" y="153"/>
                    <a:pt x="0" y="153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61"/>
                    <a:pt x="61" y="0"/>
                    <a:pt x="13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212" y="0"/>
                    <a:pt x="273" y="61"/>
                    <a:pt x="273" y="137"/>
                  </a:cubicBezTo>
                  <a:lnTo>
                    <a:pt x="273" y="153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5">
              <a:extLst>
                <a:ext uri="{FF2B5EF4-FFF2-40B4-BE49-F238E27FC236}">
                  <a16:creationId xmlns:a16="http://schemas.microsoft.com/office/drawing/2014/main" id="{4049364B-8AB3-435A-9103-846B0B47664B}"/>
                </a:ext>
              </a:extLst>
            </p:cNvPr>
            <p:cNvSpPr>
              <a:spLocks/>
            </p:cNvSpPr>
            <p:nvPr/>
          </p:nvSpPr>
          <p:spPr bwMode="gray">
            <a:xfrm>
              <a:off x="9439275" y="1614488"/>
              <a:ext cx="533400" cy="430213"/>
            </a:xfrm>
            <a:custGeom>
              <a:avLst/>
              <a:gdLst>
                <a:gd name="T0" fmla="*/ 90 w 180"/>
                <a:gd name="T1" fmla="*/ 0 h 145"/>
                <a:gd name="T2" fmla="*/ 0 w 180"/>
                <a:gd name="T3" fmla="*/ 129 h 145"/>
                <a:gd name="T4" fmla="*/ 0 w 180"/>
                <a:gd name="T5" fmla="*/ 145 h 145"/>
                <a:gd name="T6" fmla="*/ 180 w 180"/>
                <a:gd name="T7" fmla="*/ 145 h 145"/>
                <a:gd name="T8" fmla="*/ 180 w 180"/>
                <a:gd name="T9" fmla="*/ 129 h 145"/>
                <a:gd name="T10" fmla="*/ 90 w 180"/>
                <a:gd name="T11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145">
                  <a:moveTo>
                    <a:pt x="90" y="0"/>
                  </a:moveTo>
                  <a:cubicBezTo>
                    <a:pt x="38" y="19"/>
                    <a:pt x="0" y="69"/>
                    <a:pt x="0" y="129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180" y="145"/>
                    <a:pt x="180" y="145"/>
                    <a:pt x="180" y="145"/>
                  </a:cubicBezTo>
                  <a:cubicBezTo>
                    <a:pt x="180" y="129"/>
                    <a:pt x="180" y="129"/>
                    <a:pt x="180" y="129"/>
                  </a:cubicBezTo>
                  <a:cubicBezTo>
                    <a:pt x="180" y="69"/>
                    <a:pt x="143" y="19"/>
                    <a:pt x="90" y="0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6">
              <a:extLst>
                <a:ext uri="{FF2B5EF4-FFF2-40B4-BE49-F238E27FC236}">
                  <a16:creationId xmlns:a16="http://schemas.microsoft.com/office/drawing/2014/main" id="{E510100C-F783-481E-8759-339E71C8F86F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9500" y="2503488"/>
              <a:ext cx="1738312" cy="682625"/>
            </a:xfrm>
            <a:custGeom>
              <a:avLst/>
              <a:gdLst>
                <a:gd name="T0" fmla="*/ 587 w 587"/>
                <a:gd name="T1" fmla="*/ 190 h 230"/>
                <a:gd name="T2" fmla="*/ 293 w 587"/>
                <a:gd name="T3" fmla="*/ 230 h 230"/>
                <a:gd name="T4" fmla="*/ 0 w 587"/>
                <a:gd name="T5" fmla="*/ 190 h 230"/>
                <a:gd name="T6" fmla="*/ 0 w 587"/>
                <a:gd name="T7" fmla="*/ 71 h 230"/>
                <a:gd name="T8" fmla="*/ 71 w 587"/>
                <a:gd name="T9" fmla="*/ 0 h 230"/>
                <a:gd name="T10" fmla="*/ 516 w 587"/>
                <a:gd name="T11" fmla="*/ 0 h 230"/>
                <a:gd name="T12" fmla="*/ 587 w 587"/>
                <a:gd name="T13" fmla="*/ 71 h 230"/>
                <a:gd name="T14" fmla="*/ 587 w 587"/>
                <a:gd name="T15" fmla="*/ 19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7" h="230">
                  <a:moveTo>
                    <a:pt x="587" y="190"/>
                  </a:moveTo>
                  <a:cubicBezTo>
                    <a:pt x="293" y="230"/>
                    <a:pt x="293" y="230"/>
                    <a:pt x="293" y="23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516" y="0"/>
                    <a:pt x="516" y="0"/>
                    <a:pt x="516" y="0"/>
                  </a:cubicBezTo>
                  <a:cubicBezTo>
                    <a:pt x="555" y="0"/>
                    <a:pt x="587" y="32"/>
                    <a:pt x="587" y="71"/>
                  </a:cubicBezTo>
                  <a:lnTo>
                    <a:pt x="587" y="190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7">
              <a:extLst>
                <a:ext uri="{FF2B5EF4-FFF2-40B4-BE49-F238E27FC236}">
                  <a16:creationId xmlns:a16="http://schemas.microsoft.com/office/drawing/2014/main" id="{5FDF1898-FFC0-4E96-9B02-05132CA254DB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9500" y="2779713"/>
              <a:ext cx="1738312" cy="563563"/>
            </a:xfrm>
            <a:custGeom>
              <a:avLst/>
              <a:gdLst>
                <a:gd name="T0" fmla="*/ 438 w 587"/>
                <a:gd name="T1" fmla="*/ 95 h 190"/>
                <a:gd name="T2" fmla="*/ 328 w 587"/>
                <a:gd name="T3" fmla="*/ 0 h 190"/>
                <a:gd name="T4" fmla="*/ 259 w 587"/>
                <a:gd name="T5" fmla="*/ 0 h 190"/>
                <a:gd name="T6" fmla="*/ 149 w 587"/>
                <a:gd name="T7" fmla="*/ 95 h 190"/>
                <a:gd name="T8" fmla="*/ 0 w 587"/>
                <a:gd name="T9" fmla="*/ 95 h 190"/>
                <a:gd name="T10" fmla="*/ 0 w 587"/>
                <a:gd name="T11" fmla="*/ 190 h 190"/>
                <a:gd name="T12" fmla="*/ 587 w 587"/>
                <a:gd name="T13" fmla="*/ 190 h 190"/>
                <a:gd name="T14" fmla="*/ 587 w 587"/>
                <a:gd name="T15" fmla="*/ 95 h 190"/>
                <a:gd name="T16" fmla="*/ 438 w 587"/>
                <a:gd name="T17" fmla="*/ 9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7" h="190">
                  <a:moveTo>
                    <a:pt x="438" y="95"/>
                  </a:moveTo>
                  <a:cubicBezTo>
                    <a:pt x="430" y="41"/>
                    <a:pt x="384" y="0"/>
                    <a:pt x="328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203" y="0"/>
                    <a:pt x="157" y="41"/>
                    <a:pt x="149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87" y="190"/>
                    <a:pt x="587" y="190"/>
                    <a:pt x="587" y="190"/>
                  </a:cubicBezTo>
                  <a:cubicBezTo>
                    <a:pt x="587" y="95"/>
                    <a:pt x="587" y="95"/>
                    <a:pt x="587" y="95"/>
                  </a:cubicBezTo>
                  <a:lnTo>
                    <a:pt x="438" y="95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8">
              <a:extLst>
                <a:ext uri="{FF2B5EF4-FFF2-40B4-BE49-F238E27FC236}">
                  <a16:creationId xmlns:a16="http://schemas.microsoft.com/office/drawing/2014/main" id="{4BD030A5-978C-4A0D-83E5-E4778DB3C019}"/>
                </a:ext>
              </a:extLst>
            </p:cNvPr>
            <p:cNvSpPr>
              <a:spLocks/>
            </p:cNvSpPr>
            <p:nvPr/>
          </p:nvSpPr>
          <p:spPr bwMode="gray">
            <a:xfrm>
              <a:off x="9234488" y="3227388"/>
              <a:ext cx="666750" cy="560388"/>
            </a:xfrm>
            <a:custGeom>
              <a:avLst/>
              <a:gdLst>
                <a:gd name="T0" fmla="*/ 420 w 420"/>
                <a:gd name="T1" fmla="*/ 321 h 353"/>
                <a:gd name="T2" fmla="*/ 349 w 420"/>
                <a:gd name="T3" fmla="*/ 353 h 353"/>
                <a:gd name="T4" fmla="*/ 0 w 420"/>
                <a:gd name="T5" fmla="*/ 353 h 353"/>
                <a:gd name="T6" fmla="*/ 0 w 420"/>
                <a:gd name="T7" fmla="*/ 0 h 353"/>
                <a:gd name="T8" fmla="*/ 420 w 420"/>
                <a:gd name="T9" fmla="*/ 0 h 353"/>
                <a:gd name="T10" fmla="*/ 420 w 420"/>
                <a:gd name="T11" fmla="*/ 3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0" h="353">
                  <a:moveTo>
                    <a:pt x="420" y="321"/>
                  </a:moveTo>
                  <a:lnTo>
                    <a:pt x="349" y="353"/>
                  </a:lnTo>
                  <a:lnTo>
                    <a:pt x="0" y="353"/>
                  </a:lnTo>
                  <a:lnTo>
                    <a:pt x="0" y="0"/>
                  </a:lnTo>
                  <a:lnTo>
                    <a:pt x="420" y="0"/>
                  </a:lnTo>
                  <a:lnTo>
                    <a:pt x="420" y="321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9">
              <a:extLst>
                <a:ext uri="{FF2B5EF4-FFF2-40B4-BE49-F238E27FC236}">
                  <a16:creationId xmlns:a16="http://schemas.microsoft.com/office/drawing/2014/main" id="{A729EC4A-6C8E-4DF4-BDDA-EF9946CC514A}"/>
                </a:ext>
              </a:extLst>
            </p:cNvPr>
            <p:cNvSpPr>
              <a:spLocks/>
            </p:cNvSpPr>
            <p:nvPr/>
          </p:nvSpPr>
          <p:spPr bwMode="gray">
            <a:xfrm>
              <a:off x="9234488" y="3302000"/>
              <a:ext cx="225425" cy="485775"/>
            </a:xfrm>
            <a:custGeom>
              <a:avLst/>
              <a:gdLst>
                <a:gd name="T0" fmla="*/ 76 w 76"/>
                <a:gd name="T1" fmla="*/ 164 h 164"/>
                <a:gd name="T2" fmla="*/ 0 w 76"/>
                <a:gd name="T3" fmla="*/ 147 h 164"/>
                <a:gd name="T4" fmla="*/ 0 w 76"/>
                <a:gd name="T5" fmla="*/ 16 h 164"/>
                <a:gd name="T6" fmla="*/ 16 w 76"/>
                <a:gd name="T7" fmla="*/ 0 h 164"/>
                <a:gd name="T8" fmla="*/ 76 w 76"/>
                <a:gd name="T9" fmla="*/ 0 h 164"/>
                <a:gd name="T10" fmla="*/ 76 w 76"/>
                <a:gd name="T11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164">
                  <a:moveTo>
                    <a:pt x="76" y="164"/>
                  </a:moveTo>
                  <a:cubicBezTo>
                    <a:pt x="0" y="147"/>
                    <a:pt x="0" y="147"/>
                    <a:pt x="0" y="14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6" y="0"/>
                    <a:pt x="76" y="0"/>
                    <a:pt x="76" y="0"/>
                  </a:cubicBezTo>
                  <a:lnTo>
                    <a:pt x="76" y="164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30">
              <a:extLst>
                <a:ext uri="{FF2B5EF4-FFF2-40B4-BE49-F238E27FC236}">
                  <a16:creationId xmlns:a16="http://schemas.microsoft.com/office/drawing/2014/main" id="{478D05D5-23DC-426A-A0C2-CD7B3B7D61FC}"/>
                </a:ext>
              </a:extLst>
            </p:cNvPr>
            <p:cNvSpPr>
              <a:spLocks/>
            </p:cNvSpPr>
            <p:nvPr/>
          </p:nvSpPr>
          <p:spPr bwMode="gray">
            <a:xfrm>
              <a:off x="9234488" y="3736975"/>
              <a:ext cx="666750" cy="74613"/>
            </a:xfrm>
            <a:custGeom>
              <a:avLst/>
              <a:gdLst>
                <a:gd name="T0" fmla="*/ 200 w 225"/>
                <a:gd name="T1" fmla="*/ 25 h 25"/>
                <a:gd name="T2" fmla="*/ 25 w 225"/>
                <a:gd name="T3" fmla="*/ 25 h 25"/>
                <a:gd name="T4" fmla="*/ 0 w 225"/>
                <a:gd name="T5" fmla="*/ 0 h 25"/>
                <a:gd name="T6" fmla="*/ 0 w 225"/>
                <a:gd name="T7" fmla="*/ 0 h 25"/>
                <a:gd name="T8" fmla="*/ 225 w 225"/>
                <a:gd name="T9" fmla="*/ 0 h 25"/>
                <a:gd name="T10" fmla="*/ 225 w 225"/>
                <a:gd name="T11" fmla="*/ 0 h 25"/>
                <a:gd name="T12" fmla="*/ 200 w 225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25">
                  <a:moveTo>
                    <a:pt x="200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11" y="25"/>
                    <a:pt x="0" y="14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5" y="14"/>
                    <a:pt x="214" y="25"/>
                    <a:pt x="200" y="25"/>
                  </a:cubicBez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1">
              <a:extLst>
                <a:ext uri="{FF2B5EF4-FFF2-40B4-BE49-F238E27FC236}">
                  <a16:creationId xmlns:a16="http://schemas.microsoft.com/office/drawing/2014/main" id="{4D87BD7C-8C5D-46A7-AEB6-FFC9350AC80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34488" y="3500438"/>
              <a:ext cx="666750" cy="74613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2">
              <a:extLst>
                <a:ext uri="{FF2B5EF4-FFF2-40B4-BE49-F238E27FC236}">
                  <a16:creationId xmlns:a16="http://schemas.microsoft.com/office/drawing/2014/main" id="{760C470D-EF91-4014-88A9-21B12D138594}"/>
                </a:ext>
              </a:extLst>
            </p:cNvPr>
            <p:cNvSpPr>
              <a:spLocks/>
            </p:cNvSpPr>
            <p:nvPr/>
          </p:nvSpPr>
          <p:spPr bwMode="gray">
            <a:xfrm>
              <a:off x="9234488" y="3262313"/>
              <a:ext cx="666750" cy="74613"/>
            </a:xfrm>
            <a:custGeom>
              <a:avLst/>
              <a:gdLst>
                <a:gd name="T0" fmla="*/ 225 w 225"/>
                <a:gd name="T1" fmla="*/ 25 h 25"/>
                <a:gd name="T2" fmla="*/ 0 w 225"/>
                <a:gd name="T3" fmla="*/ 25 h 25"/>
                <a:gd name="T4" fmla="*/ 0 w 225"/>
                <a:gd name="T5" fmla="*/ 25 h 25"/>
                <a:gd name="T6" fmla="*/ 25 w 225"/>
                <a:gd name="T7" fmla="*/ 0 h 25"/>
                <a:gd name="T8" fmla="*/ 200 w 225"/>
                <a:gd name="T9" fmla="*/ 0 h 25"/>
                <a:gd name="T10" fmla="*/ 225 w 225"/>
                <a:gd name="T1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5" h="25">
                  <a:moveTo>
                    <a:pt x="225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14" y="0"/>
                    <a:pt x="225" y="11"/>
                    <a:pt x="225" y="25"/>
                  </a:cubicBez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Oval 33">
              <a:extLst>
                <a:ext uri="{FF2B5EF4-FFF2-40B4-BE49-F238E27FC236}">
                  <a16:creationId xmlns:a16="http://schemas.microsoft.com/office/drawing/2014/main" id="{43CEE0D9-537E-4871-9442-F6DD77F86E2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21800" y="1833563"/>
              <a:ext cx="73025" cy="74613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Oval 34">
              <a:extLst>
                <a:ext uri="{FF2B5EF4-FFF2-40B4-BE49-F238E27FC236}">
                  <a16:creationId xmlns:a16="http://schemas.microsoft.com/office/drawing/2014/main" id="{5C94B282-E213-4AD5-901B-F5C90F4588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729788" y="1833563"/>
              <a:ext cx="74612" cy="74613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35">
              <a:extLst>
                <a:ext uri="{FF2B5EF4-FFF2-40B4-BE49-F238E27FC236}">
                  <a16:creationId xmlns:a16="http://schemas.microsoft.com/office/drawing/2014/main" id="{C9322910-A0B3-4658-AF6F-581B24B3C78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7013" y="4054475"/>
              <a:ext cx="117475" cy="682625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36">
              <a:extLst>
                <a:ext uri="{FF2B5EF4-FFF2-40B4-BE49-F238E27FC236}">
                  <a16:creationId xmlns:a16="http://schemas.microsoft.com/office/drawing/2014/main" id="{92B80FE8-ACD6-4319-9DA3-792145F21A0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01238" y="4054475"/>
              <a:ext cx="115887" cy="682625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7">
              <a:extLst>
                <a:ext uri="{FF2B5EF4-FFF2-40B4-BE49-F238E27FC236}">
                  <a16:creationId xmlns:a16="http://schemas.microsoft.com/office/drawing/2014/main" id="{5AD78D55-862E-459D-B4B2-3F0D9EC9799F}"/>
                </a:ext>
              </a:extLst>
            </p:cNvPr>
            <p:cNvSpPr>
              <a:spLocks/>
            </p:cNvSpPr>
            <p:nvPr/>
          </p:nvSpPr>
          <p:spPr bwMode="gray">
            <a:xfrm>
              <a:off x="9031288" y="4559300"/>
              <a:ext cx="290512" cy="635000"/>
            </a:xfrm>
            <a:custGeom>
              <a:avLst/>
              <a:gdLst>
                <a:gd name="T0" fmla="*/ 49 w 98"/>
                <a:gd name="T1" fmla="*/ 0 h 214"/>
                <a:gd name="T2" fmla="*/ 49 w 98"/>
                <a:gd name="T3" fmla="*/ 0 h 214"/>
                <a:gd name="T4" fmla="*/ 0 w 98"/>
                <a:gd name="T5" fmla="*/ 49 h 214"/>
                <a:gd name="T6" fmla="*/ 0 w 98"/>
                <a:gd name="T7" fmla="*/ 214 h 214"/>
                <a:gd name="T8" fmla="*/ 98 w 98"/>
                <a:gd name="T9" fmla="*/ 214 h 214"/>
                <a:gd name="T10" fmla="*/ 98 w 98"/>
                <a:gd name="T11" fmla="*/ 49 h 214"/>
                <a:gd name="T12" fmla="*/ 49 w 98"/>
                <a:gd name="T1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" h="214">
                  <a:moveTo>
                    <a:pt x="49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2"/>
                    <a:pt x="0" y="49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98" y="214"/>
                    <a:pt x="98" y="214"/>
                    <a:pt x="98" y="214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98" y="22"/>
                    <a:pt x="76" y="0"/>
                    <a:pt x="49" y="0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8">
              <a:extLst>
                <a:ext uri="{FF2B5EF4-FFF2-40B4-BE49-F238E27FC236}">
                  <a16:creationId xmlns:a16="http://schemas.microsoft.com/office/drawing/2014/main" id="{9EFAFB22-2752-45B9-99AC-351DE0166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31288" y="5062538"/>
              <a:ext cx="290512" cy="131763"/>
            </a:xfrm>
            <a:custGeom>
              <a:avLst/>
              <a:gdLst>
                <a:gd name="T0" fmla="*/ 98 w 98"/>
                <a:gd name="T1" fmla="*/ 44 h 44"/>
                <a:gd name="T2" fmla="*/ 49 w 98"/>
                <a:gd name="T3" fmla="*/ 0 h 44"/>
                <a:gd name="T4" fmla="*/ 0 w 98"/>
                <a:gd name="T5" fmla="*/ 44 h 44"/>
                <a:gd name="T6" fmla="*/ 98 w 98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4">
                  <a:moveTo>
                    <a:pt x="98" y="44"/>
                  </a:moveTo>
                  <a:cubicBezTo>
                    <a:pt x="95" y="19"/>
                    <a:pt x="74" y="0"/>
                    <a:pt x="49" y="0"/>
                  </a:cubicBezTo>
                  <a:cubicBezTo>
                    <a:pt x="24" y="0"/>
                    <a:pt x="3" y="19"/>
                    <a:pt x="0" y="44"/>
                  </a:cubicBezTo>
                  <a:lnTo>
                    <a:pt x="98" y="4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9">
              <a:extLst>
                <a:ext uri="{FF2B5EF4-FFF2-40B4-BE49-F238E27FC236}">
                  <a16:creationId xmlns:a16="http://schemas.microsoft.com/office/drawing/2014/main" id="{A6B30A41-2E1E-428D-BFCB-8D9858985F96}"/>
                </a:ext>
              </a:extLst>
            </p:cNvPr>
            <p:cNvSpPr>
              <a:spLocks/>
            </p:cNvSpPr>
            <p:nvPr/>
          </p:nvSpPr>
          <p:spPr bwMode="gray">
            <a:xfrm>
              <a:off x="9815513" y="4559300"/>
              <a:ext cx="287337" cy="635000"/>
            </a:xfrm>
            <a:custGeom>
              <a:avLst/>
              <a:gdLst>
                <a:gd name="T0" fmla="*/ 49 w 97"/>
                <a:gd name="T1" fmla="*/ 0 h 214"/>
                <a:gd name="T2" fmla="*/ 49 w 97"/>
                <a:gd name="T3" fmla="*/ 0 h 214"/>
                <a:gd name="T4" fmla="*/ 0 w 97"/>
                <a:gd name="T5" fmla="*/ 49 h 214"/>
                <a:gd name="T6" fmla="*/ 0 w 97"/>
                <a:gd name="T7" fmla="*/ 214 h 214"/>
                <a:gd name="T8" fmla="*/ 97 w 97"/>
                <a:gd name="T9" fmla="*/ 214 h 214"/>
                <a:gd name="T10" fmla="*/ 97 w 97"/>
                <a:gd name="T11" fmla="*/ 49 h 214"/>
                <a:gd name="T12" fmla="*/ 49 w 97"/>
                <a:gd name="T13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214">
                  <a:moveTo>
                    <a:pt x="49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2"/>
                    <a:pt x="0" y="49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97" y="214"/>
                    <a:pt x="97" y="214"/>
                    <a:pt x="97" y="214"/>
                  </a:cubicBezTo>
                  <a:cubicBezTo>
                    <a:pt x="97" y="49"/>
                    <a:pt x="97" y="49"/>
                    <a:pt x="97" y="49"/>
                  </a:cubicBezTo>
                  <a:cubicBezTo>
                    <a:pt x="97" y="22"/>
                    <a:pt x="76" y="0"/>
                    <a:pt x="49" y="0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40">
              <a:extLst>
                <a:ext uri="{FF2B5EF4-FFF2-40B4-BE49-F238E27FC236}">
                  <a16:creationId xmlns:a16="http://schemas.microsoft.com/office/drawing/2014/main" id="{EA1D02FF-B91F-42D6-B61D-2CCDDB50C31B}"/>
                </a:ext>
              </a:extLst>
            </p:cNvPr>
            <p:cNvSpPr>
              <a:spLocks/>
            </p:cNvSpPr>
            <p:nvPr/>
          </p:nvSpPr>
          <p:spPr bwMode="gray">
            <a:xfrm>
              <a:off x="9815513" y="5062538"/>
              <a:ext cx="290512" cy="131763"/>
            </a:xfrm>
            <a:custGeom>
              <a:avLst/>
              <a:gdLst>
                <a:gd name="T0" fmla="*/ 98 w 98"/>
                <a:gd name="T1" fmla="*/ 44 h 44"/>
                <a:gd name="T2" fmla="*/ 49 w 98"/>
                <a:gd name="T3" fmla="*/ 0 h 44"/>
                <a:gd name="T4" fmla="*/ 0 w 98"/>
                <a:gd name="T5" fmla="*/ 44 h 44"/>
                <a:gd name="T6" fmla="*/ 98 w 98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4">
                  <a:moveTo>
                    <a:pt x="98" y="44"/>
                  </a:moveTo>
                  <a:cubicBezTo>
                    <a:pt x="95" y="19"/>
                    <a:pt x="74" y="0"/>
                    <a:pt x="49" y="0"/>
                  </a:cubicBezTo>
                  <a:cubicBezTo>
                    <a:pt x="24" y="0"/>
                    <a:pt x="3" y="19"/>
                    <a:pt x="0" y="44"/>
                  </a:cubicBezTo>
                  <a:lnTo>
                    <a:pt x="98" y="4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41">
              <a:extLst>
                <a:ext uri="{FF2B5EF4-FFF2-40B4-BE49-F238E27FC236}">
                  <a16:creationId xmlns:a16="http://schemas.microsoft.com/office/drawing/2014/main" id="{C540EEF7-2BAE-4C7C-A9C9-21FDA938732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4463" y="3811588"/>
              <a:ext cx="311150" cy="314325"/>
            </a:xfrm>
            <a:custGeom>
              <a:avLst/>
              <a:gdLst>
                <a:gd name="T0" fmla="*/ 0 w 105"/>
                <a:gd name="T1" fmla="*/ 63 h 106"/>
                <a:gd name="T2" fmla="*/ 43 w 105"/>
                <a:gd name="T3" fmla="*/ 106 h 106"/>
                <a:gd name="T4" fmla="*/ 73 w 105"/>
                <a:gd name="T5" fmla="*/ 93 h 106"/>
                <a:gd name="T6" fmla="*/ 105 w 105"/>
                <a:gd name="T7" fmla="*/ 46 h 106"/>
                <a:gd name="T8" fmla="*/ 105 w 105"/>
                <a:gd name="T9" fmla="*/ 0 h 106"/>
                <a:gd name="T10" fmla="*/ 32 w 105"/>
                <a:gd name="T11" fmla="*/ 0 h 106"/>
                <a:gd name="T12" fmla="*/ 0 w 105"/>
                <a:gd name="T13" fmla="*/ 33 h 106"/>
                <a:gd name="T14" fmla="*/ 0 w 105"/>
                <a:gd name="T15" fmla="*/ 6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106">
                  <a:moveTo>
                    <a:pt x="0" y="63"/>
                  </a:moveTo>
                  <a:cubicBezTo>
                    <a:pt x="43" y="106"/>
                    <a:pt x="43" y="106"/>
                    <a:pt x="43" y="106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93" y="85"/>
                    <a:pt x="105" y="67"/>
                    <a:pt x="105" y="46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lnTo>
                    <a:pt x="0" y="63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42">
              <a:extLst>
                <a:ext uri="{FF2B5EF4-FFF2-40B4-BE49-F238E27FC236}">
                  <a16:creationId xmlns:a16="http://schemas.microsoft.com/office/drawing/2014/main" id="{3B06C6AA-1587-487B-96E5-58FCE78DBF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96538" y="3384550"/>
              <a:ext cx="287337" cy="635000"/>
            </a:xfrm>
            <a:custGeom>
              <a:avLst/>
              <a:gdLst>
                <a:gd name="T0" fmla="*/ 0 w 97"/>
                <a:gd name="T1" fmla="*/ 145 h 214"/>
                <a:gd name="T2" fmla="*/ 0 w 97"/>
                <a:gd name="T3" fmla="*/ 49 h 214"/>
                <a:gd name="T4" fmla="*/ 49 w 97"/>
                <a:gd name="T5" fmla="*/ 0 h 214"/>
                <a:gd name="T6" fmla="*/ 49 w 97"/>
                <a:gd name="T7" fmla="*/ 0 h 214"/>
                <a:gd name="T8" fmla="*/ 97 w 97"/>
                <a:gd name="T9" fmla="*/ 49 h 214"/>
                <a:gd name="T10" fmla="*/ 97 w 97"/>
                <a:gd name="T11" fmla="*/ 214 h 214"/>
                <a:gd name="T12" fmla="*/ 75 w 97"/>
                <a:gd name="T13" fmla="*/ 214 h 214"/>
                <a:gd name="T14" fmla="*/ 0 w 97"/>
                <a:gd name="T15" fmla="*/ 145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214">
                  <a:moveTo>
                    <a:pt x="0" y="145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76" y="0"/>
                    <a:pt x="97" y="22"/>
                    <a:pt x="97" y="49"/>
                  </a:cubicBezTo>
                  <a:cubicBezTo>
                    <a:pt x="97" y="214"/>
                    <a:pt x="97" y="214"/>
                    <a:pt x="97" y="214"/>
                  </a:cubicBezTo>
                  <a:cubicBezTo>
                    <a:pt x="75" y="214"/>
                    <a:pt x="75" y="214"/>
                    <a:pt x="75" y="214"/>
                  </a:cubicBezTo>
                  <a:cubicBezTo>
                    <a:pt x="66" y="178"/>
                    <a:pt x="37" y="151"/>
                    <a:pt x="0" y="145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Oval 43">
              <a:extLst>
                <a:ext uri="{FF2B5EF4-FFF2-40B4-BE49-F238E27FC236}">
                  <a16:creationId xmlns:a16="http://schemas.microsoft.com/office/drawing/2014/main" id="{C945D7F6-FDF2-465D-B240-6AADCE6C637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85338" y="2222500"/>
              <a:ext cx="20637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Oval 44">
              <a:extLst>
                <a:ext uri="{FF2B5EF4-FFF2-40B4-BE49-F238E27FC236}">
                  <a16:creationId xmlns:a16="http://schemas.microsoft.com/office/drawing/2014/main" id="{91CDB425-71F7-494E-94E0-E95AC91641F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85338" y="2339975"/>
              <a:ext cx="20637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Oval 45">
              <a:extLst>
                <a:ext uri="{FF2B5EF4-FFF2-40B4-BE49-F238E27FC236}">
                  <a16:creationId xmlns:a16="http://schemas.microsoft.com/office/drawing/2014/main" id="{92AC368E-7E49-450A-8A6F-352EAD73F1E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85338" y="2459038"/>
              <a:ext cx="20637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Oval 46">
              <a:extLst>
                <a:ext uri="{FF2B5EF4-FFF2-40B4-BE49-F238E27FC236}">
                  <a16:creationId xmlns:a16="http://schemas.microsoft.com/office/drawing/2014/main" id="{65A16081-94D0-4558-B5F3-2FCC3C9295C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50413" y="2222500"/>
              <a:ext cx="20637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Oval 47">
              <a:extLst>
                <a:ext uri="{FF2B5EF4-FFF2-40B4-BE49-F238E27FC236}">
                  <a16:creationId xmlns:a16="http://schemas.microsoft.com/office/drawing/2014/main" id="{281028B8-F291-4BCA-A38A-2B9DE97BA43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50413" y="2339975"/>
              <a:ext cx="20637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Oval 48">
              <a:extLst>
                <a:ext uri="{FF2B5EF4-FFF2-40B4-BE49-F238E27FC236}">
                  <a16:creationId xmlns:a16="http://schemas.microsoft.com/office/drawing/2014/main" id="{FAED78D0-549A-43B5-8ACE-8646C45ECB9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50413" y="2459038"/>
              <a:ext cx="20637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Oval 49">
              <a:extLst>
                <a:ext uri="{FF2B5EF4-FFF2-40B4-BE49-F238E27FC236}">
                  <a16:creationId xmlns:a16="http://schemas.microsoft.com/office/drawing/2014/main" id="{0E2ACE88-FFD3-4E8C-8A3A-62AA169189D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13900" y="2222500"/>
              <a:ext cx="20637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Oval 50">
              <a:extLst>
                <a:ext uri="{FF2B5EF4-FFF2-40B4-BE49-F238E27FC236}">
                  <a16:creationId xmlns:a16="http://schemas.microsoft.com/office/drawing/2014/main" id="{2C6FBF1D-1123-4E4A-9946-B5AC1366797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13900" y="2339975"/>
              <a:ext cx="20637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Oval 51">
              <a:extLst>
                <a:ext uri="{FF2B5EF4-FFF2-40B4-BE49-F238E27FC236}">
                  <a16:creationId xmlns:a16="http://schemas.microsoft.com/office/drawing/2014/main" id="{F9A56C7F-3B0E-493E-839F-89269743B6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13900" y="2459038"/>
              <a:ext cx="20637" cy="238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52">
              <a:extLst>
                <a:ext uri="{FF2B5EF4-FFF2-40B4-BE49-F238E27FC236}">
                  <a16:creationId xmlns:a16="http://schemas.microsoft.com/office/drawing/2014/main" id="{E6607A75-E1E8-463C-A9AC-5E263F57AA7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150" y="1246188"/>
              <a:ext cx="646112" cy="1598613"/>
            </a:xfrm>
            <a:custGeom>
              <a:avLst/>
              <a:gdLst>
                <a:gd name="T0" fmla="*/ 197 w 218"/>
                <a:gd name="T1" fmla="*/ 5 h 539"/>
                <a:gd name="T2" fmla="*/ 185 w 218"/>
                <a:gd name="T3" fmla="*/ 107 h 539"/>
                <a:gd name="T4" fmla="*/ 197 w 218"/>
                <a:gd name="T5" fmla="*/ 198 h 539"/>
                <a:gd name="T6" fmla="*/ 185 w 218"/>
                <a:gd name="T7" fmla="*/ 286 h 539"/>
                <a:gd name="T8" fmla="*/ 197 w 218"/>
                <a:gd name="T9" fmla="*/ 377 h 539"/>
                <a:gd name="T10" fmla="*/ 185 w 218"/>
                <a:gd name="T11" fmla="*/ 465 h 539"/>
                <a:gd name="T12" fmla="*/ 33 w 218"/>
                <a:gd name="T13" fmla="*/ 480 h 539"/>
                <a:gd name="T14" fmla="*/ 21 w 218"/>
                <a:gd name="T15" fmla="*/ 389 h 539"/>
                <a:gd name="T16" fmla="*/ 33 w 218"/>
                <a:gd name="T17" fmla="*/ 301 h 539"/>
                <a:gd name="T18" fmla="*/ 21 w 218"/>
                <a:gd name="T19" fmla="*/ 210 h 539"/>
                <a:gd name="T20" fmla="*/ 33 w 218"/>
                <a:gd name="T21" fmla="*/ 122 h 539"/>
                <a:gd name="T22" fmla="*/ 21 w 218"/>
                <a:gd name="T23" fmla="*/ 31 h 539"/>
                <a:gd name="T24" fmla="*/ 0 w 218"/>
                <a:gd name="T25" fmla="*/ 62 h 539"/>
                <a:gd name="T26" fmla="*/ 12 w 218"/>
                <a:gd name="T27" fmla="*/ 151 h 539"/>
                <a:gd name="T28" fmla="*/ 0 w 218"/>
                <a:gd name="T29" fmla="*/ 241 h 539"/>
                <a:gd name="T30" fmla="*/ 12 w 218"/>
                <a:gd name="T31" fmla="*/ 330 h 539"/>
                <a:gd name="T32" fmla="*/ 0 w 218"/>
                <a:gd name="T33" fmla="*/ 421 h 539"/>
                <a:gd name="T34" fmla="*/ 12 w 218"/>
                <a:gd name="T35" fmla="*/ 508 h 539"/>
                <a:gd name="T36" fmla="*/ 206 w 218"/>
                <a:gd name="T37" fmla="*/ 496 h 539"/>
                <a:gd name="T38" fmla="*/ 218 w 218"/>
                <a:gd name="T39" fmla="*/ 405 h 539"/>
                <a:gd name="T40" fmla="*/ 206 w 218"/>
                <a:gd name="T41" fmla="*/ 317 h 539"/>
                <a:gd name="T42" fmla="*/ 218 w 218"/>
                <a:gd name="T43" fmla="*/ 226 h 539"/>
                <a:gd name="T44" fmla="*/ 206 w 218"/>
                <a:gd name="T45" fmla="*/ 138 h 539"/>
                <a:gd name="T46" fmla="*/ 9 w 218"/>
                <a:gd name="T47" fmla="*/ 62 h 539"/>
                <a:gd name="T48" fmla="*/ 21 w 218"/>
                <a:gd name="T49" fmla="*/ 42 h 539"/>
                <a:gd name="T50" fmla="*/ 12 w 218"/>
                <a:gd name="T51" fmla="*/ 65 h 539"/>
                <a:gd name="T52" fmla="*/ 12 w 218"/>
                <a:gd name="T53" fmla="*/ 104 h 539"/>
                <a:gd name="T54" fmla="*/ 21 w 218"/>
                <a:gd name="T55" fmla="*/ 128 h 539"/>
                <a:gd name="T56" fmla="*/ 9 w 218"/>
                <a:gd name="T57" fmla="*/ 182 h 539"/>
                <a:gd name="T58" fmla="*/ 21 w 218"/>
                <a:gd name="T59" fmla="*/ 161 h 539"/>
                <a:gd name="T60" fmla="*/ 12 w 218"/>
                <a:gd name="T61" fmla="*/ 184 h 539"/>
                <a:gd name="T62" fmla="*/ 12 w 218"/>
                <a:gd name="T63" fmla="*/ 223 h 539"/>
                <a:gd name="T64" fmla="*/ 21 w 218"/>
                <a:gd name="T65" fmla="*/ 247 h 539"/>
                <a:gd name="T66" fmla="*/ 9 w 218"/>
                <a:gd name="T67" fmla="*/ 301 h 539"/>
                <a:gd name="T68" fmla="*/ 21 w 218"/>
                <a:gd name="T69" fmla="*/ 280 h 539"/>
                <a:gd name="T70" fmla="*/ 12 w 218"/>
                <a:gd name="T71" fmla="*/ 304 h 539"/>
                <a:gd name="T72" fmla="*/ 12 w 218"/>
                <a:gd name="T73" fmla="*/ 342 h 539"/>
                <a:gd name="T74" fmla="*/ 21 w 218"/>
                <a:gd name="T75" fmla="*/ 366 h 539"/>
                <a:gd name="T76" fmla="*/ 9 w 218"/>
                <a:gd name="T77" fmla="*/ 421 h 539"/>
                <a:gd name="T78" fmla="*/ 21 w 218"/>
                <a:gd name="T79" fmla="*/ 400 h 539"/>
                <a:gd name="T80" fmla="*/ 12 w 218"/>
                <a:gd name="T81" fmla="*/ 423 h 539"/>
                <a:gd name="T82" fmla="*/ 12 w 218"/>
                <a:gd name="T83" fmla="*/ 462 h 539"/>
                <a:gd name="T84" fmla="*/ 21 w 218"/>
                <a:gd name="T85" fmla="*/ 486 h 539"/>
                <a:gd name="T86" fmla="*/ 194 w 218"/>
                <a:gd name="T87" fmla="*/ 62 h 539"/>
                <a:gd name="T88" fmla="*/ 206 w 218"/>
                <a:gd name="T89" fmla="*/ 42 h 539"/>
                <a:gd name="T90" fmla="*/ 197 w 218"/>
                <a:gd name="T91" fmla="*/ 65 h 539"/>
                <a:gd name="T92" fmla="*/ 206 w 218"/>
                <a:gd name="T93" fmla="*/ 485 h 539"/>
                <a:gd name="T94" fmla="*/ 197 w 218"/>
                <a:gd name="T95" fmla="*/ 459 h 539"/>
                <a:gd name="T96" fmla="*/ 209 w 218"/>
                <a:gd name="T97" fmla="*/ 405 h 539"/>
                <a:gd name="T98" fmla="*/ 197 w 218"/>
                <a:gd name="T99" fmla="*/ 426 h 539"/>
                <a:gd name="T100" fmla="*/ 206 w 218"/>
                <a:gd name="T101" fmla="*/ 402 h 539"/>
                <a:gd name="T102" fmla="*/ 206 w 218"/>
                <a:gd name="T103" fmla="*/ 363 h 539"/>
                <a:gd name="T104" fmla="*/ 197 w 218"/>
                <a:gd name="T105" fmla="*/ 340 h 539"/>
                <a:gd name="T106" fmla="*/ 209 w 218"/>
                <a:gd name="T107" fmla="*/ 286 h 539"/>
                <a:gd name="T108" fmla="*/ 197 w 218"/>
                <a:gd name="T109" fmla="*/ 307 h 539"/>
                <a:gd name="T110" fmla="*/ 206 w 218"/>
                <a:gd name="T111" fmla="*/ 283 h 539"/>
                <a:gd name="T112" fmla="*/ 206 w 218"/>
                <a:gd name="T113" fmla="*/ 244 h 539"/>
                <a:gd name="T114" fmla="*/ 197 w 218"/>
                <a:gd name="T115" fmla="*/ 221 h 539"/>
                <a:gd name="T116" fmla="*/ 209 w 218"/>
                <a:gd name="T117" fmla="*/ 166 h 539"/>
                <a:gd name="T118" fmla="*/ 197 w 218"/>
                <a:gd name="T119" fmla="*/ 187 h 539"/>
                <a:gd name="T120" fmla="*/ 206 w 218"/>
                <a:gd name="T121" fmla="*/ 163 h 539"/>
                <a:gd name="T122" fmla="*/ 206 w 218"/>
                <a:gd name="T123" fmla="*/ 125 h 539"/>
                <a:gd name="T124" fmla="*/ 197 w 218"/>
                <a:gd name="T125" fmla="*/ 101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8" h="539">
                  <a:moveTo>
                    <a:pt x="218" y="62"/>
                  </a:moveTo>
                  <a:cubicBezTo>
                    <a:pt x="218" y="47"/>
                    <a:pt x="218" y="47"/>
                    <a:pt x="218" y="47"/>
                  </a:cubicBezTo>
                  <a:cubicBezTo>
                    <a:pt x="218" y="40"/>
                    <a:pt x="213" y="33"/>
                    <a:pt x="206" y="31"/>
                  </a:cubicBezTo>
                  <a:cubicBezTo>
                    <a:pt x="206" y="5"/>
                    <a:pt x="206" y="5"/>
                    <a:pt x="206" y="5"/>
                  </a:cubicBezTo>
                  <a:cubicBezTo>
                    <a:pt x="206" y="2"/>
                    <a:pt x="204" y="0"/>
                    <a:pt x="202" y="0"/>
                  </a:cubicBezTo>
                  <a:cubicBezTo>
                    <a:pt x="199" y="0"/>
                    <a:pt x="197" y="2"/>
                    <a:pt x="197" y="5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190" y="33"/>
                    <a:pt x="185" y="40"/>
                    <a:pt x="185" y="47"/>
                  </a:cubicBezTo>
                  <a:cubicBezTo>
                    <a:pt x="185" y="62"/>
                    <a:pt x="185" y="62"/>
                    <a:pt x="185" y="62"/>
                  </a:cubicBezTo>
                  <a:cubicBezTo>
                    <a:pt x="185" y="70"/>
                    <a:pt x="190" y="76"/>
                    <a:pt x="197" y="78"/>
                  </a:cubicBezTo>
                  <a:cubicBezTo>
                    <a:pt x="197" y="91"/>
                    <a:pt x="197" y="91"/>
                    <a:pt x="197" y="91"/>
                  </a:cubicBezTo>
                  <a:cubicBezTo>
                    <a:pt x="190" y="93"/>
                    <a:pt x="185" y="99"/>
                    <a:pt x="185" y="107"/>
                  </a:cubicBezTo>
                  <a:cubicBezTo>
                    <a:pt x="185" y="122"/>
                    <a:pt x="185" y="122"/>
                    <a:pt x="185" y="122"/>
                  </a:cubicBezTo>
                  <a:cubicBezTo>
                    <a:pt x="185" y="130"/>
                    <a:pt x="190" y="136"/>
                    <a:pt x="197" y="138"/>
                  </a:cubicBezTo>
                  <a:cubicBezTo>
                    <a:pt x="197" y="151"/>
                    <a:pt x="197" y="151"/>
                    <a:pt x="197" y="151"/>
                  </a:cubicBezTo>
                  <a:cubicBezTo>
                    <a:pt x="190" y="153"/>
                    <a:pt x="185" y="159"/>
                    <a:pt x="185" y="166"/>
                  </a:cubicBezTo>
                  <a:cubicBezTo>
                    <a:pt x="185" y="182"/>
                    <a:pt x="185" y="182"/>
                    <a:pt x="185" y="182"/>
                  </a:cubicBezTo>
                  <a:cubicBezTo>
                    <a:pt x="185" y="189"/>
                    <a:pt x="190" y="195"/>
                    <a:pt x="197" y="198"/>
                  </a:cubicBezTo>
                  <a:cubicBezTo>
                    <a:pt x="197" y="210"/>
                    <a:pt x="197" y="210"/>
                    <a:pt x="197" y="210"/>
                  </a:cubicBezTo>
                  <a:cubicBezTo>
                    <a:pt x="190" y="212"/>
                    <a:pt x="185" y="219"/>
                    <a:pt x="185" y="226"/>
                  </a:cubicBezTo>
                  <a:cubicBezTo>
                    <a:pt x="185" y="241"/>
                    <a:pt x="185" y="241"/>
                    <a:pt x="185" y="241"/>
                  </a:cubicBezTo>
                  <a:cubicBezTo>
                    <a:pt x="185" y="249"/>
                    <a:pt x="190" y="255"/>
                    <a:pt x="197" y="257"/>
                  </a:cubicBezTo>
                  <a:cubicBezTo>
                    <a:pt x="197" y="270"/>
                    <a:pt x="197" y="270"/>
                    <a:pt x="197" y="270"/>
                  </a:cubicBezTo>
                  <a:cubicBezTo>
                    <a:pt x="190" y="272"/>
                    <a:pt x="185" y="278"/>
                    <a:pt x="185" y="286"/>
                  </a:cubicBezTo>
                  <a:cubicBezTo>
                    <a:pt x="185" y="301"/>
                    <a:pt x="185" y="301"/>
                    <a:pt x="185" y="301"/>
                  </a:cubicBezTo>
                  <a:cubicBezTo>
                    <a:pt x="185" y="309"/>
                    <a:pt x="190" y="315"/>
                    <a:pt x="197" y="317"/>
                  </a:cubicBezTo>
                  <a:cubicBezTo>
                    <a:pt x="197" y="330"/>
                    <a:pt x="197" y="330"/>
                    <a:pt x="197" y="330"/>
                  </a:cubicBezTo>
                  <a:cubicBezTo>
                    <a:pt x="190" y="332"/>
                    <a:pt x="185" y="338"/>
                    <a:pt x="185" y="346"/>
                  </a:cubicBezTo>
                  <a:cubicBezTo>
                    <a:pt x="185" y="361"/>
                    <a:pt x="185" y="361"/>
                    <a:pt x="185" y="361"/>
                  </a:cubicBezTo>
                  <a:cubicBezTo>
                    <a:pt x="185" y="368"/>
                    <a:pt x="190" y="375"/>
                    <a:pt x="197" y="377"/>
                  </a:cubicBezTo>
                  <a:cubicBezTo>
                    <a:pt x="197" y="389"/>
                    <a:pt x="197" y="389"/>
                    <a:pt x="197" y="389"/>
                  </a:cubicBezTo>
                  <a:cubicBezTo>
                    <a:pt x="190" y="392"/>
                    <a:pt x="185" y="398"/>
                    <a:pt x="185" y="405"/>
                  </a:cubicBezTo>
                  <a:cubicBezTo>
                    <a:pt x="185" y="421"/>
                    <a:pt x="185" y="421"/>
                    <a:pt x="185" y="421"/>
                  </a:cubicBezTo>
                  <a:cubicBezTo>
                    <a:pt x="185" y="428"/>
                    <a:pt x="190" y="434"/>
                    <a:pt x="197" y="436"/>
                  </a:cubicBezTo>
                  <a:cubicBezTo>
                    <a:pt x="197" y="449"/>
                    <a:pt x="197" y="449"/>
                    <a:pt x="197" y="449"/>
                  </a:cubicBezTo>
                  <a:cubicBezTo>
                    <a:pt x="190" y="451"/>
                    <a:pt x="185" y="457"/>
                    <a:pt x="185" y="465"/>
                  </a:cubicBezTo>
                  <a:cubicBezTo>
                    <a:pt x="185" y="480"/>
                    <a:pt x="185" y="480"/>
                    <a:pt x="185" y="480"/>
                  </a:cubicBezTo>
                  <a:cubicBezTo>
                    <a:pt x="185" y="488"/>
                    <a:pt x="190" y="494"/>
                    <a:pt x="197" y="496"/>
                  </a:cubicBezTo>
                  <a:cubicBezTo>
                    <a:pt x="197" y="508"/>
                    <a:pt x="197" y="508"/>
                    <a:pt x="197" y="508"/>
                  </a:cubicBezTo>
                  <a:cubicBezTo>
                    <a:pt x="21" y="508"/>
                    <a:pt x="21" y="508"/>
                    <a:pt x="21" y="508"/>
                  </a:cubicBezTo>
                  <a:cubicBezTo>
                    <a:pt x="21" y="496"/>
                    <a:pt x="21" y="496"/>
                    <a:pt x="21" y="496"/>
                  </a:cubicBezTo>
                  <a:cubicBezTo>
                    <a:pt x="28" y="494"/>
                    <a:pt x="33" y="488"/>
                    <a:pt x="33" y="480"/>
                  </a:cubicBezTo>
                  <a:cubicBezTo>
                    <a:pt x="33" y="465"/>
                    <a:pt x="33" y="465"/>
                    <a:pt x="33" y="465"/>
                  </a:cubicBezTo>
                  <a:cubicBezTo>
                    <a:pt x="33" y="457"/>
                    <a:pt x="28" y="451"/>
                    <a:pt x="21" y="449"/>
                  </a:cubicBezTo>
                  <a:cubicBezTo>
                    <a:pt x="21" y="436"/>
                    <a:pt x="21" y="436"/>
                    <a:pt x="21" y="436"/>
                  </a:cubicBezTo>
                  <a:cubicBezTo>
                    <a:pt x="28" y="434"/>
                    <a:pt x="33" y="428"/>
                    <a:pt x="33" y="421"/>
                  </a:cubicBezTo>
                  <a:cubicBezTo>
                    <a:pt x="33" y="405"/>
                    <a:pt x="33" y="405"/>
                    <a:pt x="33" y="405"/>
                  </a:cubicBezTo>
                  <a:cubicBezTo>
                    <a:pt x="33" y="398"/>
                    <a:pt x="28" y="392"/>
                    <a:pt x="21" y="389"/>
                  </a:cubicBezTo>
                  <a:cubicBezTo>
                    <a:pt x="21" y="377"/>
                    <a:pt x="21" y="377"/>
                    <a:pt x="21" y="377"/>
                  </a:cubicBezTo>
                  <a:cubicBezTo>
                    <a:pt x="28" y="375"/>
                    <a:pt x="33" y="368"/>
                    <a:pt x="33" y="361"/>
                  </a:cubicBezTo>
                  <a:cubicBezTo>
                    <a:pt x="33" y="346"/>
                    <a:pt x="33" y="346"/>
                    <a:pt x="33" y="346"/>
                  </a:cubicBezTo>
                  <a:cubicBezTo>
                    <a:pt x="33" y="338"/>
                    <a:pt x="28" y="332"/>
                    <a:pt x="21" y="330"/>
                  </a:cubicBezTo>
                  <a:cubicBezTo>
                    <a:pt x="21" y="317"/>
                    <a:pt x="21" y="317"/>
                    <a:pt x="21" y="317"/>
                  </a:cubicBezTo>
                  <a:cubicBezTo>
                    <a:pt x="28" y="315"/>
                    <a:pt x="33" y="309"/>
                    <a:pt x="33" y="301"/>
                  </a:cubicBezTo>
                  <a:cubicBezTo>
                    <a:pt x="33" y="286"/>
                    <a:pt x="33" y="286"/>
                    <a:pt x="33" y="286"/>
                  </a:cubicBezTo>
                  <a:cubicBezTo>
                    <a:pt x="33" y="278"/>
                    <a:pt x="28" y="272"/>
                    <a:pt x="21" y="270"/>
                  </a:cubicBezTo>
                  <a:cubicBezTo>
                    <a:pt x="21" y="257"/>
                    <a:pt x="21" y="257"/>
                    <a:pt x="21" y="257"/>
                  </a:cubicBezTo>
                  <a:cubicBezTo>
                    <a:pt x="28" y="255"/>
                    <a:pt x="33" y="249"/>
                    <a:pt x="33" y="241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3" y="219"/>
                    <a:pt x="28" y="212"/>
                    <a:pt x="21" y="210"/>
                  </a:cubicBezTo>
                  <a:cubicBezTo>
                    <a:pt x="21" y="198"/>
                    <a:pt x="21" y="198"/>
                    <a:pt x="21" y="198"/>
                  </a:cubicBezTo>
                  <a:cubicBezTo>
                    <a:pt x="28" y="195"/>
                    <a:pt x="33" y="189"/>
                    <a:pt x="33" y="182"/>
                  </a:cubicBezTo>
                  <a:cubicBezTo>
                    <a:pt x="33" y="166"/>
                    <a:pt x="33" y="166"/>
                    <a:pt x="33" y="166"/>
                  </a:cubicBezTo>
                  <a:cubicBezTo>
                    <a:pt x="33" y="159"/>
                    <a:pt x="28" y="153"/>
                    <a:pt x="21" y="151"/>
                  </a:cubicBezTo>
                  <a:cubicBezTo>
                    <a:pt x="21" y="138"/>
                    <a:pt x="21" y="138"/>
                    <a:pt x="21" y="138"/>
                  </a:cubicBezTo>
                  <a:cubicBezTo>
                    <a:pt x="28" y="136"/>
                    <a:pt x="33" y="130"/>
                    <a:pt x="33" y="122"/>
                  </a:cubicBezTo>
                  <a:cubicBezTo>
                    <a:pt x="33" y="107"/>
                    <a:pt x="33" y="107"/>
                    <a:pt x="33" y="107"/>
                  </a:cubicBezTo>
                  <a:cubicBezTo>
                    <a:pt x="33" y="99"/>
                    <a:pt x="28" y="93"/>
                    <a:pt x="21" y="91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8" y="76"/>
                    <a:pt x="33" y="70"/>
                    <a:pt x="33" y="62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0"/>
                    <a:pt x="28" y="33"/>
                    <a:pt x="21" y="31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2"/>
                    <a:pt x="19" y="0"/>
                    <a:pt x="17" y="0"/>
                  </a:cubicBezTo>
                  <a:cubicBezTo>
                    <a:pt x="14" y="0"/>
                    <a:pt x="12" y="2"/>
                    <a:pt x="12" y="5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5" y="33"/>
                    <a:pt x="0" y="40"/>
                    <a:pt x="0" y="47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70"/>
                    <a:pt x="5" y="76"/>
                    <a:pt x="12" y="78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5" y="93"/>
                    <a:pt x="0" y="99"/>
                    <a:pt x="0" y="107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30"/>
                    <a:pt x="5" y="136"/>
                    <a:pt x="12" y="138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5" y="153"/>
                    <a:pt x="0" y="159"/>
                    <a:pt x="0" y="166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9"/>
                    <a:pt x="5" y="195"/>
                    <a:pt x="12" y="198"/>
                  </a:cubicBezTo>
                  <a:cubicBezTo>
                    <a:pt x="12" y="210"/>
                    <a:pt x="12" y="210"/>
                    <a:pt x="12" y="210"/>
                  </a:cubicBezTo>
                  <a:cubicBezTo>
                    <a:pt x="5" y="212"/>
                    <a:pt x="0" y="219"/>
                    <a:pt x="0" y="226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0" y="249"/>
                    <a:pt x="5" y="255"/>
                    <a:pt x="12" y="257"/>
                  </a:cubicBezTo>
                  <a:cubicBezTo>
                    <a:pt x="12" y="270"/>
                    <a:pt x="12" y="270"/>
                    <a:pt x="12" y="270"/>
                  </a:cubicBezTo>
                  <a:cubicBezTo>
                    <a:pt x="5" y="272"/>
                    <a:pt x="0" y="278"/>
                    <a:pt x="0" y="286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0" y="309"/>
                    <a:pt x="5" y="315"/>
                    <a:pt x="12" y="317"/>
                  </a:cubicBezTo>
                  <a:cubicBezTo>
                    <a:pt x="12" y="330"/>
                    <a:pt x="12" y="330"/>
                    <a:pt x="12" y="330"/>
                  </a:cubicBezTo>
                  <a:cubicBezTo>
                    <a:pt x="5" y="332"/>
                    <a:pt x="0" y="338"/>
                    <a:pt x="0" y="346"/>
                  </a:cubicBezTo>
                  <a:cubicBezTo>
                    <a:pt x="0" y="361"/>
                    <a:pt x="0" y="361"/>
                    <a:pt x="0" y="361"/>
                  </a:cubicBezTo>
                  <a:cubicBezTo>
                    <a:pt x="0" y="368"/>
                    <a:pt x="5" y="375"/>
                    <a:pt x="12" y="377"/>
                  </a:cubicBezTo>
                  <a:cubicBezTo>
                    <a:pt x="12" y="389"/>
                    <a:pt x="12" y="389"/>
                    <a:pt x="12" y="389"/>
                  </a:cubicBezTo>
                  <a:cubicBezTo>
                    <a:pt x="5" y="392"/>
                    <a:pt x="0" y="398"/>
                    <a:pt x="0" y="405"/>
                  </a:cubicBezTo>
                  <a:cubicBezTo>
                    <a:pt x="0" y="421"/>
                    <a:pt x="0" y="421"/>
                    <a:pt x="0" y="421"/>
                  </a:cubicBezTo>
                  <a:cubicBezTo>
                    <a:pt x="0" y="428"/>
                    <a:pt x="5" y="434"/>
                    <a:pt x="12" y="436"/>
                  </a:cubicBezTo>
                  <a:cubicBezTo>
                    <a:pt x="12" y="449"/>
                    <a:pt x="12" y="449"/>
                    <a:pt x="12" y="449"/>
                  </a:cubicBezTo>
                  <a:cubicBezTo>
                    <a:pt x="5" y="451"/>
                    <a:pt x="0" y="457"/>
                    <a:pt x="0" y="465"/>
                  </a:cubicBezTo>
                  <a:cubicBezTo>
                    <a:pt x="0" y="480"/>
                    <a:pt x="0" y="480"/>
                    <a:pt x="0" y="480"/>
                  </a:cubicBezTo>
                  <a:cubicBezTo>
                    <a:pt x="0" y="488"/>
                    <a:pt x="5" y="494"/>
                    <a:pt x="12" y="496"/>
                  </a:cubicBezTo>
                  <a:cubicBezTo>
                    <a:pt x="12" y="508"/>
                    <a:pt x="12" y="508"/>
                    <a:pt x="12" y="508"/>
                  </a:cubicBezTo>
                  <a:cubicBezTo>
                    <a:pt x="0" y="508"/>
                    <a:pt x="0" y="508"/>
                    <a:pt x="0" y="508"/>
                  </a:cubicBezTo>
                  <a:cubicBezTo>
                    <a:pt x="0" y="539"/>
                    <a:pt x="0" y="539"/>
                    <a:pt x="0" y="539"/>
                  </a:cubicBezTo>
                  <a:cubicBezTo>
                    <a:pt x="218" y="539"/>
                    <a:pt x="218" y="539"/>
                    <a:pt x="218" y="539"/>
                  </a:cubicBezTo>
                  <a:cubicBezTo>
                    <a:pt x="218" y="508"/>
                    <a:pt x="218" y="508"/>
                    <a:pt x="218" y="508"/>
                  </a:cubicBezTo>
                  <a:cubicBezTo>
                    <a:pt x="206" y="508"/>
                    <a:pt x="206" y="508"/>
                    <a:pt x="206" y="508"/>
                  </a:cubicBezTo>
                  <a:cubicBezTo>
                    <a:pt x="206" y="496"/>
                    <a:pt x="206" y="496"/>
                    <a:pt x="206" y="496"/>
                  </a:cubicBezTo>
                  <a:cubicBezTo>
                    <a:pt x="213" y="494"/>
                    <a:pt x="218" y="488"/>
                    <a:pt x="218" y="480"/>
                  </a:cubicBezTo>
                  <a:cubicBezTo>
                    <a:pt x="218" y="465"/>
                    <a:pt x="218" y="465"/>
                    <a:pt x="218" y="465"/>
                  </a:cubicBezTo>
                  <a:cubicBezTo>
                    <a:pt x="218" y="457"/>
                    <a:pt x="213" y="451"/>
                    <a:pt x="206" y="449"/>
                  </a:cubicBezTo>
                  <a:cubicBezTo>
                    <a:pt x="206" y="436"/>
                    <a:pt x="206" y="436"/>
                    <a:pt x="206" y="436"/>
                  </a:cubicBezTo>
                  <a:cubicBezTo>
                    <a:pt x="213" y="434"/>
                    <a:pt x="218" y="428"/>
                    <a:pt x="218" y="421"/>
                  </a:cubicBezTo>
                  <a:cubicBezTo>
                    <a:pt x="218" y="405"/>
                    <a:pt x="218" y="405"/>
                    <a:pt x="218" y="405"/>
                  </a:cubicBezTo>
                  <a:cubicBezTo>
                    <a:pt x="218" y="398"/>
                    <a:pt x="213" y="392"/>
                    <a:pt x="206" y="389"/>
                  </a:cubicBezTo>
                  <a:cubicBezTo>
                    <a:pt x="206" y="377"/>
                    <a:pt x="206" y="377"/>
                    <a:pt x="206" y="377"/>
                  </a:cubicBezTo>
                  <a:cubicBezTo>
                    <a:pt x="213" y="375"/>
                    <a:pt x="218" y="368"/>
                    <a:pt x="218" y="361"/>
                  </a:cubicBezTo>
                  <a:cubicBezTo>
                    <a:pt x="218" y="346"/>
                    <a:pt x="218" y="346"/>
                    <a:pt x="218" y="346"/>
                  </a:cubicBezTo>
                  <a:cubicBezTo>
                    <a:pt x="218" y="338"/>
                    <a:pt x="213" y="332"/>
                    <a:pt x="206" y="330"/>
                  </a:cubicBezTo>
                  <a:cubicBezTo>
                    <a:pt x="206" y="317"/>
                    <a:pt x="206" y="317"/>
                    <a:pt x="206" y="317"/>
                  </a:cubicBezTo>
                  <a:cubicBezTo>
                    <a:pt x="213" y="315"/>
                    <a:pt x="218" y="309"/>
                    <a:pt x="218" y="301"/>
                  </a:cubicBezTo>
                  <a:cubicBezTo>
                    <a:pt x="218" y="286"/>
                    <a:pt x="218" y="286"/>
                    <a:pt x="218" y="286"/>
                  </a:cubicBezTo>
                  <a:cubicBezTo>
                    <a:pt x="218" y="278"/>
                    <a:pt x="213" y="272"/>
                    <a:pt x="206" y="270"/>
                  </a:cubicBezTo>
                  <a:cubicBezTo>
                    <a:pt x="206" y="257"/>
                    <a:pt x="206" y="257"/>
                    <a:pt x="206" y="257"/>
                  </a:cubicBezTo>
                  <a:cubicBezTo>
                    <a:pt x="213" y="255"/>
                    <a:pt x="218" y="249"/>
                    <a:pt x="218" y="241"/>
                  </a:cubicBezTo>
                  <a:cubicBezTo>
                    <a:pt x="218" y="226"/>
                    <a:pt x="218" y="226"/>
                    <a:pt x="218" y="226"/>
                  </a:cubicBezTo>
                  <a:cubicBezTo>
                    <a:pt x="218" y="219"/>
                    <a:pt x="213" y="212"/>
                    <a:pt x="206" y="210"/>
                  </a:cubicBezTo>
                  <a:cubicBezTo>
                    <a:pt x="206" y="198"/>
                    <a:pt x="206" y="198"/>
                    <a:pt x="206" y="198"/>
                  </a:cubicBezTo>
                  <a:cubicBezTo>
                    <a:pt x="213" y="195"/>
                    <a:pt x="218" y="189"/>
                    <a:pt x="218" y="182"/>
                  </a:cubicBezTo>
                  <a:cubicBezTo>
                    <a:pt x="218" y="166"/>
                    <a:pt x="218" y="166"/>
                    <a:pt x="218" y="166"/>
                  </a:cubicBezTo>
                  <a:cubicBezTo>
                    <a:pt x="218" y="159"/>
                    <a:pt x="213" y="153"/>
                    <a:pt x="206" y="151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3" y="136"/>
                    <a:pt x="218" y="130"/>
                    <a:pt x="218" y="122"/>
                  </a:cubicBezTo>
                  <a:cubicBezTo>
                    <a:pt x="218" y="107"/>
                    <a:pt x="218" y="107"/>
                    <a:pt x="218" y="107"/>
                  </a:cubicBezTo>
                  <a:cubicBezTo>
                    <a:pt x="218" y="99"/>
                    <a:pt x="213" y="93"/>
                    <a:pt x="206" y="91"/>
                  </a:cubicBezTo>
                  <a:cubicBezTo>
                    <a:pt x="206" y="78"/>
                    <a:pt x="206" y="78"/>
                    <a:pt x="206" y="78"/>
                  </a:cubicBezTo>
                  <a:cubicBezTo>
                    <a:pt x="213" y="76"/>
                    <a:pt x="218" y="70"/>
                    <a:pt x="218" y="62"/>
                  </a:cubicBezTo>
                  <a:close/>
                  <a:moveTo>
                    <a:pt x="9" y="62"/>
                  </a:moveTo>
                  <a:cubicBezTo>
                    <a:pt x="9" y="47"/>
                    <a:pt x="9" y="47"/>
                    <a:pt x="9" y="47"/>
                  </a:cubicBezTo>
                  <a:cubicBezTo>
                    <a:pt x="9" y="45"/>
                    <a:pt x="10" y="43"/>
                    <a:pt x="12" y="42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14" y="49"/>
                    <a:pt x="17" y="49"/>
                  </a:cubicBezTo>
                  <a:cubicBezTo>
                    <a:pt x="19" y="49"/>
                    <a:pt x="21" y="47"/>
                    <a:pt x="21" y="44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3" y="43"/>
                    <a:pt x="24" y="45"/>
                    <a:pt x="24" y="47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5"/>
                    <a:pt x="23" y="67"/>
                    <a:pt x="21" y="68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1" y="62"/>
                    <a:pt x="19" y="60"/>
                    <a:pt x="17" y="60"/>
                  </a:cubicBezTo>
                  <a:cubicBezTo>
                    <a:pt x="14" y="60"/>
                    <a:pt x="12" y="62"/>
                    <a:pt x="12" y="65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0" y="67"/>
                    <a:pt x="9" y="65"/>
                    <a:pt x="9" y="62"/>
                  </a:cubicBezTo>
                  <a:close/>
                  <a:moveTo>
                    <a:pt x="9" y="122"/>
                  </a:moveTo>
                  <a:cubicBezTo>
                    <a:pt x="9" y="107"/>
                    <a:pt x="9" y="107"/>
                    <a:pt x="9" y="107"/>
                  </a:cubicBezTo>
                  <a:cubicBezTo>
                    <a:pt x="9" y="105"/>
                    <a:pt x="10" y="103"/>
                    <a:pt x="12" y="10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2" y="106"/>
                    <a:pt x="14" y="108"/>
                    <a:pt x="17" y="108"/>
                  </a:cubicBezTo>
                  <a:cubicBezTo>
                    <a:pt x="19" y="108"/>
                    <a:pt x="21" y="106"/>
                    <a:pt x="21" y="104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23" y="103"/>
                    <a:pt x="24" y="105"/>
                    <a:pt x="24" y="107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24" y="124"/>
                    <a:pt x="23" y="126"/>
                    <a:pt x="21" y="128"/>
                  </a:cubicBezTo>
                  <a:cubicBezTo>
                    <a:pt x="21" y="125"/>
                    <a:pt x="21" y="125"/>
                    <a:pt x="21" y="125"/>
                  </a:cubicBezTo>
                  <a:cubicBezTo>
                    <a:pt x="21" y="122"/>
                    <a:pt x="19" y="120"/>
                    <a:pt x="17" y="120"/>
                  </a:cubicBezTo>
                  <a:cubicBezTo>
                    <a:pt x="14" y="120"/>
                    <a:pt x="12" y="122"/>
                    <a:pt x="12" y="125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0" y="126"/>
                    <a:pt x="9" y="124"/>
                    <a:pt x="9" y="122"/>
                  </a:cubicBezTo>
                  <a:close/>
                  <a:moveTo>
                    <a:pt x="9" y="182"/>
                  </a:moveTo>
                  <a:cubicBezTo>
                    <a:pt x="9" y="166"/>
                    <a:pt x="9" y="166"/>
                    <a:pt x="9" y="166"/>
                  </a:cubicBezTo>
                  <a:cubicBezTo>
                    <a:pt x="9" y="164"/>
                    <a:pt x="10" y="162"/>
                    <a:pt x="12" y="161"/>
                  </a:cubicBezTo>
                  <a:cubicBezTo>
                    <a:pt x="12" y="163"/>
                    <a:pt x="12" y="163"/>
                    <a:pt x="12" y="163"/>
                  </a:cubicBezTo>
                  <a:cubicBezTo>
                    <a:pt x="12" y="166"/>
                    <a:pt x="14" y="168"/>
                    <a:pt x="17" y="168"/>
                  </a:cubicBezTo>
                  <a:cubicBezTo>
                    <a:pt x="19" y="168"/>
                    <a:pt x="21" y="166"/>
                    <a:pt x="21" y="163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3" y="162"/>
                    <a:pt x="24" y="164"/>
                    <a:pt x="24" y="166"/>
                  </a:cubicBezTo>
                  <a:cubicBezTo>
                    <a:pt x="24" y="182"/>
                    <a:pt x="24" y="182"/>
                    <a:pt x="24" y="182"/>
                  </a:cubicBezTo>
                  <a:cubicBezTo>
                    <a:pt x="24" y="184"/>
                    <a:pt x="23" y="186"/>
                    <a:pt x="21" y="187"/>
                  </a:cubicBezTo>
                  <a:cubicBezTo>
                    <a:pt x="21" y="184"/>
                    <a:pt x="21" y="184"/>
                    <a:pt x="21" y="184"/>
                  </a:cubicBezTo>
                  <a:cubicBezTo>
                    <a:pt x="21" y="182"/>
                    <a:pt x="19" y="179"/>
                    <a:pt x="17" y="179"/>
                  </a:cubicBezTo>
                  <a:cubicBezTo>
                    <a:pt x="14" y="179"/>
                    <a:pt x="12" y="182"/>
                    <a:pt x="12" y="184"/>
                  </a:cubicBezTo>
                  <a:cubicBezTo>
                    <a:pt x="12" y="187"/>
                    <a:pt x="12" y="187"/>
                    <a:pt x="12" y="187"/>
                  </a:cubicBezTo>
                  <a:cubicBezTo>
                    <a:pt x="10" y="186"/>
                    <a:pt x="9" y="184"/>
                    <a:pt x="9" y="182"/>
                  </a:cubicBezTo>
                  <a:close/>
                  <a:moveTo>
                    <a:pt x="9" y="241"/>
                  </a:moveTo>
                  <a:cubicBezTo>
                    <a:pt x="9" y="226"/>
                    <a:pt x="9" y="226"/>
                    <a:pt x="9" y="226"/>
                  </a:cubicBezTo>
                  <a:cubicBezTo>
                    <a:pt x="9" y="224"/>
                    <a:pt x="10" y="222"/>
                    <a:pt x="12" y="221"/>
                  </a:cubicBezTo>
                  <a:cubicBezTo>
                    <a:pt x="12" y="223"/>
                    <a:pt x="12" y="223"/>
                    <a:pt x="12" y="223"/>
                  </a:cubicBezTo>
                  <a:cubicBezTo>
                    <a:pt x="12" y="226"/>
                    <a:pt x="14" y="228"/>
                    <a:pt x="17" y="228"/>
                  </a:cubicBezTo>
                  <a:cubicBezTo>
                    <a:pt x="19" y="228"/>
                    <a:pt x="21" y="226"/>
                    <a:pt x="21" y="223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23" y="222"/>
                    <a:pt x="24" y="224"/>
                    <a:pt x="24" y="226"/>
                  </a:cubicBezTo>
                  <a:cubicBezTo>
                    <a:pt x="24" y="241"/>
                    <a:pt x="24" y="241"/>
                    <a:pt x="24" y="241"/>
                  </a:cubicBezTo>
                  <a:cubicBezTo>
                    <a:pt x="24" y="244"/>
                    <a:pt x="23" y="246"/>
                    <a:pt x="21" y="247"/>
                  </a:cubicBezTo>
                  <a:cubicBezTo>
                    <a:pt x="21" y="244"/>
                    <a:pt x="21" y="244"/>
                    <a:pt x="21" y="244"/>
                  </a:cubicBezTo>
                  <a:cubicBezTo>
                    <a:pt x="21" y="241"/>
                    <a:pt x="19" y="239"/>
                    <a:pt x="17" y="239"/>
                  </a:cubicBezTo>
                  <a:cubicBezTo>
                    <a:pt x="14" y="239"/>
                    <a:pt x="12" y="241"/>
                    <a:pt x="12" y="244"/>
                  </a:cubicBezTo>
                  <a:cubicBezTo>
                    <a:pt x="12" y="247"/>
                    <a:pt x="12" y="247"/>
                    <a:pt x="12" y="247"/>
                  </a:cubicBezTo>
                  <a:cubicBezTo>
                    <a:pt x="10" y="246"/>
                    <a:pt x="9" y="244"/>
                    <a:pt x="9" y="241"/>
                  </a:cubicBezTo>
                  <a:close/>
                  <a:moveTo>
                    <a:pt x="9" y="301"/>
                  </a:moveTo>
                  <a:cubicBezTo>
                    <a:pt x="9" y="286"/>
                    <a:pt x="9" y="286"/>
                    <a:pt x="9" y="286"/>
                  </a:cubicBezTo>
                  <a:cubicBezTo>
                    <a:pt x="9" y="284"/>
                    <a:pt x="10" y="282"/>
                    <a:pt x="12" y="280"/>
                  </a:cubicBezTo>
                  <a:cubicBezTo>
                    <a:pt x="12" y="283"/>
                    <a:pt x="12" y="283"/>
                    <a:pt x="12" y="283"/>
                  </a:cubicBezTo>
                  <a:cubicBezTo>
                    <a:pt x="12" y="285"/>
                    <a:pt x="14" y="288"/>
                    <a:pt x="17" y="288"/>
                  </a:cubicBezTo>
                  <a:cubicBezTo>
                    <a:pt x="19" y="288"/>
                    <a:pt x="21" y="285"/>
                    <a:pt x="21" y="283"/>
                  </a:cubicBezTo>
                  <a:cubicBezTo>
                    <a:pt x="21" y="280"/>
                    <a:pt x="21" y="280"/>
                    <a:pt x="21" y="280"/>
                  </a:cubicBezTo>
                  <a:cubicBezTo>
                    <a:pt x="23" y="282"/>
                    <a:pt x="24" y="284"/>
                    <a:pt x="24" y="286"/>
                  </a:cubicBezTo>
                  <a:cubicBezTo>
                    <a:pt x="24" y="301"/>
                    <a:pt x="24" y="301"/>
                    <a:pt x="24" y="301"/>
                  </a:cubicBezTo>
                  <a:cubicBezTo>
                    <a:pt x="24" y="303"/>
                    <a:pt x="23" y="305"/>
                    <a:pt x="21" y="307"/>
                  </a:cubicBezTo>
                  <a:cubicBezTo>
                    <a:pt x="21" y="304"/>
                    <a:pt x="21" y="304"/>
                    <a:pt x="21" y="304"/>
                  </a:cubicBezTo>
                  <a:cubicBezTo>
                    <a:pt x="21" y="301"/>
                    <a:pt x="19" y="299"/>
                    <a:pt x="17" y="299"/>
                  </a:cubicBezTo>
                  <a:cubicBezTo>
                    <a:pt x="14" y="299"/>
                    <a:pt x="12" y="301"/>
                    <a:pt x="12" y="304"/>
                  </a:cubicBezTo>
                  <a:cubicBezTo>
                    <a:pt x="12" y="307"/>
                    <a:pt x="12" y="307"/>
                    <a:pt x="12" y="307"/>
                  </a:cubicBezTo>
                  <a:cubicBezTo>
                    <a:pt x="10" y="305"/>
                    <a:pt x="9" y="303"/>
                    <a:pt x="9" y="301"/>
                  </a:cubicBezTo>
                  <a:close/>
                  <a:moveTo>
                    <a:pt x="9" y="361"/>
                  </a:moveTo>
                  <a:cubicBezTo>
                    <a:pt x="9" y="346"/>
                    <a:pt x="9" y="346"/>
                    <a:pt x="9" y="346"/>
                  </a:cubicBezTo>
                  <a:cubicBezTo>
                    <a:pt x="9" y="343"/>
                    <a:pt x="10" y="341"/>
                    <a:pt x="12" y="340"/>
                  </a:cubicBezTo>
                  <a:cubicBezTo>
                    <a:pt x="12" y="342"/>
                    <a:pt x="12" y="342"/>
                    <a:pt x="12" y="342"/>
                  </a:cubicBezTo>
                  <a:cubicBezTo>
                    <a:pt x="12" y="345"/>
                    <a:pt x="14" y="347"/>
                    <a:pt x="17" y="347"/>
                  </a:cubicBezTo>
                  <a:cubicBezTo>
                    <a:pt x="19" y="347"/>
                    <a:pt x="21" y="345"/>
                    <a:pt x="21" y="342"/>
                  </a:cubicBezTo>
                  <a:cubicBezTo>
                    <a:pt x="21" y="340"/>
                    <a:pt x="21" y="340"/>
                    <a:pt x="21" y="340"/>
                  </a:cubicBezTo>
                  <a:cubicBezTo>
                    <a:pt x="23" y="341"/>
                    <a:pt x="24" y="343"/>
                    <a:pt x="24" y="346"/>
                  </a:cubicBezTo>
                  <a:cubicBezTo>
                    <a:pt x="24" y="361"/>
                    <a:pt x="24" y="361"/>
                    <a:pt x="24" y="361"/>
                  </a:cubicBezTo>
                  <a:cubicBezTo>
                    <a:pt x="24" y="363"/>
                    <a:pt x="23" y="365"/>
                    <a:pt x="21" y="366"/>
                  </a:cubicBezTo>
                  <a:cubicBezTo>
                    <a:pt x="21" y="363"/>
                    <a:pt x="21" y="363"/>
                    <a:pt x="21" y="363"/>
                  </a:cubicBezTo>
                  <a:cubicBezTo>
                    <a:pt x="21" y="361"/>
                    <a:pt x="19" y="359"/>
                    <a:pt x="17" y="359"/>
                  </a:cubicBezTo>
                  <a:cubicBezTo>
                    <a:pt x="14" y="359"/>
                    <a:pt x="12" y="361"/>
                    <a:pt x="12" y="363"/>
                  </a:cubicBezTo>
                  <a:cubicBezTo>
                    <a:pt x="12" y="366"/>
                    <a:pt x="12" y="366"/>
                    <a:pt x="12" y="366"/>
                  </a:cubicBezTo>
                  <a:cubicBezTo>
                    <a:pt x="10" y="365"/>
                    <a:pt x="9" y="363"/>
                    <a:pt x="9" y="361"/>
                  </a:cubicBezTo>
                  <a:close/>
                  <a:moveTo>
                    <a:pt x="9" y="421"/>
                  </a:moveTo>
                  <a:cubicBezTo>
                    <a:pt x="9" y="405"/>
                    <a:pt x="9" y="405"/>
                    <a:pt x="9" y="405"/>
                  </a:cubicBezTo>
                  <a:cubicBezTo>
                    <a:pt x="9" y="403"/>
                    <a:pt x="10" y="401"/>
                    <a:pt x="12" y="400"/>
                  </a:cubicBezTo>
                  <a:cubicBezTo>
                    <a:pt x="12" y="402"/>
                    <a:pt x="12" y="402"/>
                    <a:pt x="12" y="402"/>
                  </a:cubicBezTo>
                  <a:cubicBezTo>
                    <a:pt x="12" y="405"/>
                    <a:pt x="14" y="407"/>
                    <a:pt x="17" y="407"/>
                  </a:cubicBezTo>
                  <a:cubicBezTo>
                    <a:pt x="19" y="407"/>
                    <a:pt x="21" y="405"/>
                    <a:pt x="21" y="402"/>
                  </a:cubicBezTo>
                  <a:cubicBezTo>
                    <a:pt x="21" y="400"/>
                    <a:pt x="21" y="400"/>
                    <a:pt x="21" y="400"/>
                  </a:cubicBezTo>
                  <a:cubicBezTo>
                    <a:pt x="23" y="401"/>
                    <a:pt x="24" y="403"/>
                    <a:pt x="24" y="405"/>
                  </a:cubicBezTo>
                  <a:cubicBezTo>
                    <a:pt x="24" y="421"/>
                    <a:pt x="24" y="421"/>
                    <a:pt x="24" y="421"/>
                  </a:cubicBezTo>
                  <a:cubicBezTo>
                    <a:pt x="24" y="423"/>
                    <a:pt x="23" y="425"/>
                    <a:pt x="21" y="426"/>
                  </a:cubicBezTo>
                  <a:cubicBezTo>
                    <a:pt x="21" y="423"/>
                    <a:pt x="21" y="423"/>
                    <a:pt x="21" y="423"/>
                  </a:cubicBezTo>
                  <a:cubicBezTo>
                    <a:pt x="21" y="420"/>
                    <a:pt x="19" y="418"/>
                    <a:pt x="17" y="418"/>
                  </a:cubicBezTo>
                  <a:cubicBezTo>
                    <a:pt x="14" y="418"/>
                    <a:pt x="12" y="420"/>
                    <a:pt x="12" y="423"/>
                  </a:cubicBezTo>
                  <a:cubicBezTo>
                    <a:pt x="12" y="426"/>
                    <a:pt x="12" y="426"/>
                    <a:pt x="12" y="426"/>
                  </a:cubicBezTo>
                  <a:cubicBezTo>
                    <a:pt x="10" y="425"/>
                    <a:pt x="9" y="423"/>
                    <a:pt x="9" y="421"/>
                  </a:cubicBezTo>
                  <a:close/>
                  <a:moveTo>
                    <a:pt x="9" y="480"/>
                  </a:moveTo>
                  <a:cubicBezTo>
                    <a:pt x="9" y="465"/>
                    <a:pt x="9" y="465"/>
                    <a:pt x="9" y="465"/>
                  </a:cubicBezTo>
                  <a:cubicBezTo>
                    <a:pt x="9" y="463"/>
                    <a:pt x="10" y="461"/>
                    <a:pt x="12" y="459"/>
                  </a:cubicBezTo>
                  <a:cubicBezTo>
                    <a:pt x="12" y="462"/>
                    <a:pt x="12" y="462"/>
                    <a:pt x="12" y="462"/>
                  </a:cubicBezTo>
                  <a:cubicBezTo>
                    <a:pt x="12" y="465"/>
                    <a:pt x="14" y="467"/>
                    <a:pt x="17" y="467"/>
                  </a:cubicBezTo>
                  <a:cubicBezTo>
                    <a:pt x="19" y="467"/>
                    <a:pt x="21" y="465"/>
                    <a:pt x="21" y="462"/>
                  </a:cubicBezTo>
                  <a:cubicBezTo>
                    <a:pt x="21" y="459"/>
                    <a:pt x="21" y="459"/>
                    <a:pt x="21" y="459"/>
                  </a:cubicBezTo>
                  <a:cubicBezTo>
                    <a:pt x="23" y="461"/>
                    <a:pt x="24" y="463"/>
                    <a:pt x="24" y="465"/>
                  </a:cubicBezTo>
                  <a:cubicBezTo>
                    <a:pt x="24" y="480"/>
                    <a:pt x="24" y="480"/>
                    <a:pt x="24" y="480"/>
                  </a:cubicBezTo>
                  <a:cubicBezTo>
                    <a:pt x="24" y="482"/>
                    <a:pt x="23" y="484"/>
                    <a:pt x="21" y="486"/>
                  </a:cubicBezTo>
                  <a:cubicBezTo>
                    <a:pt x="21" y="485"/>
                    <a:pt x="21" y="485"/>
                    <a:pt x="21" y="485"/>
                  </a:cubicBezTo>
                  <a:cubicBezTo>
                    <a:pt x="21" y="483"/>
                    <a:pt x="19" y="481"/>
                    <a:pt x="17" y="481"/>
                  </a:cubicBezTo>
                  <a:cubicBezTo>
                    <a:pt x="14" y="481"/>
                    <a:pt x="12" y="483"/>
                    <a:pt x="12" y="485"/>
                  </a:cubicBezTo>
                  <a:cubicBezTo>
                    <a:pt x="12" y="486"/>
                    <a:pt x="12" y="486"/>
                    <a:pt x="12" y="486"/>
                  </a:cubicBezTo>
                  <a:cubicBezTo>
                    <a:pt x="10" y="484"/>
                    <a:pt x="9" y="482"/>
                    <a:pt x="9" y="480"/>
                  </a:cubicBezTo>
                  <a:close/>
                  <a:moveTo>
                    <a:pt x="194" y="62"/>
                  </a:moveTo>
                  <a:cubicBezTo>
                    <a:pt x="194" y="47"/>
                    <a:pt x="194" y="47"/>
                    <a:pt x="194" y="47"/>
                  </a:cubicBezTo>
                  <a:cubicBezTo>
                    <a:pt x="194" y="45"/>
                    <a:pt x="195" y="43"/>
                    <a:pt x="197" y="42"/>
                  </a:cubicBezTo>
                  <a:cubicBezTo>
                    <a:pt x="197" y="44"/>
                    <a:pt x="197" y="44"/>
                    <a:pt x="197" y="44"/>
                  </a:cubicBezTo>
                  <a:cubicBezTo>
                    <a:pt x="197" y="47"/>
                    <a:pt x="199" y="49"/>
                    <a:pt x="202" y="49"/>
                  </a:cubicBezTo>
                  <a:cubicBezTo>
                    <a:pt x="204" y="49"/>
                    <a:pt x="206" y="47"/>
                    <a:pt x="206" y="44"/>
                  </a:cubicBezTo>
                  <a:cubicBezTo>
                    <a:pt x="206" y="42"/>
                    <a:pt x="206" y="42"/>
                    <a:pt x="206" y="42"/>
                  </a:cubicBezTo>
                  <a:cubicBezTo>
                    <a:pt x="208" y="43"/>
                    <a:pt x="209" y="45"/>
                    <a:pt x="209" y="47"/>
                  </a:cubicBezTo>
                  <a:cubicBezTo>
                    <a:pt x="209" y="62"/>
                    <a:pt x="209" y="62"/>
                    <a:pt x="209" y="62"/>
                  </a:cubicBezTo>
                  <a:cubicBezTo>
                    <a:pt x="209" y="65"/>
                    <a:pt x="208" y="67"/>
                    <a:pt x="206" y="68"/>
                  </a:cubicBezTo>
                  <a:cubicBezTo>
                    <a:pt x="206" y="65"/>
                    <a:pt x="206" y="65"/>
                    <a:pt x="206" y="65"/>
                  </a:cubicBezTo>
                  <a:cubicBezTo>
                    <a:pt x="206" y="62"/>
                    <a:pt x="204" y="60"/>
                    <a:pt x="202" y="60"/>
                  </a:cubicBezTo>
                  <a:cubicBezTo>
                    <a:pt x="199" y="60"/>
                    <a:pt x="197" y="62"/>
                    <a:pt x="197" y="65"/>
                  </a:cubicBezTo>
                  <a:cubicBezTo>
                    <a:pt x="197" y="68"/>
                    <a:pt x="197" y="68"/>
                    <a:pt x="197" y="68"/>
                  </a:cubicBezTo>
                  <a:cubicBezTo>
                    <a:pt x="195" y="67"/>
                    <a:pt x="194" y="65"/>
                    <a:pt x="194" y="62"/>
                  </a:cubicBezTo>
                  <a:close/>
                  <a:moveTo>
                    <a:pt x="209" y="465"/>
                  </a:moveTo>
                  <a:cubicBezTo>
                    <a:pt x="209" y="480"/>
                    <a:pt x="209" y="480"/>
                    <a:pt x="209" y="480"/>
                  </a:cubicBezTo>
                  <a:cubicBezTo>
                    <a:pt x="209" y="482"/>
                    <a:pt x="208" y="484"/>
                    <a:pt x="206" y="486"/>
                  </a:cubicBezTo>
                  <a:cubicBezTo>
                    <a:pt x="206" y="485"/>
                    <a:pt x="206" y="485"/>
                    <a:pt x="206" y="485"/>
                  </a:cubicBezTo>
                  <a:cubicBezTo>
                    <a:pt x="206" y="483"/>
                    <a:pt x="204" y="481"/>
                    <a:pt x="202" y="481"/>
                  </a:cubicBezTo>
                  <a:cubicBezTo>
                    <a:pt x="199" y="481"/>
                    <a:pt x="197" y="483"/>
                    <a:pt x="197" y="485"/>
                  </a:cubicBezTo>
                  <a:cubicBezTo>
                    <a:pt x="197" y="486"/>
                    <a:pt x="197" y="486"/>
                    <a:pt x="197" y="486"/>
                  </a:cubicBezTo>
                  <a:cubicBezTo>
                    <a:pt x="195" y="484"/>
                    <a:pt x="194" y="482"/>
                    <a:pt x="194" y="480"/>
                  </a:cubicBezTo>
                  <a:cubicBezTo>
                    <a:pt x="194" y="465"/>
                    <a:pt x="194" y="465"/>
                    <a:pt x="194" y="465"/>
                  </a:cubicBezTo>
                  <a:cubicBezTo>
                    <a:pt x="194" y="463"/>
                    <a:pt x="195" y="461"/>
                    <a:pt x="197" y="459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5"/>
                    <a:pt x="199" y="467"/>
                    <a:pt x="202" y="467"/>
                  </a:cubicBezTo>
                  <a:cubicBezTo>
                    <a:pt x="204" y="467"/>
                    <a:pt x="206" y="465"/>
                    <a:pt x="206" y="462"/>
                  </a:cubicBezTo>
                  <a:cubicBezTo>
                    <a:pt x="206" y="459"/>
                    <a:pt x="206" y="459"/>
                    <a:pt x="206" y="459"/>
                  </a:cubicBezTo>
                  <a:cubicBezTo>
                    <a:pt x="208" y="461"/>
                    <a:pt x="209" y="463"/>
                    <a:pt x="209" y="465"/>
                  </a:cubicBezTo>
                  <a:close/>
                  <a:moveTo>
                    <a:pt x="209" y="405"/>
                  </a:moveTo>
                  <a:cubicBezTo>
                    <a:pt x="209" y="421"/>
                    <a:pt x="209" y="421"/>
                    <a:pt x="209" y="421"/>
                  </a:cubicBezTo>
                  <a:cubicBezTo>
                    <a:pt x="209" y="423"/>
                    <a:pt x="208" y="425"/>
                    <a:pt x="206" y="426"/>
                  </a:cubicBezTo>
                  <a:cubicBezTo>
                    <a:pt x="206" y="423"/>
                    <a:pt x="206" y="423"/>
                    <a:pt x="206" y="423"/>
                  </a:cubicBezTo>
                  <a:cubicBezTo>
                    <a:pt x="206" y="420"/>
                    <a:pt x="204" y="418"/>
                    <a:pt x="202" y="418"/>
                  </a:cubicBezTo>
                  <a:cubicBezTo>
                    <a:pt x="199" y="418"/>
                    <a:pt x="197" y="420"/>
                    <a:pt x="197" y="423"/>
                  </a:cubicBezTo>
                  <a:cubicBezTo>
                    <a:pt x="197" y="426"/>
                    <a:pt x="197" y="426"/>
                    <a:pt x="197" y="426"/>
                  </a:cubicBezTo>
                  <a:cubicBezTo>
                    <a:pt x="195" y="425"/>
                    <a:pt x="194" y="423"/>
                    <a:pt x="194" y="421"/>
                  </a:cubicBezTo>
                  <a:cubicBezTo>
                    <a:pt x="194" y="405"/>
                    <a:pt x="194" y="405"/>
                    <a:pt x="194" y="405"/>
                  </a:cubicBezTo>
                  <a:cubicBezTo>
                    <a:pt x="194" y="403"/>
                    <a:pt x="195" y="401"/>
                    <a:pt x="197" y="400"/>
                  </a:cubicBezTo>
                  <a:cubicBezTo>
                    <a:pt x="197" y="402"/>
                    <a:pt x="197" y="402"/>
                    <a:pt x="197" y="402"/>
                  </a:cubicBezTo>
                  <a:cubicBezTo>
                    <a:pt x="197" y="405"/>
                    <a:pt x="199" y="407"/>
                    <a:pt x="202" y="407"/>
                  </a:cubicBezTo>
                  <a:cubicBezTo>
                    <a:pt x="204" y="407"/>
                    <a:pt x="206" y="405"/>
                    <a:pt x="206" y="402"/>
                  </a:cubicBezTo>
                  <a:cubicBezTo>
                    <a:pt x="206" y="400"/>
                    <a:pt x="206" y="400"/>
                    <a:pt x="206" y="400"/>
                  </a:cubicBezTo>
                  <a:cubicBezTo>
                    <a:pt x="208" y="401"/>
                    <a:pt x="209" y="403"/>
                    <a:pt x="209" y="405"/>
                  </a:cubicBezTo>
                  <a:close/>
                  <a:moveTo>
                    <a:pt x="209" y="346"/>
                  </a:moveTo>
                  <a:cubicBezTo>
                    <a:pt x="209" y="361"/>
                    <a:pt x="209" y="361"/>
                    <a:pt x="209" y="361"/>
                  </a:cubicBezTo>
                  <a:cubicBezTo>
                    <a:pt x="209" y="363"/>
                    <a:pt x="208" y="365"/>
                    <a:pt x="206" y="366"/>
                  </a:cubicBezTo>
                  <a:cubicBezTo>
                    <a:pt x="206" y="363"/>
                    <a:pt x="206" y="363"/>
                    <a:pt x="206" y="363"/>
                  </a:cubicBezTo>
                  <a:cubicBezTo>
                    <a:pt x="206" y="361"/>
                    <a:pt x="204" y="359"/>
                    <a:pt x="202" y="359"/>
                  </a:cubicBezTo>
                  <a:cubicBezTo>
                    <a:pt x="199" y="359"/>
                    <a:pt x="197" y="361"/>
                    <a:pt x="197" y="363"/>
                  </a:cubicBezTo>
                  <a:cubicBezTo>
                    <a:pt x="197" y="366"/>
                    <a:pt x="197" y="366"/>
                    <a:pt x="197" y="366"/>
                  </a:cubicBezTo>
                  <a:cubicBezTo>
                    <a:pt x="195" y="365"/>
                    <a:pt x="194" y="363"/>
                    <a:pt x="194" y="361"/>
                  </a:cubicBezTo>
                  <a:cubicBezTo>
                    <a:pt x="194" y="346"/>
                    <a:pt x="194" y="346"/>
                    <a:pt x="194" y="346"/>
                  </a:cubicBezTo>
                  <a:cubicBezTo>
                    <a:pt x="194" y="343"/>
                    <a:pt x="195" y="341"/>
                    <a:pt x="197" y="340"/>
                  </a:cubicBezTo>
                  <a:cubicBezTo>
                    <a:pt x="197" y="342"/>
                    <a:pt x="197" y="342"/>
                    <a:pt x="197" y="342"/>
                  </a:cubicBezTo>
                  <a:cubicBezTo>
                    <a:pt x="197" y="345"/>
                    <a:pt x="199" y="347"/>
                    <a:pt x="202" y="347"/>
                  </a:cubicBezTo>
                  <a:cubicBezTo>
                    <a:pt x="204" y="347"/>
                    <a:pt x="206" y="345"/>
                    <a:pt x="206" y="342"/>
                  </a:cubicBezTo>
                  <a:cubicBezTo>
                    <a:pt x="206" y="340"/>
                    <a:pt x="206" y="340"/>
                    <a:pt x="206" y="340"/>
                  </a:cubicBezTo>
                  <a:cubicBezTo>
                    <a:pt x="208" y="341"/>
                    <a:pt x="209" y="343"/>
                    <a:pt x="209" y="346"/>
                  </a:cubicBezTo>
                  <a:close/>
                  <a:moveTo>
                    <a:pt x="209" y="286"/>
                  </a:moveTo>
                  <a:cubicBezTo>
                    <a:pt x="209" y="301"/>
                    <a:pt x="209" y="301"/>
                    <a:pt x="209" y="301"/>
                  </a:cubicBezTo>
                  <a:cubicBezTo>
                    <a:pt x="209" y="303"/>
                    <a:pt x="208" y="305"/>
                    <a:pt x="206" y="307"/>
                  </a:cubicBezTo>
                  <a:cubicBezTo>
                    <a:pt x="206" y="304"/>
                    <a:pt x="206" y="304"/>
                    <a:pt x="206" y="304"/>
                  </a:cubicBezTo>
                  <a:cubicBezTo>
                    <a:pt x="206" y="301"/>
                    <a:pt x="204" y="299"/>
                    <a:pt x="202" y="299"/>
                  </a:cubicBezTo>
                  <a:cubicBezTo>
                    <a:pt x="199" y="299"/>
                    <a:pt x="197" y="301"/>
                    <a:pt x="197" y="304"/>
                  </a:cubicBezTo>
                  <a:cubicBezTo>
                    <a:pt x="197" y="307"/>
                    <a:pt x="197" y="307"/>
                    <a:pt x="197" y="307"/>
                  </a:cubicBezTo>
                  <a:cubicBezTo>
                    <a:pt x="195" y="305"/>
                    <a:pt x="194" y="303"/>
                    <a:pt x="194" y="301"/>
                  </a:cubicBezTo>
                  <a:cubicBezTo>
                    <a:pt x="194" y="286"/>
                    <a:pt x="194" y="286"/>
                    <a:pt x="194" y="286"/>
                  </a:cubicBezTo>
                  <a:cubicBezTo>
                    <a:pt x="194" y="284"/>
                    <a:pt x="195" y="282"/>
                    <a:pt x="197" y="280"/>
                  </a:cubicBezTo>
                  <a:cubicBezTo>
                    <a:pt x="197" y="283"/>
                    <a:pt x="197" y="283"/>
                    <a:pt x="197" y="283"/>
                  </a:cubicBezTo>
                  <a:cubicBezTo>
                    <a:pt x="197" y="285"/>
                    <a:pt x="199" y="288"/>
                    <a:pt x="202" y="288"/>
                  </a:cubicBezTo>
                  <a:cubicBezTo>
                    <a:pt x="204" y="288"/>
                    <a:pt x="206" y="285"/>
                    <a:pt x="206" y="283"/>
                  </a:cubicBezTo>
                  <a:cubicBezTo>
                    <a:pt x="206" y="280"/>
                    <a:pt x="206" y="280"/>
                    <a:pt x="206" y="280"/>
                  </a:cubicBezTo>
                  <a:cubicBezTo>
                    <a:pt x="208" y="282"/>
                    <a:pt x="209" y="284"/>
                    <a:pt x="209" y="286"/>
                  </a:cubicBezTo>
                  <a:close/>
                  <a:moveTo>
                    <a:pt x="209" y="226"/>
                  </a:moveTo>
                  <a:cubicBezTo>
                    <a:pt x="209" y="241"/>
                    <a:pt x="209" y="241"/>
                    <a:pt x="209" y="241"/>
                  </a:cubicBezTo>
                  <a:cubicBezTo>
                    <a:pt x="209" y="244"/>
                    <a:pt x="208" y="246"/>
                    <a:pt x="206" y="247"/>
                  </a:cubicBezTo>
                  <a:cubicBezTo>
                    <a:pt x="206" y="244"/>
                    <a:pt x="206" y="244"/>
                    <a:pt x="206" y="244"/>
                  </a:cubicBezTo>
                  <a:cubicBezTo>
                    <a:pt x="206" y="241"/>
                    <a:pt x="204" y="239"/>
                    <a:pt x="202" y="239"/>
                  </a:cubicBezTo>
                  <a:cubicBezTo>
                    <a:pt x="199" y="239"/>
                    <a:pt x="197" y="241"/>
                    <a:pt x="197" y="244"/>
                  </a:cubicBezTo>
                  <a:cubicBezTo>
                    <a:pt x="197" y="247"/>
                    <a:pt x="197" y="247"/>
                    <a:pt x="197" y="247"/>
                  </a:cubicBezTo>
                  <a:cubicBezTo>
                    <a:pt x="195" y="246"/>
                    <a:pt x="194" y="244"/>
                    <a:pt x="194" y="241"/>
                  </a:cubicBezTo>
                  <a:cubicBezTo>
                    <a:pt x="194" y="226"/>
                    <a:pt x="194" y="226"/>
                    <a:pt x="194" y="226"/>
                  </a:cubicBezTo>
                  <a:cubicBezTo>
                    <a:pt x="194" y="224"/>
                    <a:pt x="195" y="222"/>
                    <a:pt x="197" y="221"/>
                  </a:cubicBezTo>
                  <a:cubicBezTo>
                    <a:pt x="197" y="223"/>
                    <a:pt x="197" y="223"/>
                    <a:pt x="197" y="223"/>
                  </a:cubicBezTo>
                  <a:cubicBezTo>
                    <a:pt x="197" y="226"/>
                    <a:pt x="199" y="228"/>
                    <a:pt x="202" y="228"/>
                  </a:cubicBezTo>
                  <a:cubicBezTo>
                    <a:pt x="204" y="228"/>
                    <a:pt x="206" y="226"/>
                    <a:pt x="206" y="223"/>
                  </a:cubicBezTo>
                  <a:cubicBezTo>
                    <a:pt x="206" y="221"/>
                    <a:pt x="206" y="221"/>
                    <a:pt x="206" y="221"/>
                  </a:cubicBezTo>
                  <a:cubicBezTo>
                    <a:pt x="208" y="222"/>
                    <a:pt x="209" y="224"/>
                    <a:pt x="209" y="226"/>
                  </a:cubicBezTo>
                  <a:close/>
                  <a:moveTo>
                    <a:pt x="209" y="166"/>
                  </a:moveTo>
                  <a:cubicBezTo>
                    <a:pt x="209" y="182"/>
                    <a:pt x="209" y="182"/>
                    <a:pt x="209" y="182"/>
                  </a:cubicBezTo>
                  <a:cubicBezTo>
                    <a:pt x="209" y="184"/>
                    <a:pt x="208" y="186"/>
                    <a:pt x="206" y="187"/>
                  </a:cubicBezTo>
                  <a:cubicBezTo>
                    <a:pt x="206" y="184"/>
                    <a:pt x="206" y="184"/>
                    <a:pt x="206" y="184"/>
                  </a:cubicBezTo>
                  <a:cubicBezTo>
                    <a:pt x="206" y="182"/>
                    <a:pt x="204" y="179"/>
                    <a:pt x="202" y="179"/>
                  </a:cubicBezTo>
                  <a:cubicBezTo>
                    <a:pt x="199" y="179"/>
                    <a:pt x="197" y="182"/>
                    <a:pt x="197" y="184"/>
                  </a:cubicBezTo>
                  <a:cubicBezTo>
                    <a:pt x="197" y="187"/>
                    <a:pt x="197" y="187"/>
                    <a:pt x="197" y="187"/>
                  </a:cubicBezTo>
                  <a:cubicBezTo>
                    <a:pt x="195" y="186"/>
                    <a:pt x="194" y="184"/>
                    <a:pt x="194" y="182"/>
                  </a:cubicBezTo>
                  <a:cubicBezTo>
                    <a:pt x="194" y="166"/>
                    <a:pt x="194" y="166"/>
                    <a:pt x="194" y="166"/>
                  </a:cubicBezTo>
                  <a:cubicBezTo>
                    <a:pt x="194" y="164"/>
                    <a:pt x="195" y="162"/>
                    <a:pt x="197" y="161"/>
                  </a:cubicBezTo>
                  <a:cubicBezTo>
                    <a:pt x="197" y="163"/>
                    <a:pt x="197" y="163"/>
                    <a:pt x="197" y="163"/>
                  </a:cubicBezTo>
                  <a:cubicBezTo>
                    <a:pt x="197" y="166"/>
                    <a:pt x="199" y="168"/>
                    <a:pt x="202" y="168"/>
                  </a:cubicBezTo>
                  <a:cubicBezTo>
                    <a:pt x="204" y="168"/>
                    <a:pt x="206" y="166"/>
                    <a:pt x="206" y="163"/>
                  </a:cubicBezTo>
                  <a:cubicBezTo>
                    <a:pt x="206" y="161"/>
                    <a:pt x="206" y="161"/>
                    <a:pt x="206" y="161"/>
                  </a:cubicBezTo>
                  <a:cubicBezTo>
                    <a:pt x="208" y="162"/>
                    <a:pt x="209" y="164"/>
                    <a:pt x="209" y="166"/>
                  </a:cubicBezTo>
                  <a:close/>
                  <a:moveTo>
                    <a:pt x="209" y="107"/>
                  </a:moveTo>
                  <a:cubicBezTo>
                    <a:pt x="209" y="122"/>
                    <a:pt x="209" y="122"/>
                    <a:pt x="209" y="122"/>
                  </a:cubicBezTo>
                  <a:cubicBezTo>
                    <a:pt x="209" y="124"/>
                    <a:pt x="208" y="126"/>
                    <a:pt x="206" y="128"/>
                  </a:cubicBezTo>
                  <a:cubicBezTo>
                    <a:pt x="206" y="125"/>
                    <a:pt x="206" y="125"/>
                    <a:pt x="206" y="125"/>
                  </a:cubicBezTo>
                  <a:cubicBezTo>
                    <a:pt x="206" y="122"/>
                    <a:pt x="204" y="120"/>
                    <a:pt x="202" y="120"/>
                  </a:cubicBezTo>
                  <a:cubicBezTo>
                    <a:pt x="199" y="120"/>
                    <a:pt x="197" y="122"/>
                    <a:pt x="197" y="125"/>
                  </a:cubicBezTo>
                  <a:cubicBezTo>
                    <a:pt x="197" y="128"/>
                    <a:pt x="197" y="128"/>
                    <a:pt x="197" y="128"/>
                  </a:cubicBezTo>
                  <a:cubicBezTo>
                    <a:pt x="195" y="126"/>
                    <a:pt x="194" y="124"/>
                    <a:pt x="194" y="122"/>
                  </a:cubicBezTo>
                  <a:cubicBezTo>
                    <a:pt x="194" y="107"/>
                    <a:pt x="194" y="107"/>
                    <a:pt x="194" y="107"/>
                  </a:cubicBezTo>
                  <a:cubicBezTo>
                    <a:pt x="194" y="105"/>
                    <a:pt x="195" y="103"/>
                    <a:pt x="197" y="101"/>
                  </a:cubicBezTo>
                  <a:cubicBezTo>
                    <a:pt x="197" y="104"/>
                    <a:pt x="197" y="104"/>
                    <a:pt x="197" y="104"/>
                  </a:cubicBezTo>
                  <a:cubicBezTo>
                    <a:pt x="197" y="106"/>
                    <a:pt x="199" y="108"/>
                    <a:pt x="202" y="108"/>
                  </a:cubicBezTo>
                  <a:cubicBezTo>
                    <a:pt x="204" y="108"/>
                    <a:pt x="206" y="106"/>
                    <a:pt x="206" y="104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208" y="103"/>
                    <a:pt x="209" y="105"/>
                    <a:pt x="209" y="107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53">
              <a:extLst>
                <a:ext uri="{FF2B5EF4-FFF2-40B4-BE49-F238E27FC236}">
                  <a16:creationId xmlns:a16="http://schemas.microsoft.com/office/drawing/2014/main" id="{A87776D6-9897-4F4D-A76F-065EDB3E645D}"/>
                </a:ext>
              </a:extLst>
            </p:cNvPr>
            <p:cNvSpPr>
              <a:spLocks/>
            </p:cNvSpPr>
            <p:nvPr/>
          </p:nvSpPr>
          <p:spPr bwMode="gray">
            <a:xfrm>
              <a:off x="8032750" y="3811588"/>
              <a:ext cx="311150" cy="314325"/>
            </a:xfrm>
            <a:custGeom>
              <a:avLst/>
              <a:gdLst>
                <a:gd name="T0" fmla="*/ 105 w 105"/>
                <a:gd name="T1" fmla="*/ 63 h 106"/>
                <a:gd name="T2" fmla="*/ 62 w 105"/>
                <a:gd name="T3" fmla="*/ 106 h 106"/>
                <a:gd name="T4" fmla="*/ 32 w 105"/>
                <a:gd name="T5" fmla="*/ 93 h 106"/>
                <a:gd name="T6" fmla="*/ 0 w 105"/>
                <a:gd name="T7" fmla="*/ 46 h 106"/>
                <a:gd name="T8" fmla="*/ 0 w 105"/>
                <a:gd name="T9" fmla="*/ 0 h 106"/>
                <a:gd name="T10" fmla="*/ 73 w 105"/>
                <a:gd name="T11" fmla="*/ 0 h 106"/>
                <a:gd name="T12" fmla="*/ 105 w 105"/>
                <a:gd name="T13" fmla="*/ 33 h 106"/>
                <a:gd name="T14" fmla="*/ 105 w 105"/>
                <a:gd name="T15" fmla="*/ 6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106">
                  <a:moveTo>
                    <a:pt x="105" y="63"/>
                  </a:moveTo>
                  <a:cubicBezTo>
                    <a:pt x="62" y="106"/>
                    <a:pt x="62" y="106"/>
                    <a:pt x="62" y="106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13" y="85"/>
                    <a:pt x="0" y="67"/>
                    <a:pt x="0" y="4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91" y="0"/>
                    <a:pt x="105" y="15"/>
                    <a:pt x="105" y="33"/>
                  </a:cubicBezTo>
                  <a:lnTo>
                    <a:pt x="105" y="63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54">
              <a:extLst>
                <a:ext uri="{FF2B5EF4-FFF2-40B4-BE49-F238E27FC236}">
                  <a16:creationId xmlns:a16="http://schemas.microsoft.com/office/drawing/2014/main" id="{49AD3FCA-279C-4110-9DEF-CE1F7281806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05763" y="2640013"/>
              <a:ext cx="242887" cy="317500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55">
              <a:extLst>
                <a:ext uri="{FF2B5EF4-FFF2-40B4-BE49-F238E27FC236}">
                  <a16:creationId xmlns:a16="http://schemas.microsoft.com/office/drawing/2014/main" id="{629CDA06-FFBA-4AC3-982C-89C77D8F38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05763" y="2640013"/>
              <a:ext cx="242887" cy="1127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56">
              <a:extLst>
                <a:ext uri="{FF2B5EF4-FFF2-40B4-BE49-F238E27FC236}">
                  <a16:creationId xmlns:a16="http://schemas.microsoft.com/office/drawing/2014/main" id="{7F8EBFF9-0F4E-4228-B4FB-FD8841143063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5763" y="2844800"/>
              <a:ext cx="242887" cy="758825"/>
            </a:xfrm>
            <a:custGeom>
              <a:avLst/>
              <a:gdLst>
                <a:gd name="T0" fmla="*/ 153 w 153"/>
                <a:gd name="T1" fmla="*/ 0 h 478"/>
                <a:gd name="T2" fmla="*/ 0 w 153"/>
                <a:gd name="T3" fmla="*/ 0 h 478"/>
                <a:gd name="T4" fmla="*/ 0 w 153"/>
                <a:gd name="T5" fmla="*/ 71 h 478"/>
                <a:gd name="T6" fmla="*/ 28 w 153"/>
                <a:gd name="T7" fmla="*/ 71 h 478"/>
                <a:gd name="T8" fmla="*/ 28 w 153"/>
                <a:gd name="T9" fmla="*/ 478 h 478"/>
                <a:gd name="T10" fmla="*/ 101 w 153"/>
                <a:gd name="T11" fmla="*/ 478 h 478"/>
                <a:gd name="T12" fmla="*/ 101 w 153"/>
                <a:gd name="T13" fmla="*/ 71 h 478"/>
                <a:gd name="T14" fmla="*/ 153 w 153"/>
                <a:gd name="T15" fmla="*/ 71 h 478"/>
                <a:gd name="T16" fmla="*/ 153 w 153"/>
                <a:gd name="T17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78">
                  <a:moveTo>
                    <a:pt x="153" y="0"/>
                  </a:moveTo>
                  <a:lnTo>
                    <a:pt x="0" y="0"/>
                  </a:lnTo>
                  <a:lnTo>
                    <a:pt x="0" y="71"/>
                  </a:lnTo>
                  <a:lnTo>
                    <a:pt x="28" y="71"/>
                  </a:lnTo>
                  <a:lnTo>
                    <a:pt x="28" y="478"/>
                  </a:lnTo>
                  <a:lnTo>
                    <a:pt x="101" y="478"/>
                  </a:lnTo>
                  <a:lnTo>
                    <a:pt x="101" y="71"/>
                  </a:lnTo>
                  <a:lnTo>
                    <a:pt x="153" y="71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57">
              <a:extLst>
                <a:ext uri="{FF2B5EF4-FFF2-40B4-BE49-F238E27FC236}">
                  <a16:creationId xmlns:a16="http://schemas.microsoft.com/office/drawing/2014/main" id="{2DA994F4-1A66-4892-AFCD-C4B55E452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7964488" y="3384550"/>
              <a:ext cx="287337" cy="635000"/>
            </a:xfrm>
            <a:custGeom>
              <a:avLst/>
              <a:gdLst>
                <a:gd name="T0" fmla="*/ 97 w 97"/>
                <a:gd name="T1" fmla="*/ 145 h 214"/>
                <a:gd name="T2" fmla="*/ 97 w 97"/>
                <a:gd name="T3" fmla="*/ 49 h 214"/>
                <a:gd name="T4" fmla="*/ 48 w 97"/>
                <a:gd name="T5" fmla="*/ 0 h 214"/>
                <a:gd name="T6" fmla="*/ 48 w 97"/>
                <a:gd name="T7" fmla="*/ 0 h 214"/>
                <a:gd name="T8" fmla="*/ 0 w 97"/>
                <a:gd name="T9" fmla="*/ 49 h 214"/>
                <a:gd name="T10" fmla="*/ 0 w 97"/>
                <a:gd name="T11" fmla="*/ 214 h 214"/>
                <a:gd name="T12" fmla="*/ 23 w 97"/>
                <a:gd name="T13" fmla="*/ 214 h 214"/>
                <a:gd name="T14" fmla="*/ 97 w 97"/>
                <a:gd name="T15" fmla="*/ 145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214">
                  <a:moveTo>
                    <a:pt x="97" y="145"/>
                  </a:moveTo>
                  <a:cubicBezTo>
                    <a:pt x="97" y="49"/>
                    <a:pt x="97" y="49"/>
                    <a:pt x="97" y="49"/>
                  </a:cubicBezTo>
                  <a:cubicBezTo>
                    <a:pt x="97" y="22"/>
                    <a:pt x="75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9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23" y="214"/>
                    <a:pt x="23" y="214"/>
                    <a:pt x="23" y="214"/>
                  </a:cubicBezTo>
                  <a:cubicBezTo>
                    <a:pt x="32" y="178"/>
                    <a:pt x="61" y="151"/>
                    <a:pt x="97" y="145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60">
              <a:extLst>
                <a:ext uri="{FF2B5EF4-FFF2-40B4-BE49-F238E27FC236}">
                  <a16:creationId xmlns:a16="http://schemas.microsoft.com/office/drawing/2014/main" id="{591BE8D7-30A8-443D-A0A8-EC7FA2AC958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718800" y="3103563"/>
              <a:ext cx="901700" cy="2090738"/>
            </a:xfrm>
            <a:custGeom>
              <a:avLst/>
              <a:gdLst>
                <a:gd name="T0" fmla="*/ 0 w 568"/>
                <a:gd name="T1" fmla="*/ 424 h 1317"/>
                <a:gd name="T2" fmla="*/ 0 w 568"/>
                <a:gd name="T3" fmla="*/ 465 h 1317"/>
                <a:gd name="T4" fmla="*/ 0 w 568"/>
                <a:gd name="T5" fmla="*/ 849 h 1317"/>
                <a:gd name="T6" fmla="*/ 0 w 568"/>
                <a:gd name="T7" fmla="*/ 1275 h 1317"/>
                <a:gd name="T8" fmla="*/ 45 w 568"/>
                <a:gd name="T9" fmla="*/ 1317 h 1317"/>
                <a:gd name="T10" fmla="*/ 568 w 568"/>
                <a:gd name="T11" fmla="*/ 1317 h 1317"/>
                <a:gd name="T12" fmla="*/ 568 w 568"/>
                <a:gd name="T13" fmla="*/ 891 h 1317"/>
                <a:gd name="T14" fmla="*/ 568 w 568"/>
                <a:gd name="T15" fmla="*/ 467 h 1317"/>
                <a:gd name="T16" fmla="*/ 568 w 568"/>
                <a:gd name="T17" fmla="*/ 425 h 1317"/>
                <a:gd name="T18" fmla="*/ 568 w 568"/>
                <a:gd name="T19" fmla="*/ 0 h 1317"/>
                <a:gd name="T20" fmla="*/ 488 w 568"/>
                <a:gd name="T21" fmla="*/ 41 h 1317"/>
                <a:gd name="T22" fmla="*/ 81 w 568"/>
                <a:gd name="T23" fmla="*/ 41 h 1317"/>
                <a:gd name="T24" fmla="*/ 81 w 568"/>
                <a:gd name="T25" fmla="*/ 849 h 1317"/>
                <a:gd name="T26" fmla="*/ 488 w 568"/>
                <a:gd name="T27" fmla="*/ 849 h 1317"/>
                <a:gd name="T28" fmla="*/ 488 w 568"/>
                <a:gd name="T29" fmla="*/ 891 h 1317"/>
                <a:gd name="T30" fmla="*/ 81 w 568"/>
                <a:gd name="T31" fmla="*/ 891 h 1317"/>
                <a:gd name="T32" fmla="*/ 83 w 568"/>
                <a:gd name="T33" fmla="*/ 467 h 1317"/>
                <a:gd name="T34" fmla="*/ 284 w 568"/>
                <a:gd name="T35" fmla="*/ 627 h 1317"/>
                <a:gd name="T36" fmla="*/ 83 w 568"/>
                <a:gd name="T37" fmla="*/ 424 h 1317"/>
                <a:gd name="T38" fmla="*/ 486 w 568"/>
                <a:gd name="T39" fmla="*/ 424 h 1317"/>
                <a:gd name="T40" fmla="*/ 45 w 568"/>
                <a:gd name="T41" fmla="*/ 69 h 1317"/>
                <a:gd name="T42" fmla="*/ 45 w 568"/>
                <a:gd name="T43" fmla="*/ 396 h 1317"/>
                <a:gd name="T44" fmla="*/ 45 w 568"/>
                <a:gd name="T45" fmla="*/ 493 h 1317"/>
                <a:gd name="T46" fmla="*/ 45 w 568"/>
                <a:gd name="T47" fmla="*/ 820 h 1317"/>
                <a:gd name="T48" fmla="*/ 45 w 568"/>
                <a:gd name="T49" fmla="*/ 919 h 1317"/>
                <a:gd name="T50" fmla="*/ 45 w 568"/>
                <a:gd name="T51" fmla="*/ 1246 h 1317"/>
                <a:gd name="T52" fmla="*/ 81 w 568"/>
                <a:gd name="T53" fmla="*/ 1275 h 1317"/>
                <a:gd name="T54" fmla="*/ 488 w 568"/>
                <a:gd name="T55" fmla="*/ 1275 h 1317"/>
                <a:gd name="T56" fmla="*/ 523 w 568"/>
                <a:gd name="T57" fmla="*/ 1246 h 1317"/>
                <a:gd name="T58" fmla="*/ 523 w 568"/>
                <a:gd name="T59" fmla="*/ 919 h 1317"/>
                <a:gd name="T60" fmla="*/ 523 w 568"/>
                <a:gd name="T61" fmla="*/ 820 h 1317"/>
                <a:gd name="T62" fmla="*/ 523 w 568"/>
                <a:gd name="T63" fmla="*/ 493 h 1317"/>
                <a:gd name="T64" fmla="*/ 523 w 568"/>
                <a:gd name="T65" fmla="*/ 396 h 1317"/>
                <a:gd name="T66" fmla="*/ 523 w 568"/>
                <a:gd name="T67" fmla="*/ 69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68" h="1317">
                  <a:moveTo>
                    <a:pt x="0" y="0"/>
                  </a:moveTo>
                  <a:lnTo>
                    <a:pt x="0" y="424"/>
                  </a:lnTo>
                  <a:lnTo>
                    <a:pt x="0" y="425"/>
                  </a:lnTo>
                  <a:lnTo>
                    <a:pt x="0" y="465"/>
                  </a:lnTo>
                  <a:lnTo>
                    <a:pt x="0" y="467"/>
                  </a:lnTo>
                  <a:lnTo>
                    <a:pt x="0" y="849"/>
                  </a:lnTo>
                  <a:lnTo>
                    <a:pt x="0" y="891"/>
                  </a:lnTo>
                  <a:lnTo>
                    <a:pt x="0" y="1275"/>
                  </a:lnTo>
                  <a:lnTo>
                    <a:pt x="0" y="1317"/>
                  </a:lnTo>
                  <a:lnTo>
                    <a:pt x="45" y="1317"/>
                  </a:lnTo>
                  <a:lnTo>
                    <a:pt x="523" y="1317"/>
                  </a:lnTo>
                  <a:lnTo>
                    <a:pt x="568" y="1317"/>
                  </a:lnTo>
                  <a:lnTo>
                    <a:pt x="568" y="1275"/>
                  </a:lnTo>
                  <a:lnTo>
                    <a:pt x="568" y="891"/>
                  </a:lnTo>
                  <a:lnTo>
                    <a:pt x="568" y="849"/>
                  </a:lnTo>
                  <a:lnTo>
                    <a:pt x="568" y="467"/>
                  </a:lnTo>
                  <a:lnTo>
                    <a:pt x="568" y="465"/>
                  </a:lnTo>
                  <a:lnTo>
                    <a:pt x="568" y="425"/>
                  </a:lnTo>
                  <a:lnTo>
                    <a:pt x="568" y="424"/>
                  </a:lnTo>
                  <a:lnTo>
                    <a:pt x="568" y="0"/>
                  </a:lnTo>
                  <a:lnTo>
                    <a:pt x="0" y="0"/>
                  </a:lnTo>
                  <a:close/>
                  <a:moveTo>
                    <a:pt x="488" y="41"/>
                  </a:moveTo>
                  <a:lnTo>
                    <a:pt x="284" y="203"/>
                  </a:lnTo>
                  <a:lnTo>
                    <a:pt x="81" y="41"/>
                  </a:lnTo>
                  <a:lnTo>
                    <a:pt x="488" y="41"/>
                  </a:lnTo>
                  <a:close/>
                  <a:moveTo>
                    <a:pt x="81" y="849"/>
                  </a:moveTo>
                  <a:lnTo>
                    <a:pt x="284" y="685"/>
                  </a:lnTo>
                  <a:lnTo>
                    <a:pt x="488" y="849"/>
                  </a:lnTo>
                  <a:lnTo>
                    <a:pt x="81" y="849"/>
                  </a:lnTo>
                  <a:close/>
                  <a:moveTo>
                    <a:pt x="488" y="891"/>
                  </a:moveTo>
                  <a:lnTo>
                    <a:pt x="284" y="1053"/>
                  </a:lnTo>
                  <a:lnTo>
                    <a:pt x="81" y="891"/>
                  </a:lnTo>
                  <a:lnTo>
                    <a:pt x="488" y="891"/>
                  </a:lnTo>
                  <a:close/>
                  <a:moveTo>
                    <a:pt x="83" y="467"/>
                  </a:moveTo>
                  <a:lnTo>
                    <a:pt x="486" y="467"/>
                  </a:lnTo>
                  <a:lnTo>
                    <a:pt x="284" y="627"/>
                  </a:lnTo>
                  <a:lnTo>
                    <a:pt x="83" y="467"/>
                  </a:lnTo>
                  <a:close/>
                  <a:moveTo>
                    <a:pt x="83" y="424"/>
                  </a:moveTo>
                  <a:lnTo>
                    <a:pt x="284" y="261"/>
                  </a:lnTo>
                  <a:lnTo>
                    <a:pt x="486" y="424"/>
                  </a:lnTo>
                  <a:lnTo>
                    <a:pt x="83" y="424"/>
                  </a:lnTo>
                  <a:close/>
                  <a:moveTo>
                    <a:pt x="45" y="69"/>
                  </a:moveTo>
                  <a:lnTo>
                    <a:pt x="249" y="233"/>
                  </a:lnTo>
                  <a:lnTo>
                    <a:pt x="45" y="396"/>
                  </a:lnTo>
                  <a:lnTo>
                    <a:pt x="45" y="69"/>
                  </a:lnTo>
                  <a:close/>
                  <a:moveTo>
                    <a:pt x="45" y="493"/>
                  </a:moveTo>
                  <a:lnTo>
                    <a:pt x="249" y="657"/>
                  </a:lnTo>
                  <a:lnTo>
                    <a:pt x="45" y="820"/>
                  </a:lnTo>
                  <a:lnTo>
                    <a:pt x="45" y="493"/>
                  </a:lnTo>
                  <a:close/>
                  <a:moveTo>
                    <a:pt x="45" y="919"/>
                  </a:moveTo>
                  <a:lnTo>
                    <a:pt x="249" y="1083"/>
                  </a:lnTo>
                  <a:lnTo>
                    <a:pt x="45" y="1246"/>
                  </a:lnTo>
                  <a:lnTo>
                    <a:pt x="45" y="919"/>
                  </a:lnTo>
                  <a:close/>
                  <a:moveTo>
                    <a:pt x="81" y="1275"/>
                  </a:moveTo>
                  <a:lnTo>
                    <a:pt x="284" y="1111"/>
                  </a:lnTo>
                  <a:lnTo>
                    <a:pt x="488" y="1275"/>
                  </a:lnTo>
                  <a:lnTo>
                    <a:pt x="81" y="1275"/>
                  </a:lnTo>
                  <a:close/>
                  <a:moveTo>
                    <a:pt x="523" y="1246"/>
                  </a:moveTo>
                  <a:lnTo>
                    <a:pt x="320" y="1083"/>
                  </a:lnTo>
                  <a:lnTo>
                    <a:pt x="523" y="919"/>
                  </a:lnTo>
                  <a:lnTo>
                    <a:pt x="523" y="1246"/>
                  </a:lnTo>
                  <a:close/>
                  <a:moveTo>
                    <a:pt x="523" y="820"/>
                  </a:moveTo>
                  <a:lnTo>
                    <a:pt x="320" y="657"/>
                  </a:lnTo>
                  <a:lnTo>
                    <a:pt x="523" y="493"/>
                  </a:lnTo>
                  <a:lnTo>
                    <a:pt x="523" y="820"/>
                  </a:lnTo>
                  <a:close/>
                  <a:moveTo>
                    <a:pt x="523" y="396"/>
                  </a:moveTo>
                  <a:lnTo>
                    <a:pt x="320" y="233"/>
                  </a:lnTo>
                  <a:lnTo>
                    <a:pt x="523" y="69"/>
                  </a:lnTo>
                  <a:lnTo>
                    <a:pt x="523" y="396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61">
              <a:extLst>
                <a:ext uri="{FF2B5EF4-FFF2-40B4-BE49-F238E27FC236}">
                  <a16:creationId xmlns:a16="http://schemas.microsoft.com/office/drawing/2014/main" id="{A89F9C54-31FD-4E01-A814-89923527083A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13988" y="1846263"/>
              <a:ext cx="417512" cy="400050"/>
            </a:xfrm>
            <a:custGeom>
              <a:avLst/>
              <a:gdLst>
                <a:gd name="T0" fmla="*/ 102 w 141"/>
                <a:gd name="T1" fmla="*/ 87 h 135"/>
                <a:gd name="T2" fmla="*/ 106 w 141"/>
                <a:gd name="T3" fmla="*/ 39 h 135"/>
                <a:gd name="T4" fmla="*/ 36 w 141"/>
                <a:gd name="T5" fmla="*/ 13 h 135"/>
                <a:gd name="T6" fmla="*/ 12 w 141"/>
                <a:gd name="T7" fmla="*/ 83 h 135"/>
                <a:gd name="T8" fmla="*/ 13 w 141"/>
                <a:gd name="T9" fmla="*/ 83 h 135"/>
                <a:gd name="T10" fmla="*/ 10 w 141"/>
                <a:gd name="T11" fmla="*/ 96 h 135"/>
                <a:gd name="T12" fmla="*/ 19 w 141"/>
                <a:gd name="T13" fmla="*/ 104 h 135"/>
                <a:gd name="T14" fmla="*/ 23 w 141"/>
                <a:gd name="T15" fmla="*/ 102 h 135"/>
                <a:gd name="T16" fmla="*/ 32 w 141"/>
                <a:gd name="T17" fmla="*/ 117 h 135"/>
                <a:gd name="T18" fmla="*/ 49 w 141"/>
                <a:gd name="T19" fmla="*/ 122 h 135"/>
                <a:gd name="T20" fmla="*/ 63 w 141"/>
                <a:gd name="T21" fmla="*/ 115 h 135"/>
                <a:gd name="T22" fmla="*/ 78 w 141"/>
                <a:gd name="T23" fmla="*/ 117 h 135"/>
                <a:gd name="T24" fmla="*/ 106 w 141"/>
                <a:gd name="T25" fmla="*/ 135 h 135"/>
                <a:gd name="T26" fmla="*/ 141 w 141"/>
                <a:gd name="T27" fmla="*/ 110 h 135"/>
                <a:gd name="T28" fmla="*/ 102 w 141"/>
                <a:gd name="T29" fmla="*/ 8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1" h="135">
                  <a:moveTo>
                    <a:pt x="102" y="87"/>
                  </a:moveTo>
                  <a:cubicBezTo>
                    <a:pt x="111" y="73"/>
                    <a:pt x="114" y="55"/>
                    <a:pt x="106" y="39"/>
                  </a:cubicBezTo>
                  <a:cubicBezTo>
                    <a:pt x="94" y="11"/>
                    <a:pt x="62" y="0"/>
                    <a:pt x="36" y="13"/>
                  </a:cubicBezTo>
                  <a:cubicBezTo>
                    <a:pt x="10" y="26"/>
                    <a:pt x="0" y="57"/>
                    <a:pt x="12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8" y="101"/>
                    <a:pt x="14" y="106"/>
                    <a:pt x="19" y="104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6" y="108"/>
                    <a:pt x="29" y="113"/>
                    <a:pt x="32" y="117"/>
                  </a:cubicBezTo>
                  <a:cubicBezTo>
                    <a:pt x="35" y="123"/>
                    <a:pt x="43" y="125"/>
                    <a:pt x="49" y="122"/>
                  </a:cubicBezTo>
                  <a:cubicBezTo>
                    <a:pt x="63" y="115"/>
                    <a:pt x="63" y="115"/>
                    <a:pt x="63" y="115"/>
                  </a:cubicBezTo>
                  <a:cubicBezTo>
                    <a:pt x="68" y="114"/>
                    <a:pt x="73" y="115"/>
                    <a:pt x="78" y="117"/>
                  </a:cubicBezTo>
                  <a:cubicBezTo>
                    <a:pt x="106" y="135"/>
                    <a:pt x="106" y="135"/>
                    <a:pt x="106" y="135"/>
                  </a:cubicBezTo>
                  <a:cubicBezTo>
                    <a:pt x="141" y="110"/>
                    <a:pt x="141" y="110"/>
                    <a:pt x="141" y="110"/>
                  </a:cubicBezTo>
                  <a:lnTo>
                    <a:pt x="102" y="87"/>
                  </a:lnTo>
                  <a:close/>
                </a:path>
              </a:pathLst>
            </a:custGeom>
            <a:solidFill>
              <a:srgbClr val="D8B0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62">
              <a:extLst>
                <a:ext uri="{FF2B5EF4-FFF2-40B4-BE49-F238E27FC236}">
                  <a16:creationId xmlns:a16="http://schemas.microsoft.com/office/drawing/2014/main" id="{8477C9A6-865E-4CA4-B011-31B8C341A8A6}"/>
                </a:ext>
              </a:extLst>
            </p:cNvPr>
            <p:cNvSpPr>
              <a:spLocks/>
            </p:cNvSpPr>
            <p:nvPr/>
          </p:nvSpPr>
          <p:spPr bwMode="gray">
            <a:xfrm>
              <a:off x="7861300" y="3678238"/>
              <a:ext cx="138112" cy="180975"/>
            </a:xfrm>
            <a:custGeom>
              <a:avLst/>
              <a:gdLst>
                <a:gd name="T0" fmla="*/ 5 w 87"/>
                <a:gd name="T1" fmla="*/ 90 h 114"/>
                <a:gd name="T2" fmla="*/ 35 w 87"/>
                <a:gd name="T3" fmla="*/ 32 h 114"/>
                <a:gd name="T4" fmla="*/ 87 w 87"/>
                <a:gd name="T5" fmla="*/ 0 h 114"/>
                <a:gd name="T6" fmla="*/ 87 w 87"/>
                <a:gd name="T7" fmla="*/ 19 h 114"/>
                <a:gd name="T8" fmla="*/ 67 w 87"/>
                <a:gd name="T9" fmla="*/ 45 h 114"/>
                <a:gd name="T10" fmla="*/ 56 w 87"/>
                <a:gd name="T11" fmla="*/ 103 h 114"/>
                <a:gd name="T12" fmla="*/ 0 w 87"/>
                <a:gd name="T13" fmla="*/ 114 h 114"/>
                <a:gd name="T14" fmla="*/ 5 w 87"/>
                <a:gd name="T15" fmla="*/ 9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7" h="114">
                  <a:moveTo>
                    <a:pt x="5" y="90"/>
                  </a:moveTo>
                  <a:lnTo>
                    <a:pt x="35" y="32"/>
                  </a:lnTo>
                  <a:lnTo>
                    <a:pt x="87" y="0"/>
                  </a:lnTo>
                  <a:lnTo>
                    <a:pt x="87" y="19"/>
                  </a:lnTo>
                  <a:lnTo>
                    <a:pt x="67" y="45"/>
                  </a:lnTo>
                  <a:lnTo>
                    <a:pt x="56" y="103"/>
                  </a:lnTo>
                  <a:lnTo>
                    <a:pt x="0" y="114"/>
                  </a:lnTo>
                  <a:lnTo>
                    <a:pt x="5" y="90"/>
                  </a:lnTo>
                  <a:close/>
                </a:path>
              </a:pathLst>
            </a:custGeom>
            <a:solidFill>
              <a:srgbClr val="AB84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63">
              <a:extLst>
                <a:ext uri="{FF2B5EF4-FFF2-40B4-BE49-F238E27FC236}">
                  <a16:creationId xmlns:a16="http://schemas.microsoft.com/office/drawing/2014/main" id="{E00ADD3D-A6D6-47CA-B0E2-F8ECEED9DB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640638" y="3800475"/>
              <a:ext cx="242887" cy="82550"/>
            </a:xfrm>
            <a:custGeom>
              <a:avLst/>
              <a:gdLst>
                <a:gd name="T0" fmla="*/ 153 w 153"/>
                <a:gd name="T1" fmla="*/ 26 h 52"/>
                <a:gd name="T2" fmla="*/ 152 w 153"/>
                <a:gd name="T3" fmla="*/ 0 h 52"/>
                <a:gd name="T4" fmla="*/ 0 w 153"/>
                <a:gd name="T5" fmla="*/ 13 h 52"/>
                <a:gd name="T6" fmla="*/ 12 w 153"/>
                <a:gd name="T7" fmla="*/ 52 h 52"/>
                <a:gd name="T8" fmla="*/ 139 w 153"/>
                <a:gd name="T9" fmla="*/ 42 h 52"/>
                <a:gd name="T10" fmla="*/ 153 w 153"/>
                <a:gd name="T11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3" h="52">
                  <a:moveTo>
                    <a:pt x="153" y="26"/>
                  </a:moveTo>
                  <a:lnTo>
                    <a:pt x="152" y="0"/>
                  </a:lnTo>
                  <a:lnTo>
                    <a:pt x="0" y="13"/>
                  </a:lnTo>
                  <a:lnTo>
                    <a:pt x="12" y="52"/>
                  </a:lnTo>
                  <a:lnTo>
                    <a:pt x="139" y="42"/>
                  </a:lnTo>
                  <a:lnTo>
                    <a:pt x="153" y="26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64">
              <a:extLst>
                <a:ext uri="{FF2B5EF4-FFF2-40B4-BE49-F238E27FC236}">
                  <a16:creationId xmlns:a16="http://schemas.microsoft.com/office/drawing/2014/main" id="{95609C82-6ADE-4D65-8ADB-5A1A88A89FE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69600" y="2633663"/>
              <a:ext cx="830262" cy="469900"/>
            </a:xfrm>
            <a:custGeom>
              <a:avLst/>
              <a:gdLst>
                <a:gd name="T0" fmla="*/ 274 w 280"/>
                <a:gd name="T1" fmla="*/ 146 h 158"/>
                <a:gd name="T2" fmla="*/ 263 w 280"/>
                <a:gd name="T3" fmla="*/ 139 h 158"/>
                <a:gd name="T4" fmla="*/ 249 w 280"/>
                <a:gd name="T5" fmla="*/ 121 h 158"/>
                <a:gd name="T6" fmla="*/ 245 w 280"/>
                <a:gd name="T7" fmla="*/ 110 h 158"/>
                <a:gd name="T8" fmla="*/ 230 w 280"/>
                <a:gd name="T9" fmla="*/ 103 h 158"/>
                <a:gd name="T10" fmla="*/ 190 w 280"/>
                <a:gd name="T11" fmla="*/ 121 h 158"/>
                <a:gd name="T12" fmla="*/ 104 w 280"/>
                <a:gd name="T13" fmla="*/ 116 h 158"/>
                <a:gd name="T14" fmla="*/ 98 w 280"/>
                <a:gd name="T15" fmla="*/ 3 h 158"/>
                <a:gd name="T16" fmla="*/ 62 w 280"/>
                <a:gd name="T17" fmla="*/ 0 h 158"/>
                <a:gd name="T18" fmla="*/ 0 w 280"/>
                <a:gd name="T19" fmla="*/ 21 h 158"/>
                <a:gd name="T20" fmla="*/ 4 w 280"/>
                <a:gd name="T21" fmla="*/ 46 h 158"/>
                <a:gd name="T22" fmla="*/ 43 w 280"/>
                <a:gd name="T23" fmla="*/ 62 h 158"/>
                <a:gd name="T24" fmla="*/ 56 w 280"/>
                <a:gd name="T25" fmla="*/ 138 h 158"/>
                <a:gd name="T26" fmla="*/ 81 w 280"/>
                <a:gd name="T27" fmla="*/ 158 h 158"/>
                <a:gd name="T28" fmla="*/ 189 w 280"/>
                <a:gd name="T29" fmla="*/ 158 h 158"/>
                <a:gd name="T30" fmla="*/ 189 w 280"/>
                <a:gd name="T31" fmla="*/ 158 h 158"/>
                <a:gd name="T32" fmla="*/ 197 w 280"/>
                <a:gd name="T33" fmla="*/ 158 h 158"/>
                <a:gd name="T34" fmla="*/ 280 w 280"/>
                <a:gd name="T35" fmla="*/ 158 h 158"/>
                <a:gd name="T36" fmla="*/ 274 w 280"/>
                <a:gd name="T37" fmla="*/ 14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0" h="158">
                  <a:moveTo>
                    <a:pt x="274" y="146"/>
                  </a:moveTo>
                  <a:cubicBezTo>
                    <a:pt x="263" y="139"/>
                    <a:pt x="263" y="139"/>
                    <a:pt x="263" y="139"/>
                  </a:cubicBezTo>
                  <a:cubicBezTo>
                    <a:pt x="257" y="135"/>
                    <a:pt x="252" y="129"/>
                    <a:pt x="249" y="121"/>
                  </a:cubicBezTo>
                  <a:cubicBezTo>
                    <a:pt x="245" y="110"/>
                    <a:pt x="245" y="110"/>
                    <a:pt x="245" y="110"/>
                  </a:cubicBezTo>
                  <a:cubicBezTo>
                    <a:pt x="243" y="104"/>
                    <a:pt x="236" y="101"/>
                    <a:pt x="230" y="103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56" y="138"/>
                    <a:pt x="56" y="138"/>
                    <a:pt x="56" y="138"/>
                  </a:cubicBezTo>
                  <a:cubicBezTo>
                    <a:pt x="58" y="150"/>
                    <a:pt x="69" y="158"/>
                    <a:pt x="81" y="158"/>
                  </a:cubicBezTo>
                  <a:cubicBezTo>
                    <a:pt x="189" y="158"/>
                    <a:pt x="189" y="158"/>
                    <a:pt x="189" y="158"/>
                  </a:cubicBezTo>
                  <a:cubicBezTo>
                    <a:pt x="189" y="158"/>
                    <a:pt x="189" y="158"/>
                    <a:pt x="189" y="158"/>
                  </a:cubicBezTo>
                  <a:cubicBezTo>
                    <a:pt x="197" y="158"/>
                    <a:pt x="197" y="158"/>
                    <a:pt x="197" y="158"/>
                  </a:cubicBezTo>
                  <a:cubicBezTo>
                    <a:pt x="280" y="158"/>
                    <a:pt x="280" y="158"/>
                    <a:pt x="280" y="158"/>
                  </a:cubicBezTo>
                  <a:cubicBezTo>
                    <a:pt x="280" y="153"/>
                    <a:pt x="278" y="148"/>
                    <a:pt x="274" y="146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65">
              <a:extLst>
                <a:ext uri="{FF2B5EF4-FFF2-40B4-BE49-F238E27FC236}">
                  <a16:creationId xmlns:a16="http://schemas.microsoft.com/office/drawing/2014/main" id="{5A435246-9F22-4949-8ED6-27C057E5667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23625" y="2947988"/>
              <a:ext cx="114300" cy="104775"/>
            </a:xfrm>
            <a:custGeom>
              <a:avLst/>
              <a:gdLst>
                <a:gd name="T0" fmla="*/ 13 w 72"/>
                <a:gd name="T1" fmla="*/ 6 h 66"/>
                <a:gd name="T2" fmla="*/ 46 w 72"/>
                <a:gd name="T3" fmla="*/ 0 h 66"/>
                <a:gd name="T4" fmla="*/ 72 w 72"/>
                <a:gd name="T5" fmla="*/ 34 h 66"/>
                <a:gd name="T6" fmla="*/ 65 w 72"/>
                <a:gd name="T7" fmla="*/ 58 h 66"/>
                <a:gd name="T8" fmla="*/ 13 w 72"/>
                <a:gd name="T9" fmla="*/ 66 h 66"/>
                <a:gd name="T10" fmla="*/ 0 w 72"/>
                <a:gd name="T11" fmla="*/ 12 h 66"/>
                <a:gd name="T12" fmla="*/ 13 w 72"/>
                <a:gd name="T13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66">
                  <a:moveTo>
                    <a:pt x="13" y="6"/>
                  </a:moveTo>
                  <a:lnTo>
                    <a:pt x="46" y="0"/>
                  </a:lnTo>
                  <a:lnTo>
                    <a:pt x="72" y="34"/>
                  </a:lnTo>
                  <a:lnTo>
                    <a:pt x="65" y="58"/>
                  </a:lnTo>
                  <a:lnTo>
                    <a:pt x="13" y="66"/>
                  </a:lnTo>
                  <a:lnTo>
                    <a:pt x="0" y="12"/>
                  </a:lnTo>
                  <a:lnTo>
                    <a:pt x="13" y="6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66">
              <a:extLst>
                <a:ext uri="{FF2B5EF4-FFF2-40B4-BE49-F238E27FC236}">
                  <a16:creationId xmlns:a16="http://schemas.microsoft.com/office/drawing/2014/main" id="{A90B5628-62AD-4162-B2EB-F672FCB96CA0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44263" y="2957513"/>
              <a:ext cx="58737" cy="95250"/>
            </a:xfrm>
            <a:custGeom>
              <a:avLst/>
              <a:gdLst>
                <a:gd name="T0" fmla="*/ 37 w 37"/>
                <a:gd name="T1" fmla="*/ 54 h 60"/>
                <a:gd name="T2" fmla="*/ 0 w 37"/>
                <a:gd name="T3" fmla="*/ 0 h 60"/>
                <a:gd name="T4" fmla="*/ 5 w 37"/>
                <a:gd name="T5" fmla="*/ 60 h 60"/>
                <a:gd name="T6" fmla="*/ 37 w 37"/>
                <a:gd name="T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60">
                  <a:moveTo>
                    <a:pt x="37" y="54"/>
                  </a:moveTo>
                  <a:lnTo>
                    <a:pt x="0" y="0"/>
                  </a:lnTo>
                  <a:lnTo>
                    <a:pt x="5" y="60"/>
                  </a:lnTo>
                  <a:lnTo>
                    <a:pt x="37" y="54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67">
              <a:extLst>
                <a:ext uri="{FF2B5EF4-FFF2-40B4-BE49-F238E27FC236}">
                  <a16:creationId xmlns:a16="http://schemas.microsoft.com/office/drawing/2014/main" id="{5F437C70-68C4-4991-B83D-6A3F03CAEAF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41000" y="2068513"/>
              <a:ext cx="166687" cy="130175"/>
            </a:xfrm>
            <a:custGeom>
              <a:avLst/>
              <a:gdLst>
                <a:gd name="T0" fmla="*/ 34 w 56"/>
                <a:gd name="T1" fmla="*/ 39 h 44"/>
                <a:gd name="T2" fmla="*/ 56 w 56"/>
                <a:gd name="T3" fmla="*/ 31 h 44"/>
                <a:gd name="T4" fmla="*/ 25 w 56"/>
                <a:gd name="T5" fmla="*/ 12 h 44"/>
                <a:gd name="T6" fmla="*/ 28 w 56"/>
                <a:gd name="T7" fmla="*/ 7 h 44"/>
                <a:gd name="T8" fmla="*/ 6 w 56"/>
                <a:gd name="T9" fmla="*/ 0 h 44"/>
                <a:gd name="T10" fmla="*/ 0 w 56"/>
                <a:gd name="T11" fmla="*/ 10 h 44"/>
                <a:gd name="T12" fmla="*/ 34 w 56"/>
                <a:gd name="T13" fmla="*/ 3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44">
                  <a:moveTo>
                    <a:pt x="34" y="39"/>
                  </a:moveTo>
                  <a:cubicBezTo>
                    <a:pt x="49" y="44"/>
                    <a:pt x="55" y="33"/>
                    <a:pt x="56" y="31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6" y="11"/>
                    <a:pt x="27" y="9"/>
                    <a:pt x="28" y="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7" y="34"/>
                    <a:pt x="34" y="39"/>
                  </a:cubicBezTo>
                  <a:close/>
                </a:path>
              </a:pathLst>
            </a:custGeom>
            <a:solidFill>
              <a:srgbClr val="B48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68">
              <a:extLst>
                <a:ext uri="{FF2B5EF4-FFF2-40B4-BE49-F238E27FC236}">
                  <a16:creationId xmlns:a16="http://schemas.microsoft.com/office/drawing/2014/main" id="{0E6A6726-6A95-4EB9-9FED-2564AEC6BB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02838" y="2109788"/>
              <a:ext cx="219075" cy="225425"/>
            </a:xfrm>
            <a:custGeom>
              <a:avLst/>
              <a:gdLst>
                <a:gd name="T0" fmla="*/ 106 w 138"/>
                <a:gd name="T1" fmla="*/ 142 h 142"/>
                <a:gd name="T2" fmla="*/ 0 w 138"/>
                <a:gd name="T3" fmla="*/ 28 h 142"/>
                <a:gd name="T4" fmla="*/ 32 w 138"/>
                <a:gd name="T5" fmla="*/ 0 h 142"/>
                <a:gd name="T6" fmla="*/ 138 w 138"/>
                <a:gd name="T7" fmla="*/ 112 h 142"/>
                <a:gd name="T8" fmla="*/ 106 w 138"/>
                <a:gd name="T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42">
                  <a:moveTo>
                    <a:pt x="106" y="142"/>
                  </a:moveTo>
                  <a:lnTo>
                    <a:pt x="0" y="28"/>
                  </a:lnTo>
                  <a:lnTo>
                    <a:pt x="32" y="0"/>
                  </a:lnTo>
                  <a:lnTo>
                    <a:pt x="138" y="112"/>
                  </a:lnTo>
                  <a:lnTo>
                    <a:pt x="106" y="142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69">
              <a:extLst>
                <a:ext uri="{FF2B5EF4-FFF2-40B4-BE49-F238E27FC236}">
                  <a16:creationId xmlns:a16="http://schemas.microsoft.com/office/drawing/2014/main" id="{96CA3AD6-B5C6-46DB-A8DC-0A355EEC4033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58400" y="2195513"/>
              <a:ext cx="628650" cy="287338"/>
            </a:xfrm>
            <a:custGeom>
              <a:avLst/>
              <a:gdLst>
                <a:gd name="T0" fmla="*/ 194 w 212"/>
                <a:gd name="T1" fmla="*/ 0 h 97"/>
                <a:gd name="T2" fmla="*/ 180 w 212"/>
                <a:gd name="T3" fmla="*/ 5 h 97"/>
                <a:gd name="T4" fmla="*/ 129 w 212"/>
                <a:gd name="T5" fmla="*/ 57 h 97"/>
                <a:gd name="T6" fmla="*/ 61 w 212"/>
                <a:gd name="T7" fmla="*/ 41 h 97"/>
                <a:gd name="T8" fmla="*/ 57 w 212"/>
                <a:gd name="T9" fmla="*/ 23 h 97"/>
                <a:gd name="T10" fmla="*/ 45 w 212"/>
                <a:gd name="T11" fmla="*/ 8 h 97"/>
                <a:gd name="T12" fmla="*/ 33 w 212"/>
                <a:gd name="T13" fmla="*/ 4 h 97"/>
                <a:gd name="T14" fmla="*/ 29 w 212"/>
                <a:gd name="T15" fmla="*/ 4 h 97"/>
                <a:gd name="T16" fmla="*/ 35 w 212"/>
                <a:gd name="T17" fmla="*/ 13 h 97"/>
                <a:gd name="T18" fmla="*/ 23 w 212"/>
                <a:gd name="T19" fmla="*/ 12 h 97"/>
                <a:gd name="T20" fmla="*/ 7 w 212"/>
                <a:gd name="T21" fmla="*/ 9 h 97"/>
                <a:gd name="T22" fmla="*/ 1 w 212"/>
                <a:gd name="T23" fmla="*/ 14 h 97"/>
                <a:gd name="T24" fmla="*/ 6 w 212"/>
                <a:gd name="T25" fmla="*/ 21 h 97"/>
                <a:gd name="T26" fmla="*/ 6 w 212"/>
                <a:gd name="T27" fmla="*/ 21 h 97"/>
                <a:gd name="T28" fmla="*/ 3 w 212"/>
                <a:gd name="T29" fmla="*/ 25 h 97"/>
                <a:gd name="T30" fmla="*/ 7 w 212"/>
                <a:gd name="T31" fmla="*/ 32 h 97"/>
                <a:gd name="T32" fmla="*/ 12 w 212"/>
                <a:gd name="T33" fmla="*/ 33 h 97"/>
                <a:gd name="T34" fmla="*/ 12 w 212"/>
                <a:gd name="T35" fmla="*/ 33 h 97"/>
                <a:gd name="T36" fmla="*/ 12 w 212"/>
                <a:gd name="T37" fmla="*/ 33 h 97"/>
                <a:gd name="T38" fmla="*/ 7 w 212"/>
                <a:gd name="T39" fmla="*/ 38 h 97"/>
                <a:gd name="T40" fmla="*/ 11 w 212"/>
                <a:gd name="T41" fmla="*/ 44 h 97"/>
                <a:gd name="T42" fmla="*/ 12 w 212"/>
                <a:gd name="T43" fmla="*/ 44 h 97"/>
                <a:gd name="T44" fmla="*/ 12 w 212"/>
                <a:gd name="T45" fmla="*/ 50 h 97"/>
                <a:gd name="T46" fmla="*/ 12 w 212"/>
                <a:gd name="T47" fmla="*/ 52 h 97"/>
                <a:gd name="T48" fmla="*/ 31 w 212"/>
                <a:gd name="T49" fmla="*/ 62 h 97"/>
                <a:gd name="T50" fmla="*/ 35 w 212"/>
                <a:gd name="T51" fmla="*/ 62 h 97"/>
                <a:gd name="T52" fmla="*/ 118 w 212"/>
                <a:gd name="T53" fmla="*/ 93 h 97"/>
                <a:gd name="T54" fmla="*/ 155 w 212"/>
                <a:gd name="T55" fmla="*/ 84 h 97"/>
                <a:gd name="T56" fmla="*/ 204 w 212"/>
                <a:gd name="T57" fmla="*/ 36 h 97"/>
                <a:gd name="T58" fmla="*/ 211 w 212"/>
                <a:gd name="T59" fmla="*/ 23 h 97"/>
                <a:gd name="T60" fmla="*/ 211 w 212"/>
                <a:gd name="T61" fmla="*/ 21 h 97"/>
                <a:gd name="T62" fmla="*/ 194 w 212"/>
                <a:gd name="T6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2" h="97">
                  <a:moveTo>
                    <a:pt x="194" y="0"/>
                  </a:moveTo>
                  <a:cubicBezTo>
                    <a:pt x="189" y="0"/>
                    <a:pt x="184" y="1"/>
                    <a:pt x="180" y="5"/>
                  </a:cubicBezTo>
                  <a:cubicBezTo>
                    <a:pt x="129" y="57"/>
                    <a:pt x="129" y="57"/>
                    <a:pt x="129" y="5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6" y="16"/>
                    <a:pt x="51" y="10"/>
                    <a:pt x="45" y="8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2" y="3"/>
                    <a:pt x="30" y="3"/>
                    <a:pt x="29" y="4"/>
                  </a:cubicBezTo>
                  <a:cubicBezTo>
                    <a:pt x="33" y="8"/>
                    <a:pt x="35" y="13"/>
                    <a:pt x="35" y="13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4" y="9"/>
                    <a:pt x="1" y="11"/>
                    <a:pt x="1" y="14"/>
                  </a:cubicBezTo>
                  <a:cubicBezTo>
                    <a:pt x="0" y="18"/>
                    <a:pt x="2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2"/>
                    <a:pt x="4" y="23"/>
                    <a:pt x="3" y="25"/>
                  </a:cubicBezTo>
                  <a:cubicBezTo>
                    <a:pt x="2" y="28"/>
                    <a:pt x="4" y="31"/>
                    <a:pt x="7" y="3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9" y="34"/>
                    <a:pt x="7" y="35"/>
                    <a:pt x="7" y="38"/>
                  </a:cubicBezTo>
                  <a:cubicBezTo>
                    <a:pt x="6" y="41"/>
                    <a:pt x="8" y="44"/>
                    <a:pt x="11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12" y="49"/>
                    <a:pt x="12" y="50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4" y="59"/>
                    <a:pt x="24" y="62"/>
                    <a:pt x="31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118" y="93"/>
                    <a:pt x="118" y="93"/>
                    <a:pt x="118" y="93"/>
                  </a:cubicBezTo>
                  <a:cubicBezTo>
                    <a:pt x="131" y="97"/>
                    <a:pt x="145" y="94"/>
                    <a:pt x="155" y="84"/>
                  </a:cubicBezTo>
                  <a:cubicBezTo>
                    <a:pt x="204" y="36"/>
                    <a:pt x="204" y="36"/>
                    <a:pt x="204" y="36"/>
                  </a:cubicBezTo>
                  <a:cubicBezTo>
                    <a:pt x="208" y="33"/>
                    <a:pt x="211" y="28"/>
                    <a:pt x="211" y="23"/>
                  </a:cubicBezTo>
                  <a:cubicBezTo>
                    <a:pt x="211" y="21"/>
                    <a:pt x="211" y="21"/>
                    <a:pt x="211" y="21"/>
                  </a:cubicBezTo>
                  <a:cubicBezTo>
                    <a:pt x="212" y="11"/>
                    <a:pt x="205" y="1"/>
                    <a:pt x="194" y="0"/>
                  </a:cubicBezTo>
                  <a:close/>
                </a:path>
              </a:pathLst>
            </a:custGeom>
            <a:solidFill>
              <a:srgbClr val="D8B0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70">
              <a:extLst>
                <a:ext uri="{FF2B5EF4-FFF2-40B4-BE49-F238E27FC236}">
                  <a16:creationId xmlns:a16="http://schemas.microsoft.com/office/drawing/2014/main" id="{869C9A52-01FF-43D6-8856-AF2AB438A656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52138" y="2697163"/>
              <a:ext cx="519112" cy="414338"/>
            </a:xfrm>
            <a:custGeom>
              <a:avLst/>
              <a:gdLst>
                <a:gd name="T0" fmla="*/ 166 w 175"/>
                <a:gd name="T1" fmla="*/ 88 h 140"/>
                <a:gd name="T2" fmla="*/ 62 w 175"/>
                <a:gd name="T3" fmla="*/ 88 h 140"/>
                <a:gd name="T4" fmla="*/ 79 w 175"/>
                <a:gd name="T5" fmla="*/ 31 h 140"/>
                <a:gd name="T6" fmla="*/ 8 w 175"/>
                <a:gd name="T7" fmla="*/ 6 h 140"/>
                <a:gd name="T8" fmla="*/ 6 w 175"/>
                <a:gd name="T9" fmla="*/ 0 h 140"/>
                <a:gd name="T10" fmla="*/ 1 w 175"/>
                <a:gd name="T11" fmla="*/ 116 h 140"/>
                <a:gd name="T12" fmla="*/ 24 w 175"/>
                <a:gd name="T13" fmla="*/ 138 h 140"/>
                <a:gd name="T14" fmla="*/ 175 w 175"/>
                <a:gd name="T15" fmla="*/ 125 h 140"/>
                <a:gd name="T16" fmla="*/ 166 w 175"/>
                <a:gd name="T17" fmla="*/ 8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140">
                  <a:moveTo>
                    <a:pt x="166" y="88"/>
                  </a:moveTo>
                  <a:cubicBezTo>
                    <a:pt x="62" y="88"/>
                    <a:pt x="62" y="88"/>
                    <a:pt x="62" y="88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29" y="31"/>
                    <a:pt x="8" y="6"/>
                    <a:pt x="8" y="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0" y="129"/>
                    <a:pt x="11" y="140"/>
                    <a:pt x="24" y="138"/>
                  </a:cubicBezTo>
                  <a:cubicBezTo>
                    <a:pt x="175" y="125"/>
                    <a:pt x="175" y="125"/>
                    <a:pt x="175" y="125"/>
                  </a:cubicBezTo>
                  <a:lnTo>
                    <a:pt x="166" y="88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71">
              <a:extLst>
                <a:ext uri="{FF2B5EF4-FFF2-40B4-BE49-F238E27FC236}">
                  <a16:creationId xmlns:a16="http://schemas.microsoft.com/office/drawing/2014/main" id="{C6D36EC0-6C98-4C8D-985C-12BDDAB80C2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09250" y="2136775"/>
              <a:ext cx="601662" cy="649288"/>
            </a:xfrm>
            <a:custGeom>
              <a:avLst/>
              <a:gdLst>
                <a:gd name="T0" fmla="*/ 76 w 203"/>
                <a:gd name="T1" fmla="*/ 4 h 219"/>
                <a:gd name="T2" fmla="*/ 39 w 203"/>
                <a:gd name="T3" fmla="*/ 7 h 219"/>
                <a:gd name="T4" fmla="*/ 26 w 203"/>
                <a:gd name="T5" fmla="*/ 20 h 219"/>
                <a:gd name="T6" fmla="*/ 0 w 203"/>
                <a:gd name="T7" fmla="*/ 53 h 219"/>
                <a:gd name="T8" fmla="*/ 34 w 203"/>
                <a:gd name="T9" fmla="*/ 89 h 219"/>
                <a:gd name="T10" fmla="*/ 35 w 203"/>
                <a:gd name="T11" fmla="*/ 88 h 219"/>
                <a:gd name="T12" fmla="*/ 35 w 203"/>
                <a:gd name="T13" fmla="*/ 98 h 219"/>
                <a:gd name="T14" fmla="*/ 46 w 203"/>
                <a:gd name="T15" fmla="*/ 122 h 219"/>
                <a:gd name="T16" fmla="*/ 88 w 203"/>
                <a:gd name="T17" fmla="*/ 175 h 219"/>
                <a:gd name="T18" fmla="*/ 85 w 203"/>
                <a:gd name="T19" fmla="*/ 193 h 219"/>
                <a:gd name="T20" fmla="*/ 203 w 203"/>
                <a:gd name="T21" fmla="*/ 174 h 219"/>
                <a:gd name="T22" fmla="*/ 76 w 203"/>
                <a:gd name="T23" fmla="*/ 4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3" h="219">
                  <a:moveTo>
                    <a:pt x="76" y="4"/>
                  </a:moveTo>
                  <a:cubicBezTo>
                    <a:pt x="64" y="0"/>
                    <a:pt x="50" y="1"/>
                    <a:pt x="39" y="7"/>
                  </a:cubicBezTo>
                  <a:cubicBezTo>
                    <a:pt x="34" y="11"/>
                    <a:pt x="29" y="15"/>
                    <a:pt x="26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4" y="89"/>
                    <a:pt x="34" y="89"/>
                    <a:pt x="34" y="89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98"/>
                    <a:pt x="35" y="98"/>
                    <a:pt x="35" y="98"/>
                  </a:cubicBezTo>
                  <a:cubicBezTo>
                    <a:pt x="35" y="107"/>
                    <a:pt x="39" y="116"/>
                    <a:pt x="46" y="122"/>
                  </a:cubicBezTo>
                  <a:cubicBezTo>
                    <a:pt x="72" y="141"/>
                    <a:pt x="91" y="156"/>
                    <a:pt x="88" y="175"/>
                  </a:cubicBezTo>
                  <a:cubicBezTo>
                    <a:pt x="85" y="193"/>
                    <a:pt x="85" y="193"/>
                    <a:pt x="85" y="193"/>
                  </a:cubicBezTo>
                  <a:cubicBezTo>
                    <a:pt x="171" y="219"/>
                    <a:pt x="203" y="174"/>
                    <a:pt x="203" y="174"/>
                  </a:cubicBezTo>
                  <a:cubicBezTo>
                    <a:pt x="198" y="132"/>
                    <a:pt x="136" y="27"/>
                    <a:pt x="76" y="4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72">
              <a:extLst>
                <a:ext uri="{FF2B5EF4-FFF2-40B4-BE49-F238E27FC236}">
                  <a16:creationId xmlns:a16="http://schemas.microsoft.com/office/drawing/2014/main" id="{C30FED20-602F-4C4D-8CE8-7A2B6C7E08DB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96650" y="2901950"/>
              <a:ext cx="242887" cy="215900"/>
            </a:xfrm>
            <a:custGeom>
              <a:avLst/>
              <a:gdLst>
                <a:gd name="T0" fmla="*/ 0 w 82"/>
                <a:gd name="T1" fmla="*/ 17 h 73"/>
                <a:gd name="T2" fmla="*/ 0 w 82"/>
                <a:gd name="T3" fmla="*/ 17 h 73"/>
                <a:gd name="T4" fmla="*/ 35 w 82"/>
                <a:gd name="T5" fmla="*/ 0 h 73"/>
                <a:gd name="T6" fmla="*/ 35 w 82"/>
                <a:gd name="T7" fmla="*/ 0 h 73"/>
                <a:gd name="T8" fmla="*/ 43 w 82"/>
                <a:gd name="T9" fmla="*/ 4 h 73"/>
                <a:gd name="T10" fmla="*/ 81 w 82"/>
                <a:gd name="T11" fmla="*/ 67 h 73"/>
                <a:gd name="T12" fmla="*/ 77 w 82"/>
                <a:gd name="T13" fmla="*/ 73 h 73"/>
                <a:gd name="T14" fmla="*/ 70 w 82"/>
                <a:gd name="T15" fmla="*/ 73 h 73"/>
                <a:gd name="T16" fmla="*/ 49 w 82"/>
                <a:gd name="T17" fmla="*/ 64 h 73"/>
                <a:gd name="T18" fmla="*/ 39 w 82"/>
                <a:gd name="T19" fmla="*/ 54 h 73"/>
                <a:gd name="T20" fmla="*/ 25 w 82"/>
                <a:gd name="T21" fmla="*/ 49 h 73"/>
                <a:gd name="T22" fmla="*/ 11 w 82"/>
                <a:gd name="T23" fmla="*/ 50 h 73"/>
                <a:gd name="T24" fmla="*/ 0 w 82"/>
                <a:gd name="T25" fmla="*/ 17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73">
                  <a:moveTo>
                    <a:pt x="0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10" y="8"/>
                    <a:pt x="22" y="2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8" y="0"/>
                    <a:pt x="41" y="1"/>
                    <a:pt x="43" y="4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2" y="70"/>
                    <a:pt x="81" y="73"/>
                    <a:pt x="77" y="73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62" y="73"/>
                    <a:pt x="55" y="70"/>
                    <a:pt x="49" y="6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5" y="50"/>
                    <a:pt x="30" y="48"/>
                    <a:pt x="25" y="49"/>
                  </a:cubicBezTo>
                  <a:cubicBezTo>
                    <a:pt x="11" y="50"/>
                    <a:pt x="11" y="50"/>
                    <a:pt x="11" y="50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Oval 73">
              <a:extLst>
                <a:ext uri="{FF2B5EF4-FFF2-40B4-BE49-F238E27FC236}">
                  <a16:creationId xmlns:a16="http://schemas.microsoft.com/office/drawing/2014/main" id="{034140CD-6701-401A-993A-B083496C2D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369550" y="2062163"/>
              <a:ext cx="26987" cy="26988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74">
              <a:extLst>
                <a:ext uri="{FF2B5EF4-FFF2-40B4-BE49-F238E27FC236}">
                  <a16:creationId xmlns:a16="http://schemas.microsoft.com/office/drawing/2014/main" id="{7F68F574-6E1D-4A0E-9854-F0A7DC376C9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87013" y="2160588"/>
              <a:ext cx="42862" cy="22225"/>
            </a:xfrm>
            <a:custGeom>
              <a:avLst/>
              <a:gdLst>
                <a:gd name="T0" fmla="*/ 0 w 14"/>
                <a:gd name="T1" fmla="*/ 0 h 8"/>
                <a:gd name="T2" fmla="*/ 11 w 14"/>
                <a:gd name="T3" fmla="*/ 0 h 8"/>
                <a:gd name="T4" fmla="*/ 12 w 14"/>
                <a:gd name="T5" fmla="*/ 3 h 8"/>
                <a:gd name="T6" fmla="*/ 5 w 14"/>
                <a:gd name="T7" fmla="*/ 8 h 8"/>
                <a:gd name="T8" fmla="*/ 0 w 1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8">
                  <a:moveTo>
                    <a:pt x="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3" y="0"/>
                    <a:pt x="14" y="2"/>
                    <a:pt x="12" y="3"/>
                  </a:cubicBezTo>
                  <a:cubicBezTo>
                    <a:pt x="5" y="8"/>
                    <a:pt x="5" y="8"/>
                    <a:pt x="5" y="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75">
              <a:extLst>
                <a:ext uri="{FF2B5EF4-FFF2-40B4-BE49-F238E27FC236}">
                  <a16:creationId xmlns:a16="http://schemas.microsoft.com/office/drawing/2014/main" id="{B989F143-0EEF-431F-838B-B5C2AFF66D7C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31450" y="1957388"/>
              <a:ext cx="476250" cy="211138"/>
            </a:xfrm>
            <a:custGeom>
              <a:avLst/>
              <a:gdLst>
                <a:gd name="T0" fmla="*/ 143 w 161"/>
                <a:gd name="T1" fmla="*/ 35 h 71"/>
                <a:gd name="T2" fmla="*/ 105 w 161"/>
                <a:gd name="T3" fmla="*/ 29 h 71"/>
                <a:gd name="T4" fmla="*/ 104 w 161"/>
                <a:gd name="T5" fmla="*/ 29 h 71"/>
                <a:gd name="T6" fmla="*/ 105 w 161"/>
                <a:gd name="T7" fmla="*/ 26 h 71"/>
                <a:gd name="T8" fmla="*/ 4 w 161"/>
                <a:gd name="T9" fmla="*/ 0 h 71"/>
                <a:gd name="T10" fmla="*/ 0 w 161"/>
                <a:gd name="T11" fmla="*/ 7 h 71"/>
                <a:gd name="T12" fmla="*/ 16 w 161"/>
                <a:gd name="T13" fmla="*/ 24 h 71"/>
                <a:gd name="T14" fmla="*/ 9 w 161"/>
                <a:gd name="T15" fmla="*/ 25 h 71"/>
                <a:gd name="T16" fmla="*/ 4 w 161"/>
                <a:gd name="T17" fmla="*/ 32 h 71"/>
                <a:gd name="T18" fmla="*/ 6 w 161"/>
                <a:gd name="T19" fmla="*/ 34 h 71"/>
                <a:gd name="T20" fmla="*/ 6 w 161"/>
                <a:gd name="T21" fmla="*/ 34 h 71"/>
                <a:gd name="T22" fmla="*/ 8 w 161"/>
                <a:gd name="T23" fmla="*/ 33 h 71"/>
                <a:gd name="T24" fmla="*/ 11 w 161"/>
                <a:gd name="T25" fmla="*/ 29 h 71"/>
                <a:gd name="T26" fmla="*/ 22 w 161"/>
                <a:gd name="T27" fmla="*/ 28 h 71"/>
                <a:gd name="T28" fmla="*/ 23 w 161"/>
                <a:gd name="T29" fmla="*/ 28 h 71"/>
                <a:gd name="T30" fmla="*/ 26 w 161"/>
                <a:gd name="T31" fmla="*/ 31 h 71"/>
                <a:gd name="T32" fmla="*/ 63 w 161"/>
                <a:gd name="T33" fmla="*/ 69 h 71"/>
                <a:gd name="T34" fmla="*/ 34 w 161"/>
                <a:gd name="T35" fmla="*/ 37 h 71"/>
                <a:gd name="T36" fmla="*/ 33 w 161"/>
                <a:gd name="T37" fmla="*/ 35 h 71"/>
                <a:gd name="T38" fmla="*/ 38 w 161"/>
                <a:gd name="T39" fmla="*/ 25 h 71"/>
                <a:gd name="T40" fmla="*/ 48 w 161"/>
                <a:gd name="T41" fmla="*/ 28 h 71"/>
                <a:gd name="T42" fmla="*/ 50 w 161"/>
                <a:gd name="T43" fmla="*/ 31 h 71"/>
                <a:gd name="T44" fmla="*/ 50 w 161"/>
                <a:gd name="T45" fmla="*/ 44 h 71"/>
                <a:gd name="T46" fmla="*/ 95 w 161"/>
                <a:gd name="T47" fmla="*/ 50 h 71"/>
                <a:gd name="T48" fmla="*/ 101 w 161"/>
                <a:gd name="T49" fmla="*/ 39 h 71"/>
                <a:gd name="T50" fmla="*/ 101 w 161"/>
                <a:gd name="T51" fmla="*/ 39 h 71"/>
                <a:gd name="T52" fmla="*/ 141 w 161"/>
                <a:gd name="T53" fmla="*/ 66 h 71"/>
                <a:gd name="T54" fmla="*/ 143 w 161"/>
                <a:gd name="T55" fmla="*/ 3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1" h="71">
                  <a:moveTo>
                    <a:pt x="143" y="35"/>
                  </a:moveTo>
                  <a:cubicBezTo>
                    <a:pt x="125" y="21"/>
                    <a:pt x="105" y="29"/>
                    <a:pt x="105" y="29"/>
                  </a:cubicBezTo>
                  <a:cubicBezTo>
                    <a:pt x="104" y="29"/>
                    <a:pt x="104" y="29"/>
                    <a:pt x="104" y="29"/>
                  </a:cubicBezTo>
                  <a:cubicBezTo>
                    <a:pt x="104" y="27"/>
                    <a:pt x="105" y="26"/>
                    <a:pt x="105" y="2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1" y="0"/>
                    <a:pt x="0" y="7"/>
                  </a:cubicBezTo>
                  <a:cubicBezTo>
                    <a:pt x="0" y="7"/>
                    <a:pt x="6" y="15"/>
                    <a:pt x="16" y="24"/>
                  </a:cubicBezTo>
                  <a:cubicBezTo>
                    <a:pt x="14" y="23"/>
                    <a:pt x="11" y="24"/>
                    <a:pt x="9" y="25"/>
                  </a:cubicBezTo>
                  <a:cubicBezTo>
                    <a:pt x="5" y="27"/>
                    <a:pt x="4" y="32"/>
                    <a:pt x="4" y="32"/>
                  </a:cubicBezTo>
                  <a:cubicBezTo>
                    <a:pt x="4" y="33"/>
                    <a:pt x="5" y="34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7" y="34"/>
                    <a:pt x="8" y="33"/>
                    <a:pt x="8" y="33"/>
                  </a:cubicBezTo>
                  <a:cubicBezTo>
                    <a:pt x="8" y="32"/>
                    <a:pt x="9" y="30"/>
                    <a:pt x="11" y="29"/>
                  </a:cubicBezTo>
                  <a:cubicBezTo>
                    <a:pt x="14" y="27"/>
                    <a:pt x="17" y="27"/>
                    <a:pt x="22" y="28"/>
                  </a:cubicBezTo>
                  <a:cubicBezTo>
                    <a:pt x="22" y="28"/>
                    <a:pt x="22" y="29"/>
                    <a:pt x="23" y="28"/>
                  </a:cubicBezTo>
                  <a:cubicBezTo>
                    <a:pt x="24" y="29"/>
                    <a:pt x="25" y="30"/>
                    <a:pt x="26" y="31"/>
                  </a:cubicBezTo>
                  <a:cubicBezTo>
                    <a:pt x="26" y="40"/>
                    <a:pt x="32" y="57"/>
                    <a:pt x="63" y="69"/>
                  </a:cubicBezTo>
                  <a:cubicBezTo>
                    <a:pt x="57" y="62"/>
                    <a:pt x="34" y="37"/>
                    <a:pt x="34" y="37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2" y="31"/>
                    <a:pt x="34" y="26"/>
                    <a:pt x="38" y="25"/>
                  </a:cubicBezTo>
                  <a:cubicBezTo>
                    <a:pt x="42" y="23"/>
                    <a:pt x="46" y="25"/>
                    <a:pt x="48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2" y="35"/>
                    <a:pt x="52" y="40"/>
                    <a:pt x="50" y="44"/>
                  </a:cubicBezTo>
                  <a:cubicBezTo>
                    <a:pt x="63" y="49"/>
                    <a:pt x="78" y="52"/>
                    <a:pt x="95" y="50"/>
                  </a:cubicBezTo>
                  <a:cubicBezTo>
                    <a:pt x="98" y="47"/>
                    <a:pt x="99" y="43"/>
                    <a:pt x="101" y="39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6" y="71"/>
                    <a:pt x="135" y="70"/>
                    <a:pt x="141" y="66"/>
                  </a:cubicBezTo>
                  <a:cubicBezTo>
                    <a:pt x="147" y="63"/>
                    <a:pt x="161" y="49"/>
                    <a:pt x="143" y="35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76">
              <a:extLst>
                <a:ext uri="{FF2B5EF4-FFF2-40B4-BE49-F238E27FC236}">
                  <a16:creationId xmlns:a16="http://schemas.microsoft.com/office/drawing/2014/main" id="{74127C08-A565-434E-A284-EB316D55877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652125" y="2138363"/>
              <a:ext cx="458787" cy="560388"/>
            </a:xfrm>
            <a:custGeom>
              <a:avLst/>
              <a:gdLst>
                <a:gd name="T0" fmla="*/ 155 w 155"/>
                <a:gd name="T1" fmla="*/ 173 h 189"/>
                <a:gd name="T2" fmla="*/ 28 w 155"/>
                <a:gd name="T3" fmla="*/ 3 h 189"/>
                <a:gd name="T4" fmla="*/ 0 w 155"/>
                <a:gd name="T5" fmla="*/ 2 h 189"/>
                <a:gd name="T6" fmla="*/ 0 w 155"/>
                <a:gd name="T7" fmla="*/ 3 h 189"/>
                <a:gd name="T8" fmla="*/ 100 w 155"/>
                <a:gd name="T9" fmla="*/ 88 h 189"/>
                <a:gd name="T10" fmla="*/ 110 w 155"/>
                <a:gd name="T11" fmla="*/ 178 h 189"/>
                <a:gd name="T12" fmla="*/ 130 w 155"/>
                <a:gd name="T13" fmla="*/ 171 h 189"/>
                <a:gd name="T14" fmla="*/ 134 w 155"/>
                <a:gd name="T15" fmla="*/ 189 h 189"/>
                <a:gd name="T16" fmla="*/ 155 w 155"/>
                <a:gd name="T17" fmla="*/ 17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5" h="189">
                  <a:moveTo>
                    <a:pt x="155" y="173"/>
                  </a:moveTo>
                  <a:cubicBezTo>
                    <a:pt x="150" y="131"/>
                    <a:pt x="88" y="26"/>
                    <a:pt x="28" y="3"/>
                  </a:cubicBezTo>
                  <a:cubicBezTo>
                    <a:pt x="19" y="0"/>
                    <a:pt x="9" y="0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82" y="45"/>
                    <a:pt x="100" y="88"/>
                  </a:cubicBezTo>
                  <a:cubicBezTo>
                    <a:pt x="117" y="131"/>
                    <a:pt x="116" y="167"/>
                    <a:pt x="110" y="178"/>
                  </a:cubicBezTo>
                  <a:cubicBezTo>
                    <a:pt x="117" y="179"/>
                    <a:pt x="125" y="174"/>
                    <a:pt x="130" y="171"/>
                  </a:cubicBezTo>
                  <a:cubicBezTo>
                    <a:pt x="132" y="178"/>
                    <a:pt x="134" y="185"/>
                    <a:pt x="134" y="189"/>
                  </a:cubicBezTo>
                  <a:cubicBezTo>
                    <a:pt x="149" y="182"/>
                    <a:pt x="155" y="173"/>
                    <a:pt x="155" y="173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77">
              <a:extLst>
                <a:ext uri="{FF2B5EF4-FFF2-40B4-BE49-F238E27FC236}">
                  <a16:creationId xmlns:a16="http://schemas.microsoft.com/office/drawing/2014/main" id="{948F4145-B81D-4AA6-AD64-E14B4E5657D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609263" y="2295525"/>
              <a:ext cx="84137" cy="111125"/>
            </a:xfrm>
            <a:custGeom>
              <a:avLst/>
              <a:gdLst>
                <a:gd name="T0" fmla="*/ 0 w 28"/>
                <a:gd name="T1" fmla="*/ 35 h 37"/>
                <a:gd name="T2" fmla="*/ 27 w 28"/>
                <a:gd name="T3" fmla="*/ 0 h 37"/>
                <a:gd name="T4" fmla="*/ 23 w 28"/>
                <a:gd name="T5" fmla="*/ 26 h 37"/>
                <a:gd name="T6" fmla="*/ 0 w 28"/>
                <a:gd name="T7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37">
                  <a:moveTo>
                    <a:pt x="0" y="35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8" y="15"/>
                    <a:pt x="23" y="26"/>
                  </a:cubicBezTo>
                  <a:cubicBezTo>
                    <a:pt x="18" y="37"/>
                    <a:pt x="0" y="35"/>
                    <a:pt x="0" y="35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78">
              <a:extLst>
                <a:ext uri="{FF2B5EF4-FFF2-40B4-BE49-F238E27FC236}">
                  <a16:creationId xmlns:a16="http://schemas.microsoft.com/office/drawing/2014/main" id="{FEDF91F3-3F62-47CC-B44E-AB86798D52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4213" y="2940050"/>
              <a:ext cx="92075" cy="61913"/>
            </a:xfrm>
            <a:custGeom>
              <a:avLst/>
              <a:gdLst>
                <a:gd name="T0" fmla="*/ 31 w 31"/>
                <a:gd name="T1" fmla="*/ 6 h 21"/>
                <a:gd name="T2" fmla="*/ 3 w 31"/>
                <a:gd name="T3" fmla="*/ 21 h 21"/>
                <a:gd name="T4" fmla="*/ 31 w 31"/>
                <a:gd name="T5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21">
                  <a:moveTo>
                    <a:pt x="31" y="6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0" y="0"/>
                    <a:pt x="31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9">
              <a:extLst>
                <a:ext uri="{FF2B5EF4-FFF2-40B4-BE49-F238E27FC236}">
                  <a16:creationId xmlns:a16="http://schemas.microsoft.com/office/drawing/2014/main" id="{39641B85-6663-4968-AC49-4C24536D1C61}"/>
                </a:ext>
              </a:extLst>
            </p:cNvPr>
            <p:cNvSpPr>
              <a:spLocks/>
            </p:cNvSpPr>
            <p:nvPr/>
          </p:nvSpPr>
          <p:spPr bwMode="gray">
            <a:xfrm>
              <a:off x="7372350" y="3621088"/>
              <a:ext cx="212725" cy="160338"/>
            </a:xfrm>
            <a:custGeom>
              <a:avLst/>
              <a:gdLst>
                <a:gd name="T0" fmla="*/ 72 w 72"/>
                <a:gd name="T1" fmla="*/ 31 h 54"/>
                <a:gd name="T2" fmla="*/ 67 w 72"/>
                <a:gd name="T3" fmla="*/ 31 h 54"/>
                <a:gd name="T4" fmla="*/ 50 w 72"/>
                <a:gd name="T5" fmla="*/ 38 h 54"/>
                <a:gd name="T6" fmla="*/ 37 w 72"/>
                <a:gd name="T7" fmla="*/ 54 h 54"/>
                <a:gd name="T8" fmla="*/ 0 w 72"/>
                <a:gd name="T9" fmla="*/ 35 h 54"/>
                <a:gd name="T10" fmla="*/ 32 w 72"/>
                <a:gd name="T11" fmla="*/ 0 h 54"/>
                <a:gd name="T12" fmla="*/ 72 w 72"/>
                <a:gd name="T13" fmla="*/ 3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54">
                  <a:moveTo>
                    <a:pt x="72" y="31"/>
                  </a:moveTo>
                  <a:cubicBezTo>
                    <a:pt x="67" y="31"/>
                    <a:pt x="67" y="31"/>
                    <a:pt x="67" y="31"/>
                  </a:cubicBezTo>
                  <a:cubicBezTo>
                    <a:pt x="61" y="31"/>
                    <a:pt x="55" y="33"/>
                    <a:pt x="50" y="38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72" y="31"/>
                  </a:lnTo>
                  <a:close/>
                </a:path>
              </a:pathLst>
            </a:custGeom>
            <a:solidFill>
              <a:srgbClr val="AB84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80">
              <a:extLst>
                <a:ext uri="{FF2B5EF4-FFF2-40B4-BE49-F238E27FC236}">
                  <a16:creationId xmlns:a16="http://schemas.microsoft.com/office/drawing/2014/main" id="{441FD2CD-B9D3-4029-BA8B-EBD6FC7FA619}"/>
                </a:ext>
              </a:extLst>
            </p:cNvPr>
            <p:cNvSpPr>
              <a:spLocks/>
            </p:cNvSpPr>
            <p:nvPr/>
          </p:nvSpPr>
          <p:spPr bwMode="gray">
            <a:xfrm>
              <a:off x="7869238" y="3708400"/>
              <a:ext cx="222250" cy="180975"/>
            </a:xfrm>
            <a:custGeom>
              <a:avLst/>
              <a:gdLst>
                <a:gd name="T0" fmla="*/ 40 w 75"/>
                <a:gd name="T1" fmla="*/ 48 h 61"/>
                <a:gd name="T2" fmla="*/ 49 w 75"/>
                <a:gd name="T3" fmla="*/ 33 h 61"/>
                <a:gd name="T4" fmla="*/ 65 w 75"/>
                <a:gd name="T5" fmla="*/ 27 h 61"/>
                <a:gd name="T6" fmla="*/ 63 w 75"/>
                <a:gd name="T7" fmla="*/ 22 h 61"/>
                <a:gd name="T8" fmla="*/ 51 w 75"/>
                <a:gd name="T9" fmla="*/ 22 h 61"/>
                <a:gd name="T10" fmla="*/ 71 w 75"/>
                <a:gd name="T11" fmla="*/ 10 h 61"/>
                <a:gd name="T12" fmla="*/ 74 w 75"/>
                <a:gd name="T13" fmla="*/ 1 h 61"/>
                <a:gd name="T14" fmla="*/ 74 w 75"/>
                <a:gd name="T15" fmla="*/ 1 h 61"/>
                <a:gd name="T16" fmla="*/ 70 w 75"/>
                <a:gd name="T17" fmla="*/ 1 h 61"/>
                <a:gd name="T18" fmla="*/ 67 w 75"/>
                <a:gd name="T19" fmla="*/ 0 h 61"/>
                <a:gd name="T20" fmla="*/ 36 w 75"/>
                <a:gd name="T21" fmla="*/ 13 h 61"/>
                <a:gd name="T22" fmla="*/ 30 w 75"/>
                <a:gd name="T23" fmla="*/ 18 h 61"/>
                <a:gd name="T24" fmla="*/ 19 w 75"/>
                <a:gd name="T25" fmla="*/ 37 h 61"/>
                <a:gd name="T26" fmla="*/ 0 w 75"/>
                <a:gd name="T27" fmla="*/ 42 h 61"/>
                <a:gd name="T28" fmla="*/ 3 w 75"/>
                <a:gd name="T29" fmla="*/ 61 h 61"/>
                <a:gd name="T30" fmla="*/ 16 w 75"/>
                <a:gd name="T31" fmla="*/ 61 h 61"/>
                <a:gd name="T32" fmla="*/ 40 w 75"/>
                <a:gd name="T33" fmla="*/ 4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" h="61">
                  <a:moveTo>
                    <a:pt x="40" y="48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65" y="27"/>
                    <a:pt x="65" y="27"/>
                    <a:pt x="65" y="27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4" y="8"/>
                    <a:pt x="75" y="4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3" y="14"/>
                    <a:pt x="31" y="16"/>
                    <a:pt x="30" y="18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26" y="61"/>
                    <a:pt x="35" y="56"/>
                    <a:pt x="40" y="48"/>
                  </a:cubicBez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81">
              <a:extLst>
                <a:ext uri="{FF2B5EF4-FFF2-40B4-BE49-F238E27FC236}">
                  <a16:creationId xmlns:a16="http://schemas.microsoft.com/office/drawing/2014/main" id="{8B286482-9ADA-40A9-835E-2D3F4FD0D0A9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6288" y="5072063"/>
              <a:ext cx="322262" cy="133350"/>
            </a:xfrm>
            <a:custGeom>
              <a:avLst/>
              <a:gdLst>
                <a:gd name="T0" fmla="*/ 5 w 109"/>
                <a:gd name="T1" fmla="*/ 6 h 45"/>
                <a:gd name="T2" fmla="*/ 4 w 109"/>
                <a:gd name="T3" fmla="*/ 9 h 45"/>
                <a:gd name="T4" fmla="*/ 0 w 109"/>
                <a:gd name="T5" fmla="*/ 40 h 45"/>
                <a:gd name="T6" fmla="*/ 0 w 109"/>
                <a:gd name="T7" fmla="*/ 43 h 45"/>
                <a:gd name="T8" fmla="*/ 29 w 109"/>
                <a:gd name="T9" fmla="*/ 43 h 45"/>
                <a:gd name="T10" fmla="*/ 34 w 109"/>
                <a:gd name="T11" fmla="*/ 39 h 45"/>
                <a:gd name="T12" fmla="*/ 56 w 109"/>
                <a:gd name="T13" fmla="*/ 45 h 45"/>
                <a:gd name="T14" fmla="*/ 61 w 109"/>
                <a:gd name="T15" fmla="*/ 45 h 45"/>
                <a:gd name="T16" fmla="*/ 105 w 109"/>
                <a:gd name="T17" fmla="*/ 45 h 45"/>
                <a:gd name="T18" fmla="*/ 105 w 109"/>
                <a:gd name="T19" fmla="*/ 45 h 45"/>
                <a:gd name="T20" fmla="*/ 100 w 109"/>
                <a:gd name="T21" fmla="*/ 31 h 45"/>
                <a:gd name="T22" fmla="*/ 75 w 109"/>
                <a:gd name="T23" fmla="*/ 25 h 45"/>
                <a:gd name="T24" fmla="*/ 62 w 109"/>
                <a:gd name="T25" fmla="*/ 16 h 45"/>
                <a:gd name="T26" fmla="*/ 49 w 109"/>
                <a:gd name="T27" fmla="*/ 0 h 45"/>
                <a:gd name="T28" fmla="*/ 5 w 109"/>
                <a:gd name="T2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45">
                  <a:moveTo>
                    <a:pt x="5" y="6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1" y="19"/>
                    <a:pt x="0" y="29"/>
                    <a:pt x="0" y="4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8" y="45"/>
                    <a:pt x="60" y="45"/>
                    <a:pt x="61" y="45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9" y="40"/>
                    <a:pt x="106" y="33"/>
                    <a:pt x="100" y="31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0" y="23"/>
                    <a:pt x="65" y="20"/>
                    <a:pt x="62" y="16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5" y="6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82">
              <a:extLst>
                <a:ext uri="{FF2B5EF4-FFF2-40B4-BE49-F238E27FC236}">
                  <a16:creationId xmlns:a16="http://schemas.microsoft.com/office/drawing/2014/main" id="{0DB4B095-4088-422C-8A7C-8125285CD7EF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8788" y="5024438"/>
              <a:ext cx="322262" cy="133350"/>
            </a:xfrm>
            <a:custGeom>
              <a:avLst/>
              <a:gdLst>
                <a:gd name="T0" fmla="*/ 4 w 109"/>
                <a:gd name="T1" fmla="*/ 6 h 45"/>
                <a:gd name="T2" fmla="*/ 4 w 109"/>
                <a:gd name="T3" fmla="*/ 8 h 45"/>
                <a:gd name="T4" fmla="*/ 0 w 109"/>
                <a:gd name="T5" fmla="*/ 40 h 45"/>
                <a:gd name="T6" fmla="*/ 0 w 109"/>
                <a:gd name="T7" fmla="*/ 43 h 45"/>
                <a:gd name="T8" fmla="*/ 29 w 109"/>
                <a:gd name="T9" fmla="*/ 43 h 45"/>
                <a:gd name="T10" fmla="*/ 34 w 109"/>
                <a:gd name="T11" fmla="*/ 38 h 45"/>
                <a:gd name="T12" fmla="*/ 56 w 109"/>
                <a:gd name="T13" fmla="*/ 44 h 45"/>
                <a:gd name="T14" fmla="*/ 61 w 109"/>
                <a:gd name="T15" fmla="*/ 45 h 45"/>
                <a:gd name="T16" fmla="*/ 105 w 109"/>
                <a:gd name="T17" fmla="*/ 45 h 45"/>
                <a:gd name="T18" fmla="*/ 105 w 109"/>
                <a:gd name="T19" fmla="*/ 45 h 45"/>
                <a:gd name="T20" fmla="*/ 100 w 109"/>
                <a:gd name="T21" fmla="*/ 31 h 45"/>
                <a:gd name="T22" fmla="*/ 75 w 109"/>
                <a:gd name="T23" fmla="*/ 24 h 45"/>
                <a:gd name="T24" fmla="*/ 61 w 109"/>
                <a:gd name="T25" fmla="*/ 16 h 45"/>
                <a:gd name="T26" fmla="*/ 48 w 109"/>
                <a:gd name="T27" fmla="*/ 0 h 45"/>
                <a:gd name="T28" fmla="*/ 4 w 109"/>
                <a:gd name="T2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45">
                  <a:moveTo>
                    <a:pt x="4" y="6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18"/>
                    <a:pt x="0" y="29"/>
                    <a:pt x="0" y="4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8" y="45"/>
                    <a:pt x="59" y="45"/>
                    <a:pt x="61" y="45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9" y="40"/>
                    <a:pt x="106" y="33"/>
                    <a:pt x="100" y="31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69" y="23"/>
                    <a:pt x="65" y="20"/>
                    <a:pt x="61" y="16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83">
              <a:extLst>
                <a:ext uri="{FF2B5EF4-FFF2-40B4-BE49-F238E27FC236}">
                  <a16:creationId xmlns:a16="http://schemas.microsoft.com/office/drawing/2014/main" id="{9658A563-437E-4D9B-8689-BFF4E64B5C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339013" y="3402013"/>
              <a:ext cx="338137" cy="311150"/>
            </a:xfrm>
            <a:custGeom>
              <a:avLst/>
              <a:gdLst>
                <a:gd name="T0" fmla="*/ 110 w 114"/>
                <a:gd name="T1" fmla="*/ 64 h 105"/>
                <a:gd name="T2" fmla="*/ 103 w 114"/>
                <a:gd name="T3" fmla="*/ 56 h 105"/>
                <a:gd name="T4" fmla="*/ 104 w 114"/>
                <a:gd name="T5" fmla="*/ 53 h 105"/>
                <a:gd name="T6" fmla="*/ 48 w 114"/>
                <a:gd name="T7" fmla="*/ 3 h 105"/>
                <a:gd name="T8" fmla="*/ 4 w 114"/>
                <a:gd name="T9" fmla="*/ 47 h 105"/>
                <a:gd name="T10" fmla="*/ 53 w 114"/>
                <a:gd name="T11" fmla="*/ 103 h 105"/>
                <a:gd name="T12" fmla="*/ 85 w 114"/>
                <a:gd name="T13" fmla="*/ 105 h 105"/>
                <a:gd name="T14" fmla="*/ 101 w 114"/>
                <a:gd name="T15" fmla="*/ 91 h 105"/>
                <a:gd name="T16" fmla="*/ 102 w 114"/>
                <a:gd name="T17" fmla="*/ 75 h 105"/>
                <a:gd name="T18" fmla="*/ 105 w 114"/>
                <a:gd name="T19" fmla="*/ 75 h 105"/>
                <a:gd name="T20" fmla="*/ 110 w 114"/>
                <a:gd name="T21" fmla="*/ 6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5">
                  <a:moveTo>
                    <a:pt x="110" y="64"/>
                  </a:moveTo>
                  <a:cubicBezTo>
                    <a:pt x="103" y="56"/>
                    <a:pt x="103" y="56"/>
                    <a:pt x="103" y="56"/>
                  </a:cubicBezTo>
                  <a:cubicBezTo>
                    <a:pt x="103" y="55"/>
                    <a:pt x="104" y="54"/>
                    <a:pt x="104" y="53"/>
                  </a:cubicBezTo>
                  <a:cubicBezTo>
                    <a:pt x="104" y="24"/>
                    <a:pt x="78" y="0"/>
                    <a:pt x="48" y="3"/>
                  </a:cubicBezTo>
                  <a:cubicBezTo>
                    <a:pt x="25" y="6"/>
                    <a:pt x="6" y="25"/>
                    <a:pt x="4" y="47"/>
                  </a:cubicBezTo>
                  <a:cubicBezTo>
                    <a:pt x="0" y="78"/>
                    <a:pt x="24" y="103"/>
                    <a:pt x="53" y="103"/>
                  </a:cubicBezTo>
                  <a:cubicBezTo>
                    <a:pt x="60" y="103"/>
                    <a:pt x="74" y="104"/>
                    <a:pt x="85" y="105"/>
                  </a:cubicBezTo>
                  <a:cubicBezTo>
                    <a:pt x="93" y="105"/>
                    <a:pt x="100" y="99"/>
                    <a:pt x="101" y="91"/>
                  </a:cubicBezTo>
                  <a:cubicBezTo>
                    <a:pt x="101" y="86"/>
                    <a:pt x="102" y="81"/>
                    <a:pt x="102" y="75"/>
                  </a:cubicBezTo>
                  <a:cubicBezTo>
                    <a:pt x="105" y="75"/>
                    <a:pt x="105" y="75"/>
                    <a:pt x="105" y="75"/>
                  </a:cubicBezTo>
                  <a:cubicBezTo>
                    <a:pt x="111" y="75"/>
                    <a:pt x="114" y="69"/>
                    <a:pt x="110" y="64"/>
                  </a:cubicBez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84">
              <a:extLst>
                <a:ext uri="{FF2B5EF4-FFF2-40B4-BE49-F238E27FC236}">
                  <a16:creationId xmlns:a16="http://schemas.microsoft.com/office/drawing/2014/main" id="{7C48B86B-80E5-4A41-82E9-31470433E7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2438" y="4167188"/>
              <a:ext cx="577850" cy="987425"/>
            </a:xfrm>
            <a:custGeom>
              <a:avLst/>
              <a:gdLst>
                <a:gd name="T0" fmla="*/ 192 w 195"/>
                <a:gd name="T1" fmla="*/ 160 h 333"/>
                <a:gd name="T2" fmla="*/ 151 w 195"/>
                <a:gd name="T3" fmla="*/ 65 h 333"/>
                <a:gd name="T4" fmla="*/ 156 w 195"/>
                <a:gd name="T5" fmla="*/ 42 h 333"/>
                <a:gd name="T6" fmla="*/ 53 w 195"/>
                <a:gd name="T7" fmla="*/ 0 h 333"/>
                <a:gd name="T8" fmla="*/ 48 w 195"/>
                <a:gd name="T9" fmla="*/ 18 h 333"/>
                <a:gd name="T10" fmla="*/ 52 w 195"/>
                <a:gd name="T11" fmla="*/ 68 h 333"/>
                <a:gd name="T12" fmla="*/ 62 w 195"/>
                <a:gd name="T13" fmla="*/ 155 h 333"/>
                <a:gd name="T14" fmla="*/ 46 w 195"/>
                <a:gd name="T15" fmla="*/ 183 h 333"/>
                <a:gd name="T16" fmla="*/ 0 w 195"/>
                <a:gd name="T17" fmla="*/ 313 h 333"/>
                <a:gd name="T18" fmla="*/ 66 w 195"/>
                <a:gd name="T19" fmla="*/ 308 h 333"/>
                <a:gd name="T20" fmla="*/ 64 w 195"/>
                <a:gd name="T21" fmla="*/ 278 h 333"/>
                <a:gd name="T22" fmla="*/ 111 w 195"/>
                <a:gd name="T23" fmla="*/ 169 h 333"/>
                <a:gd name="T24" fmla="*/ 114 w 195"/>
                <a:gd name="T25" fmla="*/ 154 h 333"/>
                <a:gd name="T26" fmla="*/ 132 w 195"/>
                <a:gd name="T27" fmla="*/ 170 h 333"/>
                <a:gd name="T28" fmla="*/ 123 w 195"/>
                <a:gd name="T29" fmla="*/ 193 h 333"/>
                <a:gd name="T30" fmla="*/ 112 w 195"/>
                <a:gd name="T31" fmla="*/ 315 h 333"/>
                <a:gd name="T32" fmla="*/ 162 w 195"/>
                <a:gd name="T33" fmla="*/ 317 h 333"/>
                <a:gd name="T34" fmla="*/ 194 w 195"/>
                <a:gd name="T35" fmla="*/ 176 h 333"/>
                <a:gd name="T36" fmla="*/ 192 w 195"/>
                <a:gd name="T37" fmla="*/ 16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5" h="333">
                  <a:moveTo>
                    <a:pt x="192" y="160"/>
                  </a:moveTo>
                  <a:cubicBezTo>
                    <a:pt x="151" y="65"/>
                    <a:pt x="151" y="65"/>
                    <a:pt x="151" y="65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2" y="34"/>
                    <a:pt x="43" y="53"/>
                    <a:pt x="52" y="68"/>
                  </a:cubicBezTo>
                  <a:cubicBezTo>
                    <a:pt x="62" y="155"/>
                    <a:pt x="62" y="155"/>
                    <a:pt x="62" y="155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46" y="183"/>
                    <a:pt x="0" y="287"/>
                    <a:pt x="0" y="313"/>
                  </a:cubicBezTo>
                  <a:cubicBezTo>
                    <a:pt x="38" y="333"/>
                    <a:pt x="66" y="308"/>
                    <a:pt x="66" y="308"/>
                  </a:cubicBezTo>
                  <a:cubicBezTo>
                    <a:pt x="64" y="278"/>
                    <a:pt x="64" y="278"/>
                    <a:pt x="64" y="278"/>
                  </a:cubicBezTo>
                  <a:cubicBezTo>
                    <a:pt x="111" y="169"/>
                    <a:pt x="111" y="169"/>
                    <a:pt x="111" y="169"/>
                  </a:cubicBezTo>
                  <a:cubicBezTo>
                    <a:pt x="114" y="154"/>
                    <a:pt x="114" y="154"/>
                    <a:pt x="114" y="154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23" y="193"/>
                    <a:pt x="123" y="193"/>
                    <a:pt x="123" y="193"/>
                  </a:cubicBezTo>
                  <a:cubicBezTo>
                    <a:pt x="112" y="315"/>
                    <a:pt x="112" y="315"/>
                    <a:pt x="112" y="315"/>
                  </a:cubicBezTo>
                  <a:cubicBezTo>
                    <a:pt x="112" y="315"/>
                    <a:pt x="129" y="330"/>
                    <a:pt x="162" y="317"/>
                  </a:cubicBezTo>
                  <a:cubicBezTo>
                    <a:pt x="169" y="274"/>
                    <a:pt x="188" y="200"/>
                    <a:pt x="194" y="176"/>
                  </a:cubicBezTo>
                  <a:cubicBezTo>
                    <a:pt x="195" y="171"/>
                    <a:pt x="194" y="165"/>
                    <a:pt x="192" y="160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85">
              <a:extLst>
                <a:ext uri="{FF2B5EF4-FFF2-40B4-BE49-F238E27FC236}">
                  <a16:creationId xmlns:a16="http://schemas.microsoft.com/office/drawing/2014/main" id="{0A759268-773E-49F4-A389-8A85A9229E28}"/>
                </a:ext>
              </a:extLst>
            </p:cNvPr>
            <p:cNvSpPr>
              <a:spLocks/>
            </p:cNvSpPr>
            <p:nvPr/>
          </p:nvSpPr>
          <p:spPr bwMode="gray">
            <a:xfrm>
              <a:off x="6959600" y="3648075"/>
              <a:ext cx="942975" cy="692150"/>
            </a:xfrm>
            <a:custGeom>
              <a:avLst/>
              <a:gdLst>
                <a:gd name="T0" fmla="*/ 316 w 318"/>
                <a:gd name="T1" fmla="*/ 57 h 233"/>
                <a:gd name="T2" fmla="*/ 242 w 318"/>
                <a:gd name="T3" fmla="*/ 63 h 233"/>
                <a:gd name="T4" fmla="*/ 162 w 318"/>
                <a:gd name="T5" fmla="*/ 19 h 233"/>
                <a:gd name="T6" fmla="*/ 146 w 318"/>
                <a:gd name="T7" fmla="*/ 6 h 233"/>
                <a:gd name="T8" fmla="*/ 146 w 318"/>
                <a:gd name="T9" fmla="*/ 6 h 233"/>
                <a:gd name="T10" fmla="*/ 86 w 318"/>
                <a:gd name="T11" fmla="*/ 32 h 233"/>
                <a:gd name="T12" fmla="*/ 59 w 318"/>
                <a:gd name="T13" fmla="*/ 89 h 233"/>
                <a:gd name="T14" fmla="*/ 28 w 318"/>
                <a:gd name="T15" fmla="*/ 134 h 233"/>
                <a:gd name="T16" fmla="*/ 2 w 318"/>
                <a:gd name="T17" fmla="*/ 163 h 233"/>
                <a:gd name="T18" fmla="*/ 0 w 318"/>
                <a:gd name="T19" fmla="*/ 175 h 233"/>
                <a:gd name="T20" fmla="*/ 115 w 318"/>
                <a:gd name="T21" fmla="*/ 233 h 233"/>
                <a:gd name="T22" fmla="*/ 134 w 318"/>
                <a:gd name="T23" fmla="*/ 180 h 233"/>
                <a:gd name="T24" fmla="*/ 166 w 318"/>
                <a:gd name="T25" fmla="*/ 95 h 233"/>
                <a:gd name="T26" fmla="*/ 167 w 318"/>
                <a:gd name="T27" fmla="*/ 91 h 233"/>
                <a:gd name="T28" fmla="*/ 167 w 318"/>
                <a:gd name="T29" fmla="*/ 81 h 233"/>
                <a:gd name="T30" fmla="*/ 230 w 318"/>
                <a:gd name="T31" fmla="*/ 101 h 233"/>
                <a:gd name="T32" fmla="*/ 239 w 318"/>
                <a:gd name="T33" fmla="*/ 102 h 233"/>
                <a:gd name="T34" fmla="*/ 318 w 318"/>
                <a:gd name="T35" fmla="*/ 88 h 233"/>
                <a:gd name="T36" fmla="*/ 316 w 318"/>
                <a:gd name="T37" fmla="*/ 57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8" h="233">
                  <a:moveTo>
                    <a:pt x="316" y="57"/>
                  </a:moveTo>
                  <a:cubicBezTo>
                    <a:pt x="242" y="63"/>
                    <a:pt x="242" y="63"/>
                    <a:pt x="242" y="63"/>
                  </a:cubicBezTo>
                  <a:cubicBezTo>
                    <a:pt x="162" y="19"/>
                    <a:pt x="162" y="19"/>
                    <a:pt x="162" y="19"/>
                  </a:cubicBezTo>
                  <a:cubicBezTo>
                    <a:pt x="159" y="13"/>
                    <a:pt x="153" y="8"/>
                    <a:pt x="146" y="6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23" y="0"/>
                    <a:pt x="98" y="11"/>
                    <a:pt x="86" y="32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1" y="106"/>
                    <a:pt x="41" y="121"/>
                    <a:pt x="28" y="134"/>
                  </a:cubicBezTo>
                  <a:cubicBezTo>
                    <a:pt x="2" y="163"/>
                    <a:pt x="2" y="163"/>
                    <a:pt x="2" y="163"/>
                  </a:cubicBezTo>
                  <a:cubicBezTo>
                    <a:pt x="2" y="163"/>
                    <a:pt x="1" y="171"/>
                    <a:pt x="0" y="175"/>
                  </a:cubicBezTo>
                  <a:cubicBezTo>
                    <a:pt x="45" y="213"/>
                    <a:pt x="115" y="233"/>
                    <a:pt x="115" y="233"/>
                  </a:cubicBezTo>
                  <a:cubicBezTo>
                    <a:pt x="117" y="215"/>
                    <a:pt x="125" y="196"/>
                    <a:pt x="134" y="180"/>
                  </a:cubicBezTo>
                  <a:cubicBezTo>
                    <a:pt x="148" y="154"/>
                    <a:pt x="159" y="125"/>
                    <a:pt x="166" y="95"/>
                  </a:cubicBezTo>
                  <a:cubicBezTo>
                    <a:pt x="167" y="91"/>
                    <a:pt x="167" y="91"/>
                    <a:pt x="167" y="91"/>
                  </a:cubicBezTo>
                  <a:cubicBezTo>
                    <a:pt x="167" y="81"/>
                    <a:pt x="167" y="81"/>
                    <a:pt x="167" y="81"/>
                  </a:cubicBezTo>
                  <a:cubicBezTo>
                    <a:pt x="230" y="101"/>
                    <a:pt x="230" y="101"/>
                    <a:pt x="230" y="101"/>
                  </a:cubicBezTo>
                  <a:cubicBezTo>
                    <a:pt x="233" y="102"/>
                    <a:pt x="236" y="102"/>
                    <a:pt x="239" y="102"/>
                  </a:cubicBezTo>
                  <a:cubicBezTo>
                    <a:pt x="318" y="88"/>
                    <a:pt x="318" y="88"/>
                    <a:pt x="318" y="88"/>
                  </a:cubicBezTo>
                  <a:lnTo>
                    <a:pt x="316" y="57"/>
                  </a:ln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6">
              <a:extLst>
                <a:ext uri="{FF2B5EF4-FFF2-40B4-BE49-F238E27FC236}">
                  <a16:creationId xmlns:a16="http://schemas.microsoft.com/office/drawing/2014/main" id="{B3448EA8-30A3-4DDD-936D-44294AAD40CF}"/>
                </a:ext>
              </a:extLst>
            </p:cNvPr>
            <p:cNvSpPr>
              <a:spLocks/>
            </p:cNvSpPr>
            <p:nvPr/>
          </p:nvSpPr>
          <p:spPr bwMode="gray">
            <a:xfrm>
              <a:off x="7339013" y="3360738"/>
              <a:ext cx="231775" cy="307975"/>
            </a:xfrm>
            <a:custGeom>
              <a:avLst/>
              <a:gdLst>
                <a:gd name="T0" fmla="*/ 60 w 78"/>
                <a:gd name="T1" fmla="*/ 34 h 104"/>
                <a:gd name="T2" fmla="*/ 78 w 78"/>
                <a:gd name="T3" fmla="*/ 23 h 104"/>
                <a:gd name="T4" fmla="*/ 51 w 78"/>
                <a:gd name="T5" fmla="*/ 2 h 104"/>
                <a:gd name="T6" fmla="*/ 37 w 78"/>
                <a:gd name="T7" fmla="*/ 0 h 104"/>
                <a:gd name="T8" fmla="*/ 41 w 78"/>
                <a:gd name="T9" fmla="*/ 13 h 104"/>
                <a:gd name="T10" fmla="*/ 13 w 78"/>
                <a:gd name="T11" fmla="*/ 16 h 104"/>
                <a:gd name="T12" fmla="*/ 11 w 78"/>
                <a:gd name="T13" fmla="*/ 17 h 104"/>
                <a:gd name="T14" fmla="*/ 19 w 78"/>
                <a:gd name="T15" fmla="*/ 24 h 104"/>
                <a:gd name="T16" fmla="*/ 0 w 78"/>
                <a:gd name="T17" fmla="*/ 63 h 104"/>
                <a:gd name="T18" fmla="*/ 18 w 78"/>
                <a:gd name="T19" fmla="*/ 104 h 104"/>
                <a:gd name="T20" fmla="*/ 48 w 78"/>
                <a:gd name="T21" fmla="*/ 80 h 104"/>
                <a:gd name="T22" fmla="*/ 38 w 78"/>
                <a:gd name="T23" fmla="*/ 67 h 104"/>
                <a:gd name="T24" fmla="*/ 38 w 78"/>
                <a:gd name="T25" fmla="*/ 64 h 104"/>
                <a:gd name="T26" fmla="*/ 48 w 78"/>
                <a:gd name="T27" fmla="*/ 54 h 104"/>
                <a:gd name="T28" fmla="*/ 57 w 78"/>
                <a:gd name="T29" fmla="*/ 64 h 104"/>
                <a:gd name="T30" fmla="*/ 57 w 78"/>
                <a:gd name="T31" fmla="*/ 73 h 104"/>
                <a:gd name="T32" fmla="*/ 64 w 78"/>
                <a:gd name="T33" fmla="*/ 74 h 104"/>
                <a:gd name="T34" fmla="*/ 57 w 78"/>
                <a:gd name="T35" fmla="*/ 46 h 104"/>
                <a:gd name="T36" fmla="*/ 60 w 78"/>
                <a:gd name="T37" fmla="*/ 3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" h="104">
                  <a:moveTo>
                    <a:pt x="60" y="34"/>
                  </a:moveTo>
                  <a:cubicBezTo>
                    <a:pt x="78" y="23"/>
                    <a:pt x="78" y="23"/>
                    <a:pt x="78" y="23"/>
                  </a:cubicBezTo>
                  <a:cubicBezTo>
                    <a:pt x="73" y="12"/>
                    <a:pt x="63" y="5"/>
                    <a:pt x="51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2" y="11"/>
                    <a:pt x="22" y="12"/>
                    <a:pt x="13" y="16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4"/>
                    <a:pt x="0" y="32"/>
                    <a:pt x="0" y="63"/>
                  </a:cubicBezTo>
                  <a:cubicBezTo>
                    <a:pt x="0" y="94"/>
                    <a:pt x="18" y="104"/>
                    <a:pt x="18" y="104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2" y="79"/>
                    <a:pt x="38" y="73"/>
                    <a:pt x="38" y="67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59"/>
                    <a:pt x="42" y="54"/>
                    <a:pt x="48" y="54"/>
                  </a:cubicBezTo>
                  <a:cubicBezTo>
                    <a:pt x="53" y="54"/>
                    <a:pt x="57" y="59"/>
                    <a:pt x="57" y="64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4" y="74"/>
                    <a:pt x="67" y="57"/>
                    <a:pt x="57" y="46"/>
                  </a:cubicBezTo>
                  <a:cubicBezTo>
                    <a:pt x="54" y="43"/>
                    <a:pt x="56" y="37"/>
                    <a:pt x="60" y="34"/>
                  </a:cubicBezTo>
                  <a:close/>
                </a:path>
              </a:pathLst>
            </a:custGeom>
            <a:solidFill>
              <a:srgbClr val="FDA8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Oval 87">
              <a:extLst>
                <a:ext uri="{FF2B5EF4-FFF2-40B4-BE49-F238E27FC236}">
                  <a16:creationId xmlns:a16="http://schemas.microsoft.com/office/drawing/2014/main" id="{DD16F081-1C1D-4AD0-98DC-BE627847865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91425" y="3556000"/>
              <a:ext cx="23812" cy="26988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8">
              <a:extLst>
                <a:ext uri="{FF2B5EF4-FFF2-40B4-BE49-F238E27FC236}">
                  <a16:creationId xmlns:a16="http://schemas.microsoft.com/office/drawing/2014/main" id="{6DF4FBBA-FFF5-4D28-9A82-A087F06953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594600" y="3640138"/>
              <a:ext cx="46037" cy="31750"/>
            </a:xfrm>
            <a:custGeom>
              <a:avLst/>
              <a:gdLst>
                <a:gd name="T0" fmla="*/ 16 w 16"/>
                <a:gd name="T1" fmla="*/ 1 h 11"/>
                <a:gd name="T2" fmla="*/ 0 w 16"/>
                <a:gd name="T3" fmla="*/ 0 h 11"/>
                <a:gd name="T4" fmla="*/ 15 w 16"/>
                <a:gd name="T5" fmla="*/ 11 h 11"/>
                <a:gd name="T6" fmla="*/ 16 w 16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1">
                  <a:moveTo>
                    <a:pt x="16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5" y="10"/>
                    <a:pt x="15" y="11"/>
                  </a:cubicBezTo>
                  <a:cubicBezTo>
                    <a:pt x="15" y="8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9">
              <a:extLst>
                <a:ext uri="{FF2B5EF4-FFF2-40B4-BE49-F238E27FC236}">
                  <a16:creationId xmlns:a16="http://schemas.microsoft.com/office/drawing/2014/main" id="{59F07486-D2FF-4D9C-91B0-29B153048970}"/>
                </a:ext>
              </a:extLst>
            </p:cNvPr>
            <p:cNvSpPr>
              <a:spLocks/>
            </p:cNvSpPr>
            <p:nvPr/>
          </p:nvSpPr>
          <p:spPr bwMode="gray">
            <a:xfrm>
              <a:off x="7561263" y="3524250"/>
              <a:ext cx="55562" cy="28575"/>
            </a:xfrm>
            <a:custGeom>
              <a:avLst/>
              <a:gdLst>
                <a:gd name="T0" fmla="*/ 3 w 19"/>
                <a:gd name="T1" fmla="*/ 10 h 10"/>
                <a:gd name="T2" fmla="*/ 1 w 19"/>
                <a:gd name="T3" fmla="*/ 10 h 10"/>
                <a:gd name="T4" fmla="*/ 1 w 19"/>
                <a:gd name="T5" fmla="*/ 7 h 10"/>
                <a:gd name="T6" fmla="*/ 18 w 19"/>
                <a:gd name="T7" fmla="*/ 1 h 10"/>
                <a:gd name="T8" fmla="*/ 19 w 19"/>
                <a:gd name="T9" fmla="*/ 4 h 10"/>
                <a:gd name="T10" fmla="*/ 17 w 19"/>
                <a:gd name="T11" fmla="*/ 5 h 10"/>
                <a:gd name="T12" fmla="*/ 4 w 19"/>
                <a:gd name="T13" fmla="*/ 9 h 10"/>
                <a:gd name="T14" fmla="*/ 3 w 19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0">
                  <a:moveTo>
                    <a:pt x="3" y="10"/>
                  </a:moveTo>
                  <a:cubicBezTo>
                    <a:pt x="2" y="10"/>
                    <a:pt x="2" y="10"/>
                    <a:pt x="1" y="10"/>
                  </a:cubicBezTo>
                  <a:cubicBezTo>
                    <a:pt x="0" y="9"/>
                    <a:pt x="0" y="8"/>
                    <a:pt x="1" y="7"/>
                  </a:cubicBezTo>
                  <a:cubicBezTo>
                    <a:pt x="5" y="2"/>
                    <a:pt x="11" y="0"/>
                    <a:pt x="18" y="1"/>
                  </a:cubicBezTo>
                  <a:cubicBezTo>
                    <a:pt x="19" y="1"/>
                    <a:pt x="19" y="3"/>
                    <a:pt x="19" y="4"/>
                  </a:cubicBezTo>
                  <a:cubicBezTo>
                    <a:pt x="19" y="5"/>
                    <a:pt x="18" y="5"/>
                    <a:pt x="17" y="5"/>
                  </a:cubicBezTo>
                  <a:cubicBezTo>
                    <a:pt x="12" y="4"/>
                    <a:pt x="7" y="5"/>
                    <a:pt x="4" y="9"/>
                  </a:cubicBezTo>
                  <a:cubicBezTo>
                    <a:pt x="4" y="10"/>
                    <a:pt x="3" y="10"/>
                    <a:pt x="3" y="10"/>
                  </a:cubicBezTo>
                  <a:close/>
                </a:path>
              </a:pathLst>
            </a:custGeom>
            <a:solidFill>
              <a:srgbClr val="FDA8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90">
              <a:extLst>
                <a:ext uri="{FF2B5EF4-FFF2-40B4-BE49-F238E27FC236}">
                  <a16:creationId xmlns:a16="http://schemas.microsoft.com/office/drawing/2014/main" id="{EC5D537F-909E-4790-8C4F-B1D3F3EB5477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6000" y="3859213"/>
              <a:ext cx="257175" cy="92075"/>
            </a:xfrm>
            <a:custGeom>
              <a:avLst/>
              <a:gdLst>
                <a:gd name="T0" fmla="*/ 32 w 87"/>
                <a:gd name="T1" fmla="*/ 10 h 31"/>
                <a:gd name="T2" fmla="*/ 0 w 87"/>
                <a:gd name="T3" fmla="*/ 0 h 31"/>
                <a:gd name="T4" fmla="*/ 29 w 87"/>
                <a:gd name="T5" fmla="*/ 20 h 31"/>
                <a:gd name="T6" fmla="*/ 28 w 87"/>
                <a:gd name="T7" fmla="*/ 26 h 31"/>
                <a:gd name="T8" fmla="*/ 68 w 87"/>
                <a:gd name="T9" fmla="*/ 31 h 31"/>
                <a:gd name="T10" fmla="*/ 74 w 87"/>
                <a:gd name="T11" fmla="*/ 31 h 31"/>
                <a:gd name="T12" fmla="*/ 87 w 87"/>
                <a:gd name="T13" fmla="*/ 28 h 31"/>
                <a:gd name="T14" fmla="*/ 32 w 87"/>
                <a:gd name="T15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7" h="31">
                  <a:moveTo>
                    <a:pt x="32" y="1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2" y="15"/>
                    <a:pt x="29" y="20"/>
                  </a:cubicBezTo>
                  <a:cubicBezTo>
                    <a:pt x="29" y="20"/>
                    <a:pt x="28" y="26"/>
                    <a:pt x="28" y="26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70" y="31"/>
                    <a:pt x="72" y="31"/>
                    <a:pt x="74" y="31"/>
                  </a:cubicBezTo>
                  <a:cubicBezTo>
                    <a:pt x="87" y="28"/>
                    <a:pt x="87" y="28"/>
                    <a:pt x="87" y="28"/>
                  </a:cubicBezTo>
                  <a:lnTo>
                    <a:pt x="32" y="10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91">
              <a:extLst>
                <a:ext uri="{FF2B5EF4-FFF2-40B4-BE49-F238E27FC236}">
                  <a16:creationId xmlns:a16="http://schemas.microsoft.com/office/drawing/2014/main" id="{925F0128-830C-41E5-B1BC-711EEB19804F}"/>
                </a:ext>
              </a:extLst>
            </p:cNvPr>
            <p:cNvSpPr>
              <a:spLocks/>
            </p:cNvSpPr>
            <p:nvPr/>
          </p:nvSpPr>
          <p:spPr bwMode="gray">
            <a:xfrm>
              <a:off x="7632700" y="3846513"/>
              <a:ext cx="38100" cy="33338"/>
            </a:xfrm>
            <a:custGeom>
              <a:avLst/>
              <a:gdLst>
                <a:gd name="T0" fmla="*/ 13 w 13"/>
                <a:gd name="T1" fmla="*/ 0 h 11"/>
                <a:gd name="T2" fmla="*/ 3 w 13"/>
                <a:gd name="T3" fmla="*/ 11 h 11"/>
                <a:gd name="T4" fmla="*/ 13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13" y="0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0" y="1"/>
                    <a:pt x="13" y="0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92">
              <a:extLst>
                <a:ext uri="{FF2B5EF4-FFF2-40B4-BE49-F238E27FC236}">
                  <a16:creationId xmlns:a16="http://schemas.microsoft.com/office/drawing/2014/main" id="{1AF3564A-95D7-461F-A794-CEBE7DA9E189}"/>
                </a:ext>
              </a:extLst>
            </p:cNvPr>
            <p:cNvSpPr>
              <a:spLocks/>
            </p:cNvSpPr>
            <p:nvPr/>
          </p:nvSpPr>
          <p:spPr bwMode="gray">
            <a:xfrm>
              <a:off x="9836150" y="4060825"/>
              <a:ext cx="112712" cy="103188"/>
            </a:xfrm>
            <a:custGeom>
              <a:avLst/>
              <a:gdLst>
                <a:gd name="T0" fmla="*/ 18 w 38"/>
                <a:gd name="T1" fmla="*/ 0 h 35"/>
                <a:gd name="T2" fmla="*/ 0 w 38"/>
                <a:gd name="T3" fmla="*/ 35 h 35"/>
                <a:gd name="T4" fmla="*/ 27 w 38"/>
                <a:gd name="T5" fmla="*/ 35 h 35"/>
                <a:gd name="T6" fmla="*/ 38 w 38"/>
                <a:gd name="T7" fmla="*/ 35 h 35"/>
                <a:gd name="T8" fmla="*/ 38 w 38"/>
                <a:gd name="T9" fmla="*/ 2 h 35"/>
                <a:gd name="T10" fmla="*/ 18 w 38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35">
                  <a:moveTo>
                    <a:pt x="18" y="0"/>
                  </a:moveTo>
                  <a:cubicBezTo>
                    <a:pt x="0" y="35"/>
                    <a:pt x="0" y="35"/>
                    <a:pt x="0" y="35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1" y="3"/>
                    <a:pt x="24" y="2"/>
                    <a:pt x="18" y="0"/>
                  </a:cubicBezTo>
                  <a:close/>
                </a:path>
              </a:pathLst>
            </a:custGeom>
            <a:solidFill>
              <a:srgbClr val="725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93">
              <a:extLst>
                <a:ext uri="{FF2B5EF4-FFF2-40B4-BE49-F238E27FC236}">
                  <a16:creationId xmlns:a16="http://schemas.microsoft.com/office/drawing/2014/main" id="{7A9FA440-DD09-45DD-9C2D-D3116E49D262}"/>
                </a:ext>
              </a:extLst>
            </p:cNvPr>
            <p:cNvSpPr>
              <a:spLocks/>
            </p:cNvSpPr>
            <p:nvPr/>
          </p:nvSpPr>
          <p:spPr bwMode="gray">
            <a:xfrm>
              <a:off x="9898063" y="4502150"/>
              <a:ext cx="495300" cy="771525"/>
            </a:xfrm>
            <a:custGeom>
              <a:avLst/>
              <a:gdLst>
                <a:gd name="T0" fmla="*/ 149 w 167"/>
                <a:gd name="T1" fmla="*/ 0 h 260"/>
                <a:gd name="T2" fmla="*/ 167 w 167"/>
                <a:gd name="T3" fmla="*/ 246 h 260"/>
                <a:gd name="T4" fmla="*/ 145 w 167"/>
                <a:gd name="T5" fmla="*/ 257 h 260"/>
                <a:gd name="T6" fmla="*/ 122 w 167"/>
                <a:gd name="T7" fmla="*/ 246 h 260"/>
                <a:gd name="T8" fmla="*/ 79 w 167"/>
                <a:gd name="T9" fmla="*/ 25 h 260"/>
                <a:gd name="T10" fmla="*/ 79 w 167"/>
                <a:gd name="T11" fmla="*/ 25 h 260"/>
                <a:gd name="T12" fmla="*/ 69 w 167"/>
                <a:gd name="T13" fmla="*/ 33 h 260"/>
                <a:gd name="T14" fmla="*/ 47 w 167"/>
                <a:gd name="T15" fmla="*/ 132 h 260"/>
                <a:gd name="T16" fmla="*/ 48 w 167"/>
                <a:gd name="T17" fmla="*/ 247 h 260"/>
                <a:gd name="T18" fmla="*/ 27 w 167"/>
                <a:gd name="T19" fmla="*/ 260 h 260"/>
                <a:gd name="T20" fmla="*/ 8 w 167"/>
                <a:gd name="T21" fmla="*/ 247 h 260"/>
                <a:gd name="T22" fmla="*/ 0 w 167"/>
                <a:gd name="T23" fmla="*/ 130 h 260"/>
                <a:gd name="T24" fmla="*/ 8 w 167"/>
                <a:gd name="T25" fmla="*/ 0 h 260"/>
                <a:gd name="T26" fmla="*/ 149 w 167"/>
                <a:gd name="T2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7" h="260">
                  <a:moveTo>
                    <a:pt x="149" y="0"/>
                  </a:moveTo>
                  <a:cubicBezTo>
                    <a:pt x="167" y="246"/>
                    <a:pt x="167" y="246"/>
                    <a:pt x="167" y="246"/>
                  </a:cubicBezTo>
                  <a:cubicBezTo>
                    <a:pt x="145" y="257"/>
                    <a:pt x="145" y="257"/>
                    <a:pt x="145" y="257"/>
                  </a:cubicBezTo>
                  <a:cubicBezTo>
                    <a:pt x="122" y="246"/>
                    <a:pt x="122" y="246"/>
                    <a:pt x="122" y="246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4" y="25"/>
                    <a:pt x="70" y="28"/>
                    <a:pt x="69" y="33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8" y="247"/>
                    <a:pt x="48" y="247"/>
                    <a:pt x="48" y="247"/>
                  </a:cubicBezTo>
                  <a:cubicBezTo>
                    <a:pt x="27" y="260"/>
                    <a:pt x="27" y="260"/>
                    <a:pt x="27" y="260"/>
                  </a:cubicBezTo>
                  <a:cubicBezTo>
                    <a:pt x="8" y="247"/>
                    <a:pt x="8" y="247"/>
                    <a:pt x="8" y="247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149" y="0"/>
                  </a:ln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94">
              <a:extLst>
                <a:ext uri="{FF2B5EF4-FFF2-40B4-BE49-F238E27FC236}">
                  <a16:creationId xmlns:a16="http://schemas.microsoft.com/office/drawing/2014/main" id="{B5F04E35-B3AA-4EF1-8577-CE0EA758D54C}"/>
                </a:ext>
              </a:extLst>
            </p:cNvPr>
            <p:cNvSpPr>
              <a:spLocks/>
            </p:cNvSpPr>
            <p:nvPr/>
          </p:nvSpPr>
          <p:spPr bwMode="gray">
            <a:xfrm>
              <a:off x="9921875" y="4502150"/>
              <a:ext cx="471487" cy="733425"/>
            </a:xfrm>
            <a:custGeom>
              <a:avLst/>
              <a:gdLst>
                <a:gd name="T0" fmla="*/ 141 w 159"/>
                <a:gd name="T1" fmla="*/ 6 h 247"/>
                <a:gd name="T2" fmla="*/ 141 w 159"/>
                <a:gd name="T3" fmla="*/ 0 h 247"/>
                <a:gd name="T4" fmla="*/ 1 w 159"/>
                <a:gd name="T5" fmla="*/ 0 h 247"/>
                <a:gd name="T6" fmla="*/ 0 w 159"/>
                <a:gd name="T7" fmla="*/ 11 h 247"/>
                <a:gd name="T8" fmla="*/ 53 w 159"/>
                <a:gd name="T9" fmla="*/ 21 h 247"/>
                <a:gd name="T10" fmla="*/ 24 w 159"/>
                <a:gd name="T11" fmla="*/ 67 h 247"/>
                <a:gd name="T12" fmla="*/ 21 w 159"/>
                <a:gd name="T13" fmla="*/ 247 h 247"/>
                <a:gd name="T14" fmla="*/ 40 w 159"/>
                <a:gd name="T15" fmla="*/ 247 h 247"/>
                <a:gd name="T16" fmla="*/ 39 w 159"/>
                <a:gd name="T17" fmla="*/ 132 h 247"/>
                <a:gd name="T18" fmla="*/ 60 w 159"/>
                <a:gd name="T19" fmla="*/ 37 h 247"/>
                <a:gd name="T20" fmla="*/ 71 w 159"/>
                <a:gd name="T21" fmla="*/ 25 h 247"/>
                <a:gd name="T22" fmla="*/ 79 w 159"/>
                <a:gd name="T23" fmla="*/ 23 h 247"/>
                <a:gd name="T24" fmla="*/ 125 w 159"/>
                <a:gd name="T25" fmla="*/ 21 h 247"/>
                <a:gd name="T26" fmla="*/ 130 w 159"/>
                <a:gd name="T27" fmla="*/ 156 h 247"/>
                <a:gd name="T28" fmla="*/ 145 w 159"/>
                <a:gd name="T29" fmla="*/ 246 h 247"/>
                <a:gd name="T30" fmla="*/ 159 w 159"/>
                <a:gd name="T31" fmla="*/ 246 h 247"/>
                <a:gd name="T32" fmla="*/ 141 w 159"/>
                <a:gd name="T33" fmla="*/ 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9" h="247">
                  <a:moveTo>
                    <a:pt x="141" y="6"/>
                  </a:moveTo>
                  <a:cubicBezTo>
                    <a:pt x="141" y="4"/>
                    <a:pt x="141" y="2"/>
                    <a:pt x="14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21" y="18"/>
                    <a:pt x="53" y="21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1" y="247"/>
                    <a:pt x="21" y="247"/>
                    <a:pt x="21" y="247"/>
                  </a:cubicBezTo>
                  <a:cubicBezTo>
                    <a:pt x="40" y="247"/>
                    <a:pt x="40" y="247"/>
                    <a:pt x="40" y="247"/>
                  </a:cubicBezTo>
                  <a:cubicBezTo>
                    <a:pt x="39" y="132"/>
                    <a:pt x="39" y="132"/>
                    <a:pt x="39" y="132"/>
                  </a:cubicBezTo>
                  <a:cubicBezTo>
                    <a:pt x="39" y="132"/>
                    <a:pt x="57" y="48"/>
                    <a:pt x="60" y="37"/>
                  </a:cubicBezTo>
                  <a:cubicBezTo>
                    <a:pt x="62" y="26"/>
                    <a:pt x="71" y="25"/>
                    <a:pt x="71" y="25"/>
                  </a:cubicBezTo>
                  <a:cubicBezTo>
                    <a:pt x="73" y="25"/>
                    <a:pt x="76" y="24"/>
                    <a:pt x="79" y="23"/>
                  </a:cubicBezTo>
                  <a:cubicBezTo>
                    <a:pt x="93" y="24"/>
                    <a:pt x="109" y="23"/>
                    <a:pt x="125" y="21"/>
                  </a:cubicBezTo>
                  <a:cubicBezTo>
                    <a:pt x="130" y="156"/>
                    <a:pt x="130" y="156"/>
                    <a:pt x="130" y="156"/>
                  </a:cubicBezTo>
                  <a:cubicBezTo>
                    <a:pt x="145" y="246"/>
                    <a:pt x="145" y="246"/>
                    <a:pt x="145" y="246"/>
                  </a:cubicBezTo>
                  <a:cubicBezTo>
                    <a:pt x="159" y="246"/>
                    <a:pt x="159" y="246"/>
                    <a:pt x="159" y="246"/>
                  </a:cubicBezTo>
                  <a:lnTo>
                    <a:pt x="141" y="6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95">
              <a:extLst>
                <a:ext uri="{FF2B5EF4-FFF2-40B4-BE49-F238E27FC236}">
                  <a16:creationId xmlns:a16="http://schemas.microsoft.com/office/drawing/2014/main" id="{B4AE5DCA-EA58-4636-8A26-B75AAA2DB03C}"/>
                </a:ext>
              </a:extLst>
            </p:cNvPr>
            <p:cNvSpPr>
              <a:spLocks/>
            </p:cNvSpPr>
            <p:nvPr/>
          </p:nvSpPr>
          <p:spPr bwMode="gray">
            <a:xfrm>
              <a:off x="9863138" y="3849688"/>
              <a:ext cx="566737" cy="692150"/>
            </a:xfrm>
            <a:custGeom>
              <a:avLst/>
              <a:gdLst>
                <a:gd name="T0" fmla="*/ 157 w 191"/>
                <a:gd name="T1" fmla="*/ 75 h 233"/>
                <a:gd name="T2" fmla="*/ 191 w 191"/>
                <a:gd name="T3" fmla="*/ 56 h 233"/>
                <a:gd name="T4" fmla="*/ 173 w 191"/>
                <a:gd name="T5" fmla="*/ 23 h 233"/>
                <a:gd name="T6" fmla="*/ 133 w 191"/>
                <a:gd name="T7" fmla="*/ 0 h 233"/>
                <a:gd name="T8" fmla="*/ 122 w 191"/>
                <a:gd name="T9" fmla="*/ 0 h 233"/>
                <a:gd name="T10" fmla="*/ 118 w 191"/>
                <a:gd name="T11" fmla="*/ 0 h 233"/>
                <a:gd name="T12" fmla="*/ 54 w 191"/>
                <a:gd name="T13" fmla="*/ 0 h 233"/>
                <a:gd name="T14" fmla="*/ 23 w 191"/>
                <a:gd name="T15" fmla="*/ 17 h 233"/>
                <a:gd name="T16" fmla="*/ 23 w 191"/>
                <a:gd name="T17" fmla="*/ 17 h 233"/>
                <a:gd name="T18" fmla="*/ 22 w 191"/>
                <a:gd name="T19" fmla="*/ 19 h 233"/>
                <a:gd name="T20" fmla="*/ 20 w 191"/>
                <a:gd name="T21" fmla="*/ 24 h 233"/>
                <a:gd name="T22" fmla="*/ 0 w 191"/>
                <a:gd name="T23" fmla="*/ 68 h 233"/>
                <a:gd name="T24" fmla="*/ 1 w 191"/>
                <a:gd name="T25" fmla="*/ 68 h 233"/>
                <a:gd name="T26" fmla="*/ 17 w 191"/>
                <a:gd name="T27" fmla="*/ 73 h 233"/>
                <a:gd name="T28" fmla="*/ 17 w 191"/>
                <a:gd name="T29" fmla="*/ 220 h 233"/>
                <a:gd name="T30" fmla="*/ 33 w 191"/>
                <a:gd name="T31" fmla="*/ 224 h 233"/>
                <a:gd name="T32" fmla="*/ 163 w 191"/>
                <a:gd name="T33" fmla="*/ 223 h 233"/>
                <a:gd name="T34" fmla="*/ 165 w 191"/>
                <a:gd name="T35" fmla="*/ 223 h 233"/>
                <a:gd name="T36" fmla="*/ 154 w 191"/>
                <a:gd name="T37" fmla="*/ 132 h 233"/>
                <a:gd name="T38" fmla="*/ 157 w 191"/>
                <a:gd name="T39" fmla="*/ 7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1" h="233">
                  <a:moveTo>
                    <a:pt x="157" y="75"/>
                  </a:moveTo>
                  <a:cubicBezTo>
                    <a:pt x="191" y="56"/>
                    <a:pt x="191" y="56"/>
                    <a:pt x="191" y="56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65" y="9"/>
                    <a:pt x="150" y="0"/>
                    <a:pt x="133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41" y="0"/>
                    <a:pt x="29" y="7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1" y="20"/>
                    <a:pt x="20" y="22"/>
                    <a:pt x="20" y="2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1" y="68"/>
                    <a:pt x="1" y="68"/>
                    <a:pt x="1" y="68"/>
                  </a:cubicBezTo>
                  <a:cubicBezTo>
                    <a:pt x="7" y="71"/>
                    <a:pt x="12" y="72"/>
                    <a:pt x="17" y="73"/>
                  </a:cubicBezTo>
                  <a:cubicBezTo>
                    <a:pt x="17" y="220"/>
                    <a:pt x="17" y="220"/>
                    <a:pt x="17" y="220"/>
                  </a:cubicBezTo>
                  <a:cubicBezTo>
                    <a:pt x="33" y="224"/>
                    <a:pt x="33" y="224"/>
                    <a:pt x="33" y="224"/>
                  </a:cubicBezTo>
                  <a:cubicBezTo>
                    <a:pt x="76" y="233"/>
                    <a:pt x="120" y="233"/>
                    <a:pt x="163" y="223"/>
                  </a:cubicBezTo>
                  <a:cubicBezTo>
                    <a:pt x="165" y="223"/>
                    <a:pt x="165" y="223"/>
                    <a:pt x="165" y="223"/>
                  </a:cubicBezTo>
                  <a:cubicBezTo>
                    <a:pt x="154" y="132"/>
                    <a:pt x="154" y="132"/>
                    <a:pt x="154" y="132"/>
                  </a:cubicBezTo>
                  <a:lnTo>
                    <a:pt x="157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6">
              <a:extLst>
                <a:ext uri="{FF2B5EF4-FFF2-40B4-BE49-F238E27FC236}">
                  <a16:creationId xmlns:a16="http://schemas.microsoft.com/office/drawing/2014/main" id="{C7374297-277B-4763-9CE7-DA232FE4A0ED}"/>
                </a:ext>
              </a:extLst>
            </p:cNvPr>
            <p:cNvSpPr>
              <a:spLocks/>
            </p:cNvSpPr>
            <p:nvPr/>
          </p:nvSpPr>
          <p:spPr bwMode="gray">
            <a:xfrm>
              <a:off x="9742488" y="5356225"/>
              <a:ext cx="776287" cy="50800"/>
            </a:xfrm>
            <a:custGeom>
              <a:avLst/>
              <a:gdLst>
                <a:gd name="T0" fmla="*/ 253 w 262"/>
                <a:gd name="T1" fmla="*/ 17 h 17"/>
                <a:gd name="T2" fmla="*/ 8 w 262"/>
                <a:gd name="T3" fmla="*/ 17 h 17"/>
                <a:gd name="T4" fmla="*/ 0 w 262"/>
                <a:gd name="T5" fmla="*/ 9 h 17"/>
                <a:gd name="T6" fmla="*/ 0 w 262"/>
                <a:gd name="T7" fmla="*/ 9 h 17"/>
                <a:gd name="T8" fmla="*/ 8 w 262"/>
                <a:gd name="T9" fmla="*/ 0 h 17"/>
                <a:gd name="T10" fmla="*/ 253 w 262"/>
                <a:gd name="T11" fmla="*/ 0 h 17"/>
                <a:gd name="T12" fmla="*/ 262 w 262"/>
                <a:gd name="T13" fmla="*/ 9 h 17"/>
                <a:gd name="T14" fmla="*/ 262 w 262"/>
                <a:gd name="T15" fmla="*/ 9 h 17"/>
                <a:gd name="T16" fmla="*/ 253 w 262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7">
                  <a:moveTo>
                    <a:pt x="253" y="17"/>
                  </a:moveTo>
                  <a:cubicBezTo>
                    <a:pt x="8" y="17"/>
                    <a:pt x="8" y="17"/>
                    <a:pt x="8" y="17"/>
                  </a:cubicBezTo>
                  <a:cubicBezTo>
                    <a:pt x="3" y="17"/>
                    <a:pt x="0" y="13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58" y="0"/>
                    <a:pt x="262" y="4"/>
                    <a:pt x="262" y="9"/>
                  </a:cubicBezTo>
                  <a:cubicBezTo>
                    <a:pt x="262" y="9"/>
                    <a:pt x="262" y="9"/>
                    <a:pt x="262" y="9"/>
                  </a:cubicBezTo>
                  <a:cubicBezTo>
                    <a:pt x="262" y="13"/>
                    <a:pt x="258" y="17"/>
                    <a:pt x="253" y="17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97">
              <a:extLst>
                <a:ext uri="{FF2B5EF4-FFF2-40B4-BE49-F238E27FC236}">
                  <a16:creationId xmlns:a16="http://schemas.microsoft.com/office/drawing/2014/main" id="{CAAA342A-328D-4CA8-B2F6-E1CB527D226F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20313" y="3849688"/>
              <a:ext cx="200025" cy="68263"/>
            </a:xfrm>
            <a:custGeom>
              <a:avLst/>
              <a:gdLst>
                <a:gd name="T0" fmla="*/ 0 w 67"/>
                <a:gd name="T1" fmla="*/ 15 h 23"/>
                <a:gd name="T2" fmla="*/ 38 w 67"/>
                <a:gd name="T3" fmla="*/ 20 h 23"/>
                <a:gd name="T4" fmla="*/ 67 w 67"/>
                <a:gd name="T5" fmla="*/ 5 h 23"/>
                <a:gd name="T6" fmla="*/ 46 w 67"/>
                <a:gd name="T7" fmla="*/ 0 h 23"/>
                <a:gd name="T8" fmla="*/ 0 w 67"/>
                <a:gd name="T9" fmla="*/ 0 h 23"/>
                <a:gd name="T10" fmla="*/ 0 w 67"/>
                <a:gd name="T11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23">
                  <a:moveTo>
                    <a:pt x="0" y="15"/>
                  </a:moveTo>
                  <a:cubicBezTo>
                    <a:pt x="0" y="15"/>
                    <a:pt x="17" y="23"/>
                    <a:pt x="38" y="20"/>
                  </a:cubicBezTo>
                  <a:cubicBezTo>
                    <a:pt x="59" y="17"/>
                    <a:pt x="67" y="5"/>
                    <a:pt x="67" y="5"/>
                  </a:cubicBezTo>
                  <a:cubicBezTo>
                    <a:pt x="67" y="5"/>
                    <a:pt x="60" y="0"/>
                    <a:pt x="46" y="0"/>
                  </a:cubicBezTo>
                  <a:cubicBezTo>
                    <a:pt x="32" y="0"/>
                    <a:pt x="0" y="0"/>
                    <a:pt x="0" y="0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8">
              <a:extLst>
                <a:ext uri="{FF2B5EF4-FFF2-40B4-BE49-F238E27FC236}">
                  <a16:creationId xmlns:a16="http://schemas.microsoft.com/office/drawing/2014/main" id="{304E919B-C81D-4F77-862B-6A328AC03F02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15550" y="3913188"/>
              <a:ext cx="315912" cy="625475"/>
            </a:xfrm>
            <a:custGeom>
              <a:avLst/>
              <a:gdLst>
                <a:gd name="T0" fmla="*/ 85 w 107"/>
                <a:gd name="T1" fmla="*/ 0 h 211"/>
                <a:gd name="T2" fmla="*/ 63 w 107"/>
                <a:gd name="T3" fmla="*/ 39 h 211"/>
                <a:gd name="T4" fmla="*/ 52 w 107"/>
                <a:gd name="T5" fmla="*/ 21 h 211"/>
                <a:gd name="T6" fmla="*/ 7 w 107"/>
                <a:gd name="T7" fmla="*/ 82 h 211"/>
                <a:gd name="T8" fmla="*/ 1 w 107"/>
                <a:gd name="T9" fmla="*/ 210 h 211"/>
                <a:gd name="T10" fmla="*/ 78 w 107"/>
                <a:gd name="T11" fmla="*/ 202 h 211"/>
                <a:gd name="T12" fmla="*/ 80 w 107"/>
                <a:gd name="T13" fmla="*/ 202 h 211"/>
                <a:gd name="T14" fmla="*/ 69 w 107"/>
                <a:gd name="T15" fmla="*/ 111 h 211"/>
                <a:gd name="T16" fmla="*/ 72 w 107"/>
                <a:gd name="T17" fmla="*/ 54 h 211"/>
                <a:gd name="T18" fmla="*/ 72 w 107"/>
                <a:gd name="T19" fmla="*/ 54 h 211"/>
                <a:gd name="T20" fmla="*/ 103 w 107"/>
                <a:gd name="T21" fmla="*/ 39 h 211"/>
                <a:gd name="T22" fmla="*/ 107 w 107"/>
                <a:gd name="T23" fmla="*/ 35 h 211"/>
                <a:gd name="T24" fmla="*/ 90 w 107"/>
                <a:gd name="T25" fmla="*/ 5 h 211"/>
                <a:gd name="T26" fmla="*/ 87 w 107"/>
                <a:gd name="T27" fmla="*/ 0 h 211"/>
                <a:gd name="T28" fmla="*/ 85 w 107"/>
                <a:gd name="T29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7" h="211">
                  <a:moveTo>
                    <a:pt x="85" y="0"/>
                  </a:moveTo>
                  <a:cubicBezTo>
                    <a:pt x="64" y="16"/>
                    <a:pt x="63" y="39"/>
                    <a:pt x="63" y="39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2" y="21"/>
                    <a:pt x="15" y="58"/>
                    <a:pt x="7" y="82"/>
                  </a:cubicBezTo>
                  <a:cubicBezTo>
                    <a:pt x="0" y="107"/>
                    <a:pt x="1" y="209"/>
                    <a:pt x="1" y="210"/>
                  </a:cubicBezTo>
                  <a:cubicBezTo>
                    <a:pt x="27" y="211"/>
                    <a:pt x="53" y="208"/>
                    <a:pt x="78" y="202"/>
                  </a:cubicBezTo>
                  <a:cubicBezTo>
                    <a:pt x="80" y="202"/>
                    <a:pt x="80" y="202"/>
                    <a:pt x="80" y="202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85" y="51"/>
                    <a:pt x="94" y="47"/>
                    <a:pt x="103" y="39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89" y="3"/>
                    <a:pt x="88" y="2"/>
                    <a:pt x="87" y="0"/>
                  </a:cubicBezTo>
                  <a:cubicBezTo>
                    <a:pt x="86" y="0"/>
                    <a:pt x="86" y="0"/>
                    <a:pt x="85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99">
              <a:extLst>
                <a:ext uri="{FF2B5EF4-FFF2-40B4-BE49-F238E27FC236}">
                  <a16:creationId xmlns:a16="http://schemas.microsoft.com/office/drawing/2014/main" id="{46C139C5-043D-4BD4-B164-440635D06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37763" y="4027488"/>
              <a:ext cx="441325" cy="293688"/>
            </a:xfrm>
            <a:custGeom>
              <a:avLst/>
              <a:gdLst>
                <a:gd name="T0" fmla="*/ 144 w 149"/>
                <a:gd name="T1" fmla="*/ 39 h 99"/>
                <a:gd name="T2" fmla="*/ 129 w 149"/>
                <a:gd name="T3" fmla="*/ 0 h 99"/>
                <a:gd name="T4" fmla="*/ 98 w 149"/>
                <a:gd name="T5" fmla="*/ 15 h 99"/>
                <a:gd name="T6" fmla="*/ 98 w 149"/>
                <a:gd name="T7" fmla="*/ 15 h 99"/>
                <a:gd name="T8" fmla="*/ 108 w 149"/>
                <a:gd name="T9" fmla="*/ 35 h 99"/>
                <a:gd name="T10" fmla="*/ 59 w 149"/>
                <a:gd name="T11" fmla="*/ 70 h 99"/>
                <a:gd name="T12" fmla="*/ 46 w 149"/>
                <a:gd name="T13" fmla="*/ 71 h 99"/>
                <a:gd name="T14" fmla="*/ 20 w 149"/>
                <a:gd name="T15" fmla="*/ 80 h 99"/>
                <a:gd name="T16" fmla="*/ 0 w 149"/>
                <a:gd name="T17" fmla="*/ 99 h 99"/>
                <a:gd name="T18" fmla="*/ 40 w 149"/>
                <a:gd name="T19" fmla="*/ 99 h 99"/>
                <a:gd name="T20" fmla="*/ 59 w 149"/>
                <a:gd name="T21" fmla="*/ 87 h 99"/>
                <a:gd name="T22" fmla="*/ 134 w 149"/>
                <a:gd name="T23" fmla="*/ 63 h 99"/>
                <a:gd name="T24" fmla="*/ 144 w 149"/>
                <a:gd name="T25" fmla="*/ 3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9" h="99">
                  <a:moveTo>
                    <a:pt x="144" y="39"/>
                  </a:moveTo>
                  <a:cubicBezTo>
                    <a:pt x="129" y="0"/>
                    <a:pt x="129" y="0"/>
                    <a:pt x="129" y="0"/>
                  </a:cubicBezTo>
                  <a:cubicBezTo>
                    <a:pt x="120" y="10"/>
                    <a:pt x="98" y="15"/>
                    <a:pt x="98" y="15"/>
                  </a:cubicBezTo>
                  <a:cubicBezTo>
                    <a:pt x="98" y="15"/>
                    <a:pt x="98" y="15"/>
                    <a:pt x="98" y="1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37" y="71"/>
                    <a:pt x="28" y="75"/>
                    <a:pt x="20" y="8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40" y="99"/>
                    <a:pt x="40" y="99"/>
                    <a:pt x="40" y="99"/>
                  </a:cubicBezTo>
                  <a:cubicBezTo>
                    <a:pt x="59" y="87"/>
                    <a:pt x="59" y="87"/>
                    <a:pt x="59" y="87"/>
                  </a:cubicBezTo>
                  <a:cubicBezTo>
                    <a:pt x="134" y="63"/>
                    <a:pt x="134" y="63"/>
                    <a:pt x="134" y="63"/>
                  </a:cubicBezTo>
                  <a:cubicBezTo>
                    <a:pt x="144" y="60"/>
                    <a:pt x="149" y="48"/>
                    <a:pt x="144" y="39"/>
                  </a:cubicBezTo>
                  <a:close/>
                </a:path>
              </a:pathLst>
            </a:custGeom>
            <a:solidFill>
              <a:srgbClr val="725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00">
              <a:extLst>
                <a:ext uri="{FF2B5EF4-FFF2-40B4-BE49-F238E27FC236}">
                  <a16:creationId xmlns:a16="http://schemas.microsoft.com/office/drawing/2014/main" id="{A3BA9E70-C338-4070-8A62-E0541B5AAA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83813" y="5294313"/>
              <a:ext cx="223837" cy="95250"/>
            </a:xfrm>
            <a:custGeom>
              <a:avLst/>
              <a:gdLst>
                <a:gd name="T0" fmla="*/ 0 w 76"/>
                <a:gd name="T1" fmla="*/ 32 h 32"/>
                <a:gd name="T2" fmla="*/ 70 w 76"/>
                <a:gd name="T3" fmla="*/ 32 h 32"/>
                <a:gd name="T4" fmla="*/ 75 w 76"/>
                <a:gd name="T5" fmla="*/ 27 h 32"/>
                <a:gd name="T6" fmla="*/ 73 w 76"/>
                <a:gd name="T7" fmla="*/ 0 h 32"/>
                <a:gd name="T8" fmla="*/ 39 w 76"/>
                <a:gd name="T9" fmla="*/ 0 h 32"/>
                <a:gd name="T10" fmla="*/ 26 w 76"/>
                <a:gd name="T11" fmla="*/ 14 h 32"/>
                <a:gd name="T12" fmla="*/ 6 w 76"/>
                <a:gd name="T13" fmla="*/ 21 h 32"/>
                <a:gd name="T14" fmla="*/ 0 w 76"/>
                <a:gd name="T15" fmla="*/ 28 h 32"/>
                <a:gd name="T16" fmla="*/ 0 w 76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32">
                  <a:moveTo>
                    <a:pt x="0" y="32"/>
                  </a:moveTo>
                  <a:cubicBezTo>
                    <a:pt x="70" y="32"/>
                    <a:pt x="70" y="32"/>
                    <a:pt x="70" y="32"/>
                  </a:cubicBezTo>
                  <a:cubicBezTo>
                    <a:pt x="73" y="32"/>
                    <a:pt x="76" y="30"/>
                    <a:pt x="75" y="27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2" y="22"/>
                    <a:pt x="0" y="25"/>
                    <a:pt x="0" y="28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043C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101">
              <a:extLst>
                <a:ext uri="{FF2B5EF4-FFF2-40B4-BE49-F238E27FC236}">
                  <a16:creationId xmlns:a16="http://schemas.microsoft.com/office/drawing/2014/main" id="{924686F2-7E00-4CC4-949D-ED17F8CC588F}"/>
                </a:ext>
              </a:extLst>
            </p:cNvPr>
            <p:cNvSpPr>
              <a:spLocks/>
            </p:cNvSpPr>
            <p:nvPr/>
          </p:nvSpPr>
          <p:spPr bwMode="gray">
            <a:xfrm>
              <a:off x="9828213" y="5294313"/>
              <a:ext cx="212725" cy="95250"/>
            </a:xfrm>
            <a:custGeom>
              <a:avLst/>
              <a:gdLst>
                <a:gd name="T0" fmla="*/ 0 w 72"/>
                <a:gd name="T1" fmla="*/ 32 h 32"/>
                <a:gd name="T2" fmla="*/ 72 w 72"/>
                <a:gd name="T3" fmla="*/ 32 h 32"/>
                <a:gd name="T4" fmla="*/ 72 w 72"/>
                <a:gd name="T5" fmla="*/ 0 h 32"/>
                <a:gd name="T6" fmla="*/ 39 w 72"/>
                <a:gd name="T7" fmla="*/ 0 h 32"/>
                <a:gd name="T8" fmla="*/ 27 w 72"/>
                <a:gd name="T9" fmla="*/ 13 h 32"/>
                <a:gd name="T10" fmla="*/ 5 w 72"/>
                <a:gd name="T11" fmla="*/ 20 h 32"/>
                <a:gd name="T12" fmla="*/ 0 w 72"/>
                <a:gd name="T13" fmla="*/ 28 h 32"/>
                <a:gd name="T14" fmla="*/ 0 w 72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32">
                  <a:moveTo>
                    <a:pt x="0" y="32"/>
                  </a:moveTo>
                  <a:cubicBezTo>
                    <a:pt x="72" y="32"/>
                    <a:pt x="72" y="32"/>
                    <a:pt x="72" y="32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2" y="21"/>
                    <a:pt x="0" y="24"/>
                    <a:pt x="0" y="28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043C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02">
              <a:extLst>
                <a:ext uri="{FF2B5EF4-FFF2-40B4-BE49-F238E27FC236}">
                  <a16:creationId xmlns:a16="http://schemas.microsoft.com/office/drawing/2014/main" id="{41323D5D-DDCF-425C-A245-C5845536C967}"/>
                </a:ext>
              </a:extLst>
            </p:cNvPr>
            <p:cNvSpPr>
              <a:spLocks/>
            </p:cNvSpPr>
            <p:nvPr/>
          </p:nvSpPr>
          <p:spPr bwMode="gray">
            <a:xfrm>
              <a:off x="9709150" y="4108450"/>
              <a:ext cx="560387" cy="228600"/>
            </a:xfrm>
            <a:custGeom>
              <a:avLst/>
              <a:gdLst>
                <a:gd name="T0" fmla="*/ 222 w 353"/>
                <a:gd name="T1" fmla="*/ 0 h 144"/>
                <a:gd name="T2" fmla="*/ 259 w 353"/>
                <a:gd name="T3" fmla="*/ 136 h 144"/>
                <a:gd name="T4" fmla="*/ 349 w 353"/>
                <a:gd name="T5" fmla="*/ 136 h 144"/>
                <a:gd name="T6" fmla="*/ 353 w 353"/>
                <a:gd name="T7" fmla="*/ 144 h 144"/>
                <a:gd name="T8" fmla="*/ 263 w 353"/>
                <a:gd name="T9" fmla="*/ 144 h 144"/>
                <a:gd name="T10" fmla="*/ 30 w 353"/>
                <a:gd name="T11" fmla="*/ 144 h 144"/>
                <a:gd name="T12" fmla="*/ 0 w 353"/>
                <a:gd name="T13" fmla="*/ 0 h 144"/>
                <a:gd name="T14" fmla="*/ 222 w 353"/>
                <a:gd name="T1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3" h="144">
                  <a:moveTo>
                    <a:pt x="222" y="0"/>
                  </a:moveTo>
                  <a:lnTo>
                    <a:pt x="259" y="136"/>
                  </a:lnTo>
                  <a:lnTo>
                    <a:pt x="349" y="136"/>
                  </a:lnTo>
                  <a:lnTo>
                    <a:pt x="353" y="144"/>
                  </a:lnTo>
                  <a:lnTo>
                    <a:pt x="263" y="144"/>
                  </a:lnTo>
                  <a:lnTo>
                    <a:pt x="30" y="144"/>
                  </a:lnTo>
                  <a:lnTo>
                    <a:pt x="0" y="0"/>
                  </a:lnTo>
                  <a:lnTo>
                    <a:pt x="222" y="0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Rectangle 103">
              <a:extLst>
                <a:ext uri="{FF2B5EF4-FFF2-40B4-BE49-F238E27FC236}">
                  <a16:creationId xmlns:a16="http://schemas.microsoft.com/office/drawing/2014/main" id="{B43DD61D-BCB7-4F9C-AC53-2DFC7CFBC6C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21875" y="5235575"/>
              <a:ext cx="119062" cy="58738"/>
            </a:xfrm>
            <a:prstGeom prst="rect">
              <a:avLst/>
            </a:prstGeom>
            <a:solidFill>
              <a:srgbClr val="009A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04">
              <a:extLst>
                <a:ext uri="{FF2B5EF4-FFF2-40B4-BE49-F238E27FC236}">
                  <a16:creationId xmlns:a16="http://schemas.microsoft.com/office/drawing/2014/main" id="{74272493-8FD2-4231-88F2-FFC56E3DE7B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60013" y="5232400"/>
              <a:ext cx="139700" cy="61913"/>
            </a:xfrm>
            <a:custGeom>
              <a:avLst/>
              <a:gdLst>
                <a:gd name="T0" fmla="*/ 8 w 88"/>
                <a:gd name="T1" fmla="*/ 39 h 39"/>
                <a:gd name="T2" fmla="*/ 88 w 88"/>
                <a:gd name="T3" fmla="*/ 39 h 39"/>
                <a:gd name="T4" fmla="*/ 84 w 88"/>
                <a:gd name="T5" fmla="*/ 0 h 39"/>
                <a:gd name="T6" fmla="*/ 0 w 88"/>
                <a:gd name="T7" fmla="*/ 0 h 39"/>
                <a:gd name="T8" fmla="*/ 8 w 88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39">
                  <a:moveTo>
                    <a:pt x="8" y="39"/>
                  </a:moveTo>
                  <a:lnTo>
                    <a:pt x="88" y="39"/>
                  </a:lnTo>
                  <a:lnTo>
                    <a:pt x="84" y="0"/>
                  </a:lnTo>
                  <a:lnTo>
                    <a:pt x="0" y="0"/>
                  </a:lnTo>
                  <a:lnTo>
                    <a:pt x="8" y="39"/>
                  </a:lnTo>
                  <a:close/>
                </a:path>
              </a:pathLst>
            </a:custGeom>
            <a:solidFill>
              <a:srgbClr val="009A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105">
              <a:extLst>
                <a:ext uri="{FF2B5EF4-FFF2-40B4-BE49-F238E27FC236}">
                  <a16:creationId xmlns:a16="http://schemas.microsoft.com/office/drawing/2014/main" id="{95AAC2E9-F5D3-47C8-A377-876D1BB0B176}"/>
                </a:ext>
              </a:extLst>
            </p:cNvPr>
            <p:cNvSpPr>
              <a:spLocks/>
            </p:cNvSpPr>
            <p:nvPr/>
          </p:nvSpPr>
          <p:spPr bwMode="gray">
            <a:xfrm>
              <a:off x="9863138" y="4197350"/>
              <a:ext cx="57150" cy="44450"/>
            </a:xfrm>
            <a:custGeom>
              <a:avLst/>
              <a:gdLst>
                <a:gd name="T0" fmla="*/ 36 w 36"/>
                <a:gd name="T1" fmla="*/ 28 h 28"/>
                <a:gd name="T2" fmla="*/ 8 w 36"/>
                <a:gd name="T3" fmla="*/ 28 h 28"/>
                <a:gd name="T4" fmla="*/ 0 w 36"/>
                <a:gd name="T5" fmla="*/ 0 h 28"/>
                <a:gd name="T6" fmla="*/ 28 w 36"/>
                <a:gd name="T7" fmla="*/ 0 h 28"/>
                <a:gd name="T8" fmla="*/ 36 w 36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8">
                  <a:moveTo>
                    <a:pt x="36" y="28"/>
                  </a:moveTo>
                  <a:lnTo>
                    <a:pt x="8" y="28"/>
                  </a:lnTo>
                  <a:lnTo>
                    <a:pt x="0" y="0"/>
                  </a:lnTo>
                  <a:lnTo>
                    <a:pt x="28" y="0"/>
                  </a:lnTo>
                  <a:lnTo>
                    <a:pt x="36" y="28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06">
              <a:extLst>
                <a:ext uri="{FF2B5EF4-FFF2-40B4-BE49-F238E27FC236}">
                  <a16:creationId xmlns:a16="http://schemas.microsoft.com/office/drawing/2014/main" id="{A6396179-B23A-4E12-B49C-D2168D6601E5}"/>
                </a:ext>
              </a:extLst>
            </p:cNvPr>
            <p:cNvSpPr>
              <a:spLocks/>
            </p:cNvSpPr>
            <p:nvPr/>
          </p:nvSpPr>
          <p:spPr bwMode="gray">
            <a:xfrm>
              <a:off x="9934575" y="3506788"/>
              <a:ext cx="341312" cy="352425"/>
            </a:xfrm>
            <a:custGeom>
              <a:avLst/>
              <a:gdLst>
                <a:gd name="T0" fmla="*/ 114 w 115"/>
                <a:gd name="T1" fmla="*/ 57 h 119"/>
                <a:gd name="T2" fmla="*/ 107 w 115"/>
                <a:gd name="T3" fmla="*/ 51 h 119"/>
                <a:gd name="T4" fmla="*/ 102 w 115"/>
                <a:gd name="T5" fmla="*/ 54 h 119"/>
                <a:gd name="T6" fmla="*/ 101 w 115"/>
                <a:gd name="T7" fmla="*/ 43 h 119"/>
                <a:gd name="T8" fmla="*/ 51 w 115"/>
                <a:gd name="T9" fmla="*/ 3 h 119"/>
                <a:gd name="T10" fmla="*/ 10 w 115"/>
                <a:gd name="T11" fmla="*/ 52 h 119"/>
                <a:gd name="T12" fmla="*/ 11 w 115"/>
                <a:gd name="T13" fmla="*/ 62 h 119"/>
                <a:gd name="T14" fmla="*/ 6 w 115"/>
                <a:gd name="T15" fmla="*/ 61 h 119"/>
                <a:gd name="T16" fmla="*/ 0 w 115"/>
                <a:gd name="T17" fmla="*/ 68 h 119"/>
                <a:gd name="T18" fmla="*/ 1 w 115"/>
                <a:gd name="T19" fmla="*/ 73 h 119"/>
                <a:gd name="T20" fmla="*/ 13 w 115"/>
                <a:gd name="T21" fmla="*/ 84 h 119"/>
                <a:gd name="T22" fmla="*/ 14 w 115"/>
                <a:gd name="T23" fmla="*/ 84 h 119"/>
                <a:gd name="T24" fmla="*/ 60 w 115"/>
                <a:gd name="T25" fmla="*/ 116 h 119"/>
                <a:gd name="T26" fmla="*/ 65 w 115"/>
                <a:gd name="T27" fmla="*/ 116 h 119"/>
                <a:gd name="T28" fmla="*/ 103 w 115"/>
                <a:gd name="T29" fmla="*/ 75 h 119"/>
                <a:gd name="T30" fmla="*/ 104 w 115"/>
                <a:gd name="T31" fmla="*/ 75 h 119"/>
                <a:gd name="T32" fmla="*/ 115 w 115"/>
                <a:gd name="T33" fmla="*/ 62 h 119"/>
                <a:gd name="T34" fmla="*/ 114 w 115"/>
                <a:gd name="T35" fmla="*/ 5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" h="119">
                  <a:moveTo>
                    <a:pt x="114" y="57"/>
                  </a:moveTo>
                  <a:cubicBezTo>
                    <a:pt x="114" y="53"/>
                    <a:pt x="110" y="50"/>
                    <a:pt x="107" y="51"/>
                  </a:cubicBezTo>
                  <a:cubicBezTo>
                    <a:pt x="105" y="51"/>
                    <a:pt x="103" y="52"/>
                    <a:pt x="102" y="54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99" y="18"/>
                    <a:pt x="76" y="0"/>
                    <a:pt x="51" y="3"/>
                  </a:cubicBezTo>
                  <a:cubicBezTo>
                    <a:pt x="26" y="5"/>
                    <a:pt x="8" y="27"/>
                    <a:pt x="10" y="5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1"/>
                    <a:pt x="8" y="60"/>
                    <a:pt x="6" y="61"/>
                  </a:cubicBezTo>
                  <a:cubicBezTo>
                    <a:pt x="3" y="61"/>
                    <a:pt x="0" y="64"/>
                    <a:pt x="0" y="68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2" y="80"/>
                    <a:pt x="7" y="84"/>
                    <a:pt x="13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9" y="104"/>
                    <a:pt x="38" y="119"/>
                    <a:pt x="60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86" y="114"/>
                    <a:pt x="102" y="96"/>
                    <a:pt x="103" y="75"/>
                  </a:cubicBezTo>
                  <a:cubicBezTo>
                    <a:pt x="104" y="75"/>
                    <a:pt x="104" y="75"/>
                    <a:pt x="104" y="75"/>
                  </a:cubicBezTo>
                  <a:cubicBezTo>
                    <a:pt x="111" y="74"/>
                    <a:pt x="115" y="69"/>
                    <a:pt x="115" y="62"/>
                  </a:cubicBezTo>
                  <a:lnTo>
                    <a:pt x="114" y="57"/>
                  </a:lnTo>
                  <a:close/>
                </a:path>
              </a:pathLst>
            </a:custGeom>
            <a:solidFill>
              <a:srgbClr val="725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07">
              <a:extLst>
                <a:ext uri="{FF2B5EF4-FFF2-40B4-BE49-F238E27FC236}">
                  <a16:creationId xmlns:a16="http://schemas.microsoft.com/office/drawing/2014/main" id="{7A640802-49D5-4773-9ED1-2D78CD263BE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55225" y="3648075"/>
              <a:ext cx="190500" cy="261938"/>
            </a:xfrm>
            <a:custGeom>
              <a:avLst/>
              <a:gdLst>
                <a:gd name="T0" fmla="*/ 62 w 64"/>
                <a:gd name="T1" fmla="*/ 20 h 88"/>
                <a:gd name="T2" fmla="*/ 62 w 64"/>
                <a:gd name="T3" fmla="*/ 13 h 88"/>
                <a:gd name="T4" fmla="*/ 47 w 64"/>
                <a:gd name="T5" fmla="*/ 1 h 88"/>
                <a:gd name="T6" fmla="*/ 31 w 64"/>
                <a:gd name="T7" fmla="*/ 3 h 88"/>
                <a:gd name="T8" fmla="*/ 24 w 64"/>
                <a:gd name="T9" fmla="*/ 17 h 88"/>
                <a:gd name="T10" fmla="*/ 28 w 64"/>
                <a:gd name="T11" fmla="*/ 26 h 88"/>
                <a:gd name="T12" fmla="*/ 24 w 64"/>
                <a:gd name="T13" fmla="*/ 32 h 88"/>
                <a:gd name="T14" fmla="*/ 20 w 64"/>
                <a:gd name="T15" fmla="*/ 33 h 88"/>
                <a:gd name="T16" fmla="*/ 21 w 64"/>
                <a:gd name="T17" fmla="*/ 42 h 88"/>
                <a:gd name="T18" fmla="*/ 24 w 64"/>
                <a:gd name="T19" fmla="*/ 49 h 88"/>
                <a:gd name="T20" fmla="*/ 25 w 64"/>
                <a:gd name="T21" fmla="*/ 62 h 88"/>
                <a:gd name="T22" fmla="*/ 20 w 64"/>
                <a:gd name="T23" fmla="*/ 68 h 88"/>
                <a:gd name="T24" fmla="*/ 19 w 64"/>
                <a:gd name="T25" fmla="*/ 68 h 88"/>
                <a:gd name="T26" fmla="*/ 3 w 64"/>
                <a:gd name="T27" fmla="*/ 67 h 88"/>
                <a:gd name="T28" fmla="*/ 0 w 64"/>
                <a:gd name="T29" fmla="*/ 68 h 88"/>
                <a:gd name="T30" fmla="*/ 0 w 64"/>
                <a:gd name="T31" fmla="*/ 71 h 88"/>
                <a:gd name="T32" fmla="*/ 17 w 64"/>
                <a:gd name="T33" fmla="*/ 88 h 88"/>
                <a:gd name="T34" fmla="*/ 27 w 64"/>
                <a:gd name="T35" fmla="*/ 88 h 88"/>
                <a:gd name="T36" fmla="*/ 44 w 64"/>
                <a:gd name="T37" fmla="*/ 71 h 88"/>
                <a:gd name="T38" fmla="*/ 44 w 64"/>
                <a:gd name="T39" fmla="*/ 68 h 88"/>
                <a:gd name="T40" fmla="*/ 40 w 64"/>
                <a:gd name="T41" fmla="*/ 64 h 88"/>
                <a:gd name="T42" fmla="*/ 40 w 64"/>
                <a:gd name="T43" fmla="*/ 63 h 88"/>
                <a:gd name="T44" fmla="*/ 62 w 64"/>
                <a:gd name="T45" fmla="*/ 2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88">
                  <a:moveTo>
                    <a:pt x="62" y="20"/>
                  </a:moveTo>
                  <a:cubicBezTo>
                    <a:pt x="62" y="13"/>
                    <a:pt x="62" y="13"/>
                    <a:pt x="62" y="13"/>
                  </a:cubicBezTo>
                  <a:cubicBezTo>
                    <a:pt x="61" y="6"/>
                    <a:pt x="54" y="0"/>
                    <a:pt x="47" y="1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24" y="3"/>
                    <a:pt x="20" y="11"/>
                    <a:pt x="24" y="17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9" y="29"/>
                    <a:pt x="27" y="32"/>
                    <a:pt x="24" y="32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5"/>
                    <a:pt x="23" y="47"/>
                    <a:pt x="24" y="49"/>
                  </a:cubicBezTo>
                  <a:cubicBezTo>
                    <a:pt x="28" y="52"/>
                    <a:pt x="29" y="58"/>
                    <a:pt x="25" y="62"/>
                  </a:cubicBezTo>
                  <a:cubicBezTo>
                    <a:pt x="20" y="68"/>
                    <a:pt x="20" y="68"/>
                    <a:pt x="20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13" y="69"/>
                    <a:pt x="8" y="68"/>
                    <a:pt x="3" y="67"/>
                  </a:cubicBezTo>
                  <a:cubicBezTo>
                    <a:pt x="2" y="67"/>
                    <a:pt x="1" y="68"/>
                    <a:pt x="0" y="68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0"/>
                    <a:pt x="8" y="88"/>
                    <a:pt x="17" y="88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36" y="88"/>
                    <a:pt x="44" y="80"/>
                    <a:pt x="44" y="71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2" y="68"/>
                    <a:pt x="40" y="66"/>
                    <a:pt x="40" y="64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55" y="55"/>
                    <a:pt x="64" y="38"/>
                    <a:pt x="62" y="20"/>
                  </a:cubicBezTo>
                  <a:close/>
                </a:path>
              </a:pathLst>
            </a:custGeom>
            <a:solidFill>
              <a:srgbClr val="66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08">
              <a:extLst>
                <a:ext uri="{FF2B5EF4-FFF2-40B4-BE49-F238E27FC236}">
                  <a16:creationId xmlns:a16="http://schemas.microsoft.com/office/drawing/2014/main" id="{177A9E52-6618-412A-AADC-5F06EDDA7D1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63175" y="3668713"/>
              <a:ext cx="23812" cy="23813"/>
            </a:xfrm>
            <a:custGeom>
              <a:avLst/>
              <a:gdLst>
                <a:gd name="T0" fmla="*/ 0 w 8"/>
                <a:gd name="T1" fmla="*/ 4 h 8"/>
                <a:gd name="T2" fmla="*/ 4 w 8"/>
                <a:gd name="T3" fmla="*/ 8 h 8"/>
                <a:gd name="T4" fmla="*/ 8 w 8"/>
                <a:gd name="T5" fmla="*/ 4 h 8"/>
                <a:gd name="T6" fmla="*/ 4 w 8"/>
                <a:gd name="T7" fmla="*/ 0 h 8"/>
                <a:gd name="T8" fmla="*/ 0 w 8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0" y="4"/>
                  </a:moveTo>
                  <a:cubicBezTo>
                    <a:pt x="0" y="7"/>
                    <a:pt x="2" y="8"/>
                    <a:pt x="4" y="8"/>
                  </a:cubicBezTo>
                  <a:cubicBezTo>
                    <a:pt x="7" y="8"/>
                    <a:pt x="8" y="6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09">
              <a:extLst>
                <a:ext uri="{FF2B5EF4-FFF2-40B4-BE49-F238E27FC236}">
                  <a16:creationId xmlns:a16="http://schemas.microsoft.com/office/drawing/2014/main" id="{F2C26614-C730-40A1-9AA9-77C4B7838BEC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23475" y="3684588"/>
              <a:ext cx="23812" cy="23813"/>
            </a:xfrm>
            <a:custGeom>
              <a:avLst/>
              <a:gdLst>
                <a:gd name="T0" fmla="*/ 0 w 8"/>
                <a:gd name="T1" fmla="*/ 4 h 8"/>
                <a:gd name="T2" fmla="*/ 4 w 8"/>
                <a:gd name="T3" fmla="*/ 8 h 8"/>
                <a:gd name="T4" fmla="*/ 8 w 8"/>
                <a:gd name="T5" fmla="*/ 4 h 8"/>
                <a:gd name="T6" fmla="*/ 3 w 8"/>
                <a:gd name="T7" fmla="*/ 0 h 8"/>
                <a:gd name="T8" fmla="*/ 0 w 8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0" y="4"/>
                  </a:moveTo>
                  <a:cubicBezTo>
                    <a:pt x="0" y="7"/>
                    <a:pt x="2" y="8"/>
                    <a:pt x="4" y="8"/>
                  </a:cubicBezTo>
                  <a:cubicBezTo>
                    <a:pt x="6" y="8"/>
                    <a:pt x="8" y="6"/>
                    <a:pt x="8" y="4"/>
                  </a:cubicBezTo>
                  <a:cubicBezTo>
                    <a:pt x="7" y="2"/>
                    <a:pt x="6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10">
              <a:extLst>
                <a:ext uri="{FF2B5EF4-FFF2-40B4-BE49-F238E27FC236}">
                  <a16:creationId xmlns:a16="http://schemas.microsoft.com/office/drawing/2014/main" id="{E0AB4423-917F-49DF-8C7B-53B02A1547CB}"/>
                </a:ext>
              </a:extLst>
            </p:cNvPr>
            <p:cNvSpPr>
              <a:spLocks/>
            </p:cNvSpPr>
            <p:nvPr/>
          </p:nvSpPr>
          <p:spPr bwMode="gray">
            <a:xfrm>
              <a:off x="9945688" y="3494088"/>
              <a:ext cx="303212" cy="234950"/>
            </a:xfrm>
            <a:custGeom>
              <a:avLst/>
              <a:gdLst>
                <a:gd name="T0" fmla="*/ 47 w 102"/>
                <a:gd name="T1" fmla="*/ 2 h 79"/>
                <a:gd name="T2" fmla="*/ 47 w 102"/>
                <a:gd name="T3" fmla="*/ 2 h 79"/>
                <a:gd name="T4" fmla="*/ 100 w 102"/>
                <a:gd name="T5" fmla="*/ 43 h 79"/>
                <a:gd name="T6" fmla="*/ 102 w 102"/>
                <a:gd name="T7" fmla="*/ 69 h 79"/>
                <a:gd name="T8" fmla="*/ 93 w 102"/>
                <a:gd name="T9" fmla="*/ 70 h 79"/>
                <a:gd name="T10" fmla="*/ 90 w 102"/>
                <a:gd name="T11" fmla="*/ 45 h 79"/>
                <a:gd name="T12" fmla="*/ 85 w 102"/>
                <a:gd name="T13" fmla="*/ 35 h 79"/>
                <a:gd name="T14" fmla="*/ 83 w 102"/>
                <a:gd name="T15" fmla="*/ 33 h 79"/>
                <a:gd name="T16" fmla="*/ 61 w 102"/>
                <a:gd name="T17" fmla="*/ 32 h 79"/>
                <a:gd name="T18" fmla="*/ 61 w 102"/>
                <a:gd name="T19" fmla="*/ 32 h 79"/>
                <a:gd name="T20" fmla="*/ 52 w 102"/>
                <a:gd name="T21" fmla="*/ 35 h 79"/>
                <a:gd name="T22" fmla="*/ 48 w 102"/>
                <a:gd name="T23" fmla="*/ 36 h 79"/>
                <a:gd name="T24" fmla="*/ 39 w 102"/>
                <a:gd name="T25" fmla="*/ 34 h 79"/>
                <a:gd name="T26" fmla="*/ 39 w 102"/>
                <a:gd name="T27" fmla="*/ 34 h 79"/>
                <a:gd name="T28" fmla="*/ 17 w 102"/>
                <a:gd name="T29" fmla="*/ 39 h 79"/>
                <a:gd name="T30" fmla="*/ 15 w 102"/>
                <a:gd name="T31" fmla="*/ 41 h 79"/>
                <a:gd name="T32" fmla="*/ 12 w 102"/>
                <a:gd name="T33" fmla="*/ 53 h 79"/>
                <a:gd name="T34" fmla="*/ 15 w 102"/>
                <a:gd name="T35" fmla="*/ 78 h 79"/>
                <a:gd name="T36" fmla="*/ 5 w 102"/>
                <a:gd name="T37" fmla="*/ 79 h 79"/>
                <a:gd name="T38" fmla="*/ 3 w 102"/>
                <a:gd name="T39" fmla="*/ 52 h 79"/>
                <a:gd name="T40" fmla="*/ 47 w 102"/>
                <a:gd name="T41" fmla="*/ 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2" h="79">
                  <a:moveTo>
                    <a:pt x="47" y="2"/>
                  </a:moveTo>
                  <a:cubicBezTo>
                    <a:pt x="47" y="2"/>
                    <a:pt x="47" y="2"/>
                    <a:pt x="47" y="2"/>
                  </a:cubicBezTo>
                  <a:cubicBezTo>
                    <a:pt x="72" y="0"/>
                    <a:pt x="97" y="18"/>
                    <a:pt x="100" y="43"/>
                  </a:cubicBezTo>
                  <a:cubicBezTo>
                    <a:pt x="102" y="69"/>
                    <a:pt x="102" y="69"/>
                    <a:pt x="102" y="69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0" y="41"/>
                    <a:pt x="88" y="37"/>
                    <a:pt x="85" y="35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77" y="27"/>
                    <a:pt x="67" y="26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58" y="34"/>
                    <a:pt x="55" y="35"/>
                    <a:pt x="52" y="35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5" y="36"/>
                    <a:pt x="42" y="35"/>
                    <a:pt x="39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1" y="30"/>
                    <a:pt x="22" y="32"/>
                    <a:pt x="17" y="39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3" y="45"/>
                    <a:pt x="12" y="49"/>
                    <a:pt x="12" y="53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0" y="27"/>
                    <a:pt x="22" y="5"/>
                    <a:pt x="47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11">
              <a:extLst>
                <a:ext uri="{FF2B5EF4-FFF2-40B4-BE49-F238E27FC236}">
                  <a16:creationId xmlns:a16="http://schemas.microsoft.com/office/drawing/2014/main" id="{1B0E9533-89F3-4E05-9DDC-E582D2D7EC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52038" y="3643313"/>
              <a:ext cx="296862" cy="82550"/>
            </a:xfrm>
            <a:custGeom>
              <a:avLst/>
              <a:gdLst>
                <a:gd name="T0" fmla="*/ 85 w 100"/>
                <a:gd name="T1" fmla="*/ 1 h 28"/>
                <a:gd name="T2" fmla="*/ 84 w 100"/>
                <a:gd name="T3" fmla="*/ 1 h 28"/>
                <a:gd name="T4" fmla="*/ 58 w 100"/>
                <a:gd name="T5" fmla="*/ 7 h 28"/>
                <a:gd name="T6" fmla="*/ 51 w 100"/>
                <a:gd name="T7" fmla="*/ 3 h 28"/>
                <a:gd name="T8" fmla="*/ 43 w 100"/>
                <a:gd name="T9" fmla="*/ 7 h 28"/>
                <a:gd name="T10" fmla="*/ 38 w 100"/>
                <a:gd name="T11" fmla="*/ 6 h 28"/>
                <a:gd name="T12" fmla="*/ 15 w 100"/>
                <a:gd name="T13" fmla="*/ 8 h 28"/>
                <a:gd name="T14" fmla="*/ 1 w 100"/>
                <a:gd name="T15" fmla="*/ 10 h 28"/>
                <a:gd name="T16" fmla="*/ 2 w 100"/>
                <a:gd name="T17" fmla="*/ 12 h 28"/>
                <a:gd name="T18" fmla="*/ 12 w 100"/>
                <a:gd name="T19" fmla="*/ 11 h 28"/>
                <a:gd name="T20" fmla="*/ 12 w 100"/>
                <a:gd name="T21" fmla="*/ 23 h 28"/>
                <a:gd name="T22" fmla="*/ 17 w 100"/>
                <a:gd name="T23" fmla="*/ 28 h 28"/>
                <a:gd name="T24" fmla="*/ 40 w 100"/>
                <a:gd name="T25" fmla="*/ 26 h 28"/>
                <a:gd name="T26" fmla="*/ 45 w 100"/>
                <a:gd name="T27" fmla="*/ 20 h 28"/>
                <a:gd name="T28" fmla="*/ 45 w 100"/>
                <a:gd name="T29" fmla="*/ 9 h 28"/>
                <a:gd name="T30" fmla="*/ 51 w 100"/>
                <a:gd name="T31" fmla="*/ 6 h 28"/>
                <a:gd name="T32" fmla="*/ 58 w 100"/>
                <a:gd name="T33" fmla="*/ 12 h 28"/>
                <a:gd name="T34" fmla="*/ 64 w 100"/>
                <a:gd name="T35" fmla="*/ 23 h 28"/>
                <a:gd name="T36" fmla="*/ 86 w 100"/>
                <a:gd name="T37" fmla="*/ 21 h 28"/>
                <a:gd name="T38" fmla="*/ 90 w 100"/>
                <a:gd name="T39" fmla="*/ 6 h 28"/>
                <a:gd name="T40" fmla="*/ 99 w 100"/>
                <a:gd name="T41" fmla="*/ 3 h 28"/>
                <a:gd name="T42" fmla="*/ 98 w 100"/>
                <a:gd name="T43" fmla="*/ 0 h 28"/>
                <a:gd name="T44" fmla="*/ 18 w 100"/>
                <a:gd name="T45" fmla="*/ 25 h 28"/>
                <a:gd name="T46" fmla="*/ 15 w 100"/>
                <a:gd name="T47" fmla="*/ 22 h 28"/>
                <a:gd name="T48" fmla="*/ 15 w 100"/>
                <a:gd name="T49" fmla="*/ 12 h 28"/>
                <a:gd name="T50" fmla="*/ 38 w 100"/>
                <a:gd name="T51" fmla="*/ 9 h 28"/>
                <a:gd name="T52" fmla="*/ 41 w 100"/>
                <a:gd name="T53" fmla="*/ 11 h 28"/>
                <a:gd name="T54" fmla="*/ 41 w 100"/>
                <a:gd name="T55" fmla="*/ 14 h 28"/>
                <a:gd name="T56" fmla="*/ 42 w 100"/>
                <a:gd name="T57" fmla="*/ 20 h 28"/>
                <a:gd name="T58" fmla="*/ 86 w 100"/>
                <a:gd name="T59" fmla="*/ 18 h 28"/>
                <a:gd name="T60" fmla="*/ 61 w 100"/>
                <a:gd name="T61" fmla="*/ 18 h 28"/>
                <a:gd name="T62" fmla="*/ 61 w 100"/>
                <a:gd name="T63" fmla="*/ 12 h 28"/>
                <a:gd name="T64" fmla="*/ 60 w 100"/>
                <a:gd name="T65" fmla="*/ 9 h 28"/>
                <a:gd name="T66" fmla="*/ 84 w 100"/>
                <a:gd name="T67" fmla="*/ 4 h 28"/>
                <a:gd name="T68" fmla="*/ 87 w 100"/>
                <a:gd name="T69" fmla="*/ 7 h 28"/>
                <a:gd name="T70" fmla="*/ 86 w 100"/>
                <a:gd name="T71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28">
                  <a:moveTo>
                    <a:pt x="98" y="0"/>
                  </a:moveTo>
                  <a:cubicBezTo>
                    <a:pt x="85" y="1"/>
                    <a:pt x="85" y="1"/>
                    <a:pt x="85" y="1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84" y="1"/>
                    <a:pt x="84" y="1"/>
                    <a:pt x="84" y="1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60" y="4"/>
                    <a:pt x="59" y="5"/>
                    <a:pt x="58" y="7"/>
                  </a:cubicBezTo>
                  <a:cubicBezTo>
                    <a:pt x="58" y="6"/>
                    <a:pt x="58" y="6"/>
                    <a:pt x="57" y="6"/>
                  </a:cubicBezTo>
                  <a:cubicBezTo>
                    <a:pt x="55" y="4"/>
                    <a:pt x="53" y="3"/>
                    <a:pt x="51" y="3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47" y="4"/>
                    <a:pt x="45" y="5"/>
                    <a:pt x="43" y="7"/>
                  </a:cubicBezTo>
                  <a:cubicBezTo>
                    <a:pt x="43" y="7"/>
                    <a:pt x="43" y="8"/>
                    <a:pt x="42" y="8"/>
                  </a:cubicBezTo>
                  <a:cubicBezTo>
                    <a:pt x="41" y="7"/>
                    <a:pt x="40" y="6"/>
                    <a:pt x="38" y="6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0" y="10"/>
                    <a:pt x="0" y="11"/>
                  </a:cubicBezTo>
                  <a:cubicBezTo>
                    <a:pt x="0" y="12"/>
                    <a:pt x="1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2"/>
                    <a:pt x="11" y="13"/>
                    <a:pt x="11" y="14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4"/>
                    <a:pt x="13" y="26"/>
                    <a:pt x="14" y="27"/>
                  </a:cubicBezTo>
                  <a:cubicBezTo>
                    <a:pt x="15" y="27"/>
                    <a:pt x="16" y="28"/>
                    <a:pt x="17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3" y="25"/>
                    <a:pt x="45" y="23"/>
                    <a:pt x="45" y="20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4" y="12"/>
                    <a:pt x="44" y="10"/>
                    <a:pt x="45" y="9"/>
                  </a:cubicBezTo>
                  <a:cubicBezTo>
                    <a:pt x="46" y="7"/>
                    <a:pt x="48" y="6"/>
                    <a:pt x="49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6"/>
                    <a:pt x="54" y="7"/>
                    <a:pt x="55" y="8"/>
                  </a:cubicBezTo>
                  <a:cubicBezTo>
                    <a:pt x="57" y="9"/>
                    <a:pt x="58" y="11"/>
                    <a:pt x="58" y="12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9" y="21"/>
                    <a:pt x="61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9" y="21"/>
                    <a:pt x="91" y="18"/>
                    <a:pt x="91" y="15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90" y="5"/>
                    <a:pt x="90" y="5"/>
                    <a:pt x="89" y="4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0" y="3"/>
                    <a:pt x="100" y="2"/>
                    <a:pt x="100" y="1"/>
                  </a:cubicBezTo>
                  <a:cubicBezTo>
                    <a:pt x="100" y="1"/>
                    <a:pt x="99" y="0"/>
                    <a:pt x="98" y="0"/>
                  </a:cubicBezTo>
                  <a:close/>
                  <a:moveTo>
                    <a:pt x="39" y="23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17" y="25"/>
                    <a:pt x="16" y="25"/>
                    <a:pt x="16" y="24"/>
                  </a:cubicBezTo>
                  <a:cubicBezTo>
                    <a:pt x="15" y="24"/>
                    <a:pt x="15" y="23"/>
                    <a:pt x="15" y="22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3"/>
                    <a:pt x="14" y="12"/>
                    <a:pt x="15" y="12"/>
                  </a:cubicBezTo>
                  <a:cubicBezTo>
                    <a:pt x="15" y="11"/>
                    <a:pt x="16" y="11"/>
                    <a:pt x="16" y="11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40" y="9"/>
                    <a:pt x="41" y="10"/>
                    <a:pt x="41" y="11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1"/>
                    <a:pt x="41" y="23"/>
                    <a:pt x="39" y="23"/>
                  </a:cubicBezTo>
                  <a:close/>
                  <a:moveTo>
                    <a:pt x="86" y="18"/>
                  </a:moveTo>
                  <a:cubicBezTo>
                    <a:pt x="64" y="20"/>
                    <a:pt x="64" y="20"/>
                    <a:pt x="64" y="20"/>
                  </a:cubicBezTo>
                  <a:cubicBezTo>
                    <a:pt x="63" y="21"/>
                    <a:pt x="61" y="19"/>
                    <a:pt x="61" y="18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8"/>
                    <a:pt x="61" y="6"/>
                    <a:pt x="63" y="6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6" y="4"/>
                    <a:pt x="87" y="5"/>
                    <a:pt x="87" y="7"/>
                  </a:cubicBezTo>
                  <a:cubicBezTo>
                    <a:pt x="88" y="15"/>
                    <a:pt x="88" y="15"/>
                    <a:pt x="88" y="15"/>
                  </a:cubicBezTo>
                  <a:cubicBezTo>
                    <a:pt x="88" y="17"/>
                    <a:pt x="87" y="18"/>
                    <a:pt x="86" y="18"/>
                  </a:cubicBez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12">
              <a:extLst>
                <a:ext uri="{FF2B5EF4-FFF2-40B4-BE49-F238E27FC236}">
                  <a16:creationId xmlns:a16="http://schemas.microsoft.com/office/drawing/2014/main" id="{23DFC4D7-43D6-4398-97DE-5B5B1EB221B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82213" y="3767138"/>
              <a:ext cx="71437" cy="20638"/>
            </a:xfrm>
            <a:custGeom>
              <a:avLst/>
              <a:gdLst>
                <a:gd name="T0" fmla="*/ 24 w 24"/>
                <a:gd name="T1" fmla="*/ 4 h 7"/>
                <a:gd name="T2" fmla="*/ 1 w 24"/>
                <a:gd name="T3" fmla="*/ 7 h 7"/>
                <a:gd name="T4" fmla="*/ 1 w 24"/>
                <a:gd name="T5" fmla="*/ 6 h 7"/>
                <a:gd name="T6" fmla="*/ 5 w 24"/>
                <a:gd name="T7" fmla="*/ 1 h 7"/>
                <a:gd name="T8" fmla="*/ 19 w 24"/>
                <a:gd name="T9" fmla="*/ 0 h 7"/>
                <a:gd name="T10" fmla="*/ 24 w 24"/>
                <a:gd name="T1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7">
                  <a:moveTo>
                    <a:pt x="24" y="4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2" y="2"/>
                    <a:pt x="5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4" y="1"/>
                    <a:pt x="24" y="4"/>
                  </a:cubicBezTo>
                  <a:close/>
                </a:path>
              </a:pathLst>
            </a:custGeom>
            <a:solidFill>
              <a:srgbClr val="4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Rectangle 113">
              <a:extLst>
                <a:ext uri="{FF2B5EF4-FFF2-40B4-BE49-F238E27FC236}">
                  <a16:creationId xmlns:a16="http://schemas.microsoft.com/office/drawing/2014/main" id="{4877D218-1136-454C-B9CD-DBD42FEF72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78988" y="4337050"/>
              <a:ext cx="628650" cy="38100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14">
              <a:extLst>
                <a:ext uri="{FF2B5EF4-FFF2-40B4-BE49-F238E27FC236}">
                  <a16:creationId xmlns:a16="http://schemas.microsoft.com/office/drawing/2014/main" id="{D7BCD021-A952-4EBF-BCEA-63635C8BB471}"/>
                </a:ext>
              </a:extLst>
            </p:cNvPr>
            <p:cNvSpPr>
              <a:spLocks/>
            </p:cNvSpPr>
            <p:nvPr/>
          </p:nvSpPr>
          <p:spPr bwMode="gray">
            <a:xfrm>
              <a:off x="9794875" y="5294313"/>
              <a:ext cx="95250" cy="112713"/>
            </a:xfrm>
            <a:custGeom>
              <a:avLst/>
              <a:gdLst>
                <a:gd name="T0" fmla="*/ 18 w 32"/>
                <a:gd name="T1" fmla="*/ 11 h 38"/>
                <a:gd name="T2" fmla="*/ 13 w 32"/>
                <a:gd name="T3" fmla="*/ 12 h 38"/>
                <a:gd name="T4" fmla="*/ 13 w 32"/>
                <a:gd name="T5" fmla="*/ 0 h 38"/>
                <a:gd name="T6" fmla="*/ 0 w 32"/>
                <a:gd name="T7" fmla="*/ 0 h 38"/>
                <a:gd name="T8" fmla="*/ 0 w 32"/>
                <a:gd name="T9" fmla="*/ 19 h 38"/>
                <a:gd name="T10" fmla="*/ 6 w 32"/>
                <a:gd name="T11" fmla="*/ 19 h 38"/>
                <a:gd name="T12" fmla="*/ 4 w 32"/>
                <a:gd name="T13" fmla="*/ 25 h 38"/>
                <a:gd name="T14" fmla="*/ 18 w 32"/>
                <a:gd name="T15" fmla="*/ 38 h 38"/>
                <a:gd name="T16" fmla="*/ 32 w 32"/>
                <a:gd name="T17" fmla="*/ 25 h 38"/>
                <a:gd name="T18" fmla="*/ 18 w 32"/>
                <a:gd name="T19" fmla="*/ 1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8">
                  <a:moveTo>
                    <a:pt x="18" y="11"/>
                  </a:moveTo>
                  <a:cubicBezTo>
                    <a:pt x="16" y="11"/>
                    <a:pt x="15" y="11"/>
                    <a:pt x="13" y="12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21"/>
                    <a:pt x="4" y="23"/>
                    <a:pt x="4" y="25"/>
                  </a:cubicBezTo>
                  <a:cubicBezTo>
                    <a:pt x="4" y="32"/>
                    <a:pt x="10" y="38"/>
                    <a:pt x="18" y="38"/>
                  </a:cubicBezTo>
                  <a:cubicBezTo>
                    <a:pt x="26" y="38"/>
                    <a:pt x="32" y="32"/>
                    <a:pt x="32" y="25"/>
                  </a:cubicBezTo>
                  <a:cubicBezTo>
                    <a:pt x="32" y="17"/>
                    <a:pt x="26" y="11"/>
                    <a:pt x="18" y="11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115">
              <a:extLst>
                <a:ext uri="{FF2B5EF4-FFF2-40B4-BE49-F238E27FC236}">
                  <a16:creationId xmlns:a16="http://schemas.microsoft.com/office/drawing/2014/main" id="{06AB9B5C-DE51-4462-9B53-DF0447202A19}"/>
                </a:ext>
              </a:extLst>
            </p:cNvPr>
            <p:cNvSpPr>
              <a:spLocks/>
            </p:cNvSpPr>
            <p:nvPr/>
          </p:nvSpPr>
          <p:spPr bwMode="gray">
            <a:xfrm>
              <a:off x="9972675" y="5294313"/>
              <a:ext cx="95250" cy="112713"/>
            </a:xfrm>
            <a:custGeom>
              <a:avLst/>
              <a:gdLst>
                <a:gd name="T0" fmla="*/ 18 w 32"/>
                <a:gd name="T1" fmla="*/ 11 h 38"/>
                <a:gd name="T2" fmla="*/ 14 w 32"/>
                <a:gd name="T3" fmla="*/ 12 h 38"/>
                <a:gd name="T4" fmla="*/ 14 w 32"/>
                <a:gd name="T5" fmla="*/ 0 h 38"/>
                <a:gd name="T6" fmla="*/ 0 w 32"/>
                <a:gd name="T7" fmla="*/ 0 h 38"/>
                <a:gd name="T8" fmla="*/ 0 w 32"/>
                <a:gd name="T9" fmla="*/ 19 h 38"/>
                <a:gd name="T10" fmla="*/ 6 w 32"/>
                <a:gd name="T11" fmla="*/ 19 h 38"/>
                <a:gd name="T12" fmla="*/ 4 w 32"/>
                <a:gd name="T13" fmla="*/ 25 h 38"/>
                <a:gd name="T14" fmla="*/ 18 w 32"/>
                <a:gd name="T15" fmla="*/ 38 h 38"/>
                <a:gd name="T16" fmla="*/ 32 w 32"/>
                <a:gd name="T17" fmla="*/ 25 h 38"/>
                <a:gd name="T18" fmla="*/ 18 w 32"/>
                <a:gd name="T19" fmla="*/ 1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8">
                  <a:moveTo>
                    <a:pt x="18" y="11"/>
                  </a:moveTo>
                  <a:cubicBezTo>
                    <a:pt x="17" y="11"/>
                    <a:pt x="15" y="11"/>
                    <a:pt x="14" y="1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21"/>
                    <a:pt x="4" y="23"/>
                    <a:pt x="4" y="25"/>
                  </a:cubicBezTo>
                  <a:cubicBezTo>
                    <a:pt x="4" y="32"/>
                    <a:pt x="11" y="38"/>
                    <a:pt x="18" y="38"/>
                  </a:cubicBezTo>
                  <a:cubicBezTo>
                    <a:pt x="26" y="38"/>
                    <a:pt x="32" y="32"/>
                    <a:pt x="32" y="25"/>
                  </a:cubicBezTo>
                  <a:cubicBezTo>
                    <a:pt x="32" y="17"/>
                    <a:pt x="26" y="11"/>
                    <a:pt x="18" y="11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116">
              <a:extLst>
                <a:ext uri="{FF2B5EF4-FFF2-40B4-BE49-F238E27FC236}">
                  <a16:creationId xmlns:a16="http://schemas.microsoft.com/office/drawing/2014/main" id="{26165545-136F-4D0A-8073-812F26A07EC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53650" y="5294313"/>
              <a:ext cx="95250" cy="112713"/>
            </a:xfrm>
            <a:custGeom>
              <a:avLst/>
              <a:gdLst>
                <a:gd name="T0" fmla="*/ 18 w 32"/>
                <a:gd name="T1" fmla="*/ 11 h 38"/>
                <a:gd name="T2" fmla="*/ 13 w 32"/>
                <a:gd name="T3" fmla="*/ 12 h 38"/>
                <a:gd name="T4" fmla="*/ 13 w 32"/>
                <a:gd name="T5" fmla="*/ 0 h 38"/>
                <a:gd name="T6" fmla="*/ 0 w 32"/>
                <a:gd name="T7" fmla="*/ 0 h 38"/>
                <a:gd name="T8" fmla="*/ 0 w 32"/>
                <a:gd name="T9" fmla="*/ 19 h 38"/>
                <a:gd name="T10" fmla="*/ 5 w 32"/>
                <a:gd name="T11" fmla="*/ 19 h 38"/>
                <a:gd name="T12" fmla="*/ 4 w 32"/>
                <a:gd name="T13" fmla="*/ 25 h 38"/>
                <a:gd name="T14" fmla="*/ 18 w 32"/>
                <a:gd name="T15" fmla="*/ 38 h 38"/>
                <a:gd name="T16" fmla="*/ 32 w 32"/>
                <a:gd name="T17" fmla="*/ 25 h 38"/>
                <a:gd name="T18" fmla="*/ 18 w 32"/>
                <a:gd name="T19" fmla="*/ 1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8">
                  <a:moveTo>
                    <a:pt x="18" y="11"/>
                  </a:moveTo>
                  <a:cubicBezTo>
                    <a:pt x="16" y="11"/>
                    <a:pt x="15" y="11"/>
                    <a:pt x="13" y="12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1"/>
                    <a:pt x="4" y="23"/>
                    <a:pt x="4" y="25"/>
                  </a:cubicBezTo>
                  <a:cubicBezTo>
                    <a:pt x="4" y="32"/>
                    <a:pt x="10" y="38"/>
                    <a:pt x="18" y="38"/>
                  </a:cubicBezTo>
                  <a:cubicBezTo>
                    <a:pt x="25" y="38"/>
                    <a:pt x="32" y="32"/>
                    <a:pt x="32" y="25"/>
                  </a:cubicBezTo>
                  <a:cubicBezTo>
                    <a:pt x="32" y="17"/>
                    <a:pt x="25" y="11"/>
                    <a:pt x="18" y="11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117">
              <a:extLst>
                <a:ext uri="{FF2B5EF4-FFF2-40B4-BE49-F238E27FC236}">
                  <a16:creationId xmlns:a16="http://schemas.microsoft.com/office/drawing/2014/main" id="{C90D03D2-8231-4A87-8362-8DF7B150F20B}"/>
                </a:ext>
              </a:extLst>
            </p:cNvPr>
            <p:cNvSpPr>
              <a:spLocks/>
            </p:cNvSpPr>
            <p:nvPr/>
          </p:nvSpPr>
          <p:spPr bwMode="gray">
            <a:xfrm>
              <a:off x="9794875" y="4354513"/>
              <a:ext cx="396875" cy="954088"/>
            </a:xfrm>
            <a:custGeom>
              <a:avLst/>
              <a:gdLst>
                <a:gd name="T0" fmla="*/ 117 w 134"/>
                <a:gd name="T1" fmla="*/ 304 h 322"/>
                <a:gd name="T2" fmla="*/ 78 w 134"/>
                <a:gd name="T3" fmla="*/ 304 h 322"/>
                <a:gd name="T4" fmla="*/ 78 w 134"/>
                <a:gd name="T5" fmla="*/ 0 h 322"/>
                <a:gd name="T6" fmla="*/ 56 w 134"/>
                <a:gd name="T7" fmla="*/ 0 h 322"/>
                <a:gd name="T8" fmla="*/ 56 w 134"/>
                <a:gd name="T9" fmla="*/ 304 h 322"/>
                <a:gd name="T10" fmla="*/ 16 w 134"/>
                <a:gd name="T11" fmla="*/ 304 h 322"/>
                <a:gd name="T12" fmla="*/ 0 w 134"/>
                <a:gd name="T13" fmla="*/ 320 h 322"/>
                <a:gd name="T14" fmla="*/ 0 w 134"/>
                <a:gd name="T15" fmla="*/ 322 h 322"/>
                <a:gd name="T16" fmla="*/ 134 w 134"/>
                <a:gd name="T17" fmla="*/ 322 h 322"/>
                <a:gd name="T18" fmla="*/ 134 w 134"/>
                <a:gd name="T19" fmla="*/ 320 h 322"/>
                <a:gd name="T20" fmla="*/ 117 w 134"/>
                <a:gd name="T21" fmla="*/ 30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" h="322">
                  <a:moveTo>
                    <a:pt x="117" y="304"/>
                  </a:moveTo>
                  <a:cubicBezTo>
                    <a:pt x="78" y="304"/>
                    <a:pt x="78" y="304"/>
                    <a:pt x="78" y="304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04"/>
                    <a:pt x="56" y="304"/>
                    <a:pt x="56" y="304"/>
                  </a:cubicBezTo>
                  <a:cubicBezTo>
                    <a:pt x="16" y="304"/>
                    <a:pt x="16" y="304"/>
                    <a:pt x="16" y="304"/>
                  </a:cubicBezTo>
                  <a:cubicBezTo>
                    <a:pt x="7" y="304"/>
                    <a:pt x="0" y="311"/>
                    <a:pt x="0" y="32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134" y="322"/>
                    <a:pt x="134" y="322"/>
                    <a:pt x="134" y="322"/>
                  </a:cubicBezTo>
                  <a:cubicBezTo>
                    <a:pt x="134" y="320"/>
                    <a:pt x="134" y="320"/>
                    <a:pt x="134" y="320"/>
                  </a:cubicBezTo>
                  <a:cubicBezTo>
                    <a:pt x="134" y="311"/>
                    <a:pt x="127" y="304"/>
                    <a:pt x="117" y="304"/>
                  </a:cubicBez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118">
              <a:extLst>
                <a:ext uri="{FF2B5EF4-FFF2-40B4-BE49-F238E27FC236}">
                  <a16:creationId xmlns:a16="http://schemas.microsoft.com/office/drawing/2014/main" id="{7362FFD4-FAF5-47D8-84B4-F7E6E433AFAA}"/>
                </a:ext>
              </a:extLst>
            </p:cNvPr>
            <p:cNvSpPr>
              <a:spLocks/>
            </p:cNvSpPr>
            <p:nvPr/>
          </p:nvSpPr>
          <p:spPr bwMode="gray">
            <a:xfrm>
              <a:off x="9961563" y="4375150"/>
              <a:ext cx="65087" cy="160338"/>
            </a:xfrm>
            <a:custGeom>
              <a:avLst/>
              <a:gdLst>
                <a:gd name="T0" fmla="*/ 0 w 41"/>
                <a:gd name="T1" fmla="*/ 0 h 101"/>
                <a:gd name="T2" fmla="*/ 41 w 41"/>
                <a:gd name="T3" fmla="*/ 0 h 101"/>
                <a:gd name="T4" fmla="*/ 41 w 41"/>
                <a:gd name="T5" fmla="*/ 101 h 101"/>
                <a:gd name="T6" fmla="*/ 0 w 41"/>
                <a:gd name="T7" fmla="*/ 75 h 101"/>
                <a:gd name="T8" fmla="*/ 0 w 41"/>
                <a:gd name="T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01">
                  <a:moveTo>
                    <a:pt x="0" y="0"/>
                  </a:moveTo>
                  <a:lnTo>
                    <a:pt x="41" y="0"/>
                  </a:lnTo>
                  <a:lnTo>
                    <a:pt x="41" y="101"/>
                  </a:lnTo>
                  <a:lnTo>
                    <a:pt x="0" y="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119">
              <a:extLst>
                <a:ext uri="{FF2B5EF4-FFF2-40B4-BE49-F238E27FC236}">
                  <a16:creationId xmlns:a16="http://schemas.microsoft.com/office/drawing/2014/main" id="{17A701F9-F826-48B4-9D75-0AEAA28A411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58400" y="4108450"/>
              <a:ext cx="211137" cy="228600"/>
            </a:xfrm>
            <a:custGeom>
              <a:avLst/>
              <a:gdLst>
                <a:gd name="T0" fmla="*/ 13 w 133"/>
                <a:gd name="T1" fmla="*/ 0 h 144"/>
                <a:gd name="T2" fmla="*/ 41 w 133"/>
                <a:gd name="T3" fmla="*/ 134 h 144"/>
                <a:gd name="T4" fmla="*/ 133 w 133"/>
                <a:gd name="T5" fmla="*/ 134 h 144"/>
                <a:gd name="T6" fmla="*/ 133 w 133"/>
                <a:gd name="T7" fmla="*/ 144 h 144"/>
                <a:gd name="T8" fmla="*/ 34 w 133"/>
                <a:gd name="T9" fmla="*/ 144 h 144"/>
                <a:gd name="T10" fmla="*/ 0 w 133"/>
                <a:gd name="T11" fmla="*/ 0 h 144"/>
                <a:gd name="T12" fmla="*/ 13 w 133"/>
                <a:gd name="T1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144">
                  <a:moveTo>
                    <a:pt x="13" y="0"/>
                  </a:moveTo>
                  <a:lnTo>
                    <a:pt x="41" y="134"/>
                  </a:lnTo>
                  <a:lnTo>
                    <a:pt x="133" y="134"/>
                  </a:lnTo>
                  <a:lnTo>
                    <a:pt x="133" y="144"/>
                  </a:lnTo>
                  <a:lnTo>
                    <a:pt x="34" y="144"/>
                  </a:lnTo>
                  <a:lnTo>
                    <a:pt x="0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120">
              <a:extLst>
                <a:ext uri="{FF2B5EF4-FFF2-40B4-BE49-F238E27FC236}">
                  <a16:creationId xmlns:a16="http://schemas.microsoft.com/office/drawing/2014/main" id="{26790BD7-0C70-4CE5-9657-016974367B9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28275" y="4027488"/>
              <a:ext cx="115887" cy="71438"/>
            </a:xfrm>
            <a:custGeom>
              <a:avLst/>
              <a:gdLst>
                <a:gd name="T0" fmla="*/ 0 w 39"/>
                <a:gd name="T1" fmla="*/ 15 h 24"/>
                <a:gd name="T2" fmla="*/ 2 w 39"/>
                <a:gd name="T3" fmla="*/ 16 h 24"/>
                <a:gd name="T4" fmla="*/ 39 w 39"/>
                <a:gd name="T5" fmla="*/ 21 h 24"/>
                <a:gd name="T6" fmla="*/ 31 w 39"/>
                <a:gd name="T7" fmla="*/ 0 h 24"/>
                <a:gd name="T8" fmla="*/ 0 w 39"/>
                <a:gd name="T9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0" y="15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3" y="23"/>
                    <a:pt x="26" y="24"/>
                    <a:pt x="39" y="2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9" y="12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66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121">
              <a:extLst>
                <a:ext uri="{FF2B5EF4-FFF2-40B4-BE49-F238E27FC236}">
                  <a16:creationId xmlns:a16="http://schemas.microsoft.com/office/drawing/2014/main" id="{2651FB87-D53B-4095-B6B2-A849371A4045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42563" y="1854200"/>
              <a:ext cx="350837" cy="190500"/>
            </a:xfrm>
            <a:custGeom>
              <a:avLst/>
              <a:gdLst>
                <a:gd name="T0" fmla="*/ 0 w 118"/>
                <a:gd name="T1" fmla="*/ 35 h 64"/>
                <a:gd name="T2" fmla="*/ 101 w 118"/>
                <a:gd name="T3" fmla="*/ 64 h 64"/>
                <a:gd name="T4" fmla="*/ 118 w 118"/>
                <a:gd name="T5" fmla="*/ 49 h 64"/>
                <a:gd name="T6" fmla="*/ 106 w 118"/>
                <a:gd name="T7" fmla="*/ 41 h 64"/>
                <a:gd name="T8" fmla="*/ 113 w 118"/>
                <a:gd name="T9" fmla="*/ 27 h 64"/>
                <a:gd name="T10" fmla="*/ 64 w 118"/>
                <a:gd name="T11" fmla="*/ 4 h 64"/>
                <a:gd name="T12" fmla="*/ 0 w 118"/>
                <a:gd name="T13" fmla="*/ 3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" h="64">
                  <a:moveTo>
                    <a:pt x="0" y="35"/>
                  </a:moveTo>
                  <a:cubicBezTo>
                    <a:pt x="0" y="35"/>
                    <a:pt x="36" y="59"/>
                    <a:pt x="101" y="64"/>
                  </a:cubicBezTo>
                  <a:cubicBezTo>
                    <a:pt x="111" y="56"/>
                    <a:pt x="118" y="49"/>
                    <a:pt x="118" y="49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13" y="27"/>
                    <a:pt x="113" y="27"/>
                    <a:pt x="113" y="27"/>
                  </a:cubicBezTo>
                  <a:cubicBezTo>
                    <a:pt x="113" y="27"/>
                    <a:pt x="80" y="9"/>
                    <a:pt x="64" y="4"/>
                  </a:cubicBezTo>
                  <a:cubicBezTo>
                    <a:pt x="47" y="0"/>
                    <a:pt x="11" y="1"/>
                    <a:pt x="0" y="35"/>
                  </a:cubicBez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122">
              <a:extLst>
                <a:ext uri="{FF2B5EF4-FFF2-40B4-BE49-F238E27FC236}">
                  <a16:creationId xmlns:a16="http://schemas.microsoft.com/office/drawing/2014/main" id="{7576564C-939C-448B-A06C-F88D071E6F95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50525" y="1916113"/>
              <a:ext cx="127000" cy="60325"/>
            </a:xfrm>
            <a:custGeom>
              <a:avLst/>
              <a:gdLst>
                <a:gd name="T0" fmla="*/ 36 w 43"/>
                <a:gd name="T1" fmla="*/ 20 h 20"/>
                <a:gd name="T2" fmla="*/ 0 w 43"/>
                <a:gd name="T3" fmla="*/ 4 h 20"/>
                <a:gd name="T4" fmla="*/ 43 w 43"/>
                <a:gd name="T5" fmla="*/ 6 h 20"/>
                <a:gd name="T6" fmla="*/ 36 w 43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20">
                  <a:moveTo>
                    <a:pt x="36" y="2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25" y="0"/>
                    <a:pt x="43" y="6"/>
                  </a:cubicBezTo>
                  <a:cubicBezTo>
                    <a:pt x="39" y="15"/>
                    <a:pt x="36" y="20"/>
                    <a:pt x="36" y="20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123">
              <a:extLst>
                <a:ext uri="{FF2B5EF4-FFF2-40B4-BE49-F238E27FC236}">
                  <a16:creationId xmlns:a16="http://schemas.microsoft.com/office/drawing/2014/main" id="{FB757B05-2E09-4E28-804B-26B335E11276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88613" y="1952625"/>
              <a:ext cx="141287" cy="79375"/>
            </a:xfrm>
            <a:custGeom>
              <a:avLst/>
              <a:gdLst>
                <a:gd name="T0" fmla="*/ 0 w 48"/>
                <a:gd name="T1" fmla="*/ 0 h 27"/>
                <a:gd name="T2" fmla="*/ 48 w 48"/>
                <a:gd name="T3" fmla="*/ 27 h 27"/>
                <a:gd name="T4" fmla="*/ 0 w 48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27">
                  <a:moveTo>
                    <a:pt x="0" y="0"/>
                  </a:move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35" y="0"/>
                    <a:pt x="0" y="0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7">
              <a:extLst>
                <a:ext uri="{FF2B5EF4-FFF2-40B4-BE49-F238E27FC236}">
                  <a16:creationId xmlns:a16="http://schemas.microsoft.com/office/drawing/2014/main" id="{DE3EA27F-FD34-4801-8A8B-94CE5BF802A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13888" y="876301"/>
              <a:ext cx="96837" cy="430213"/>
            </a:xfrm>
            <a:custGeom>
              <a:avLst/>
              <a:gdLst>
                <a:gd name="T0" fmla="*/ 33 w 33"/>
                <a:gd name="T1" fmla="*/ 9 h 145"/>
                <a:gd name="T2" fmla="*/ 33 w 33"/>
                <a:gd name="T3" fmla="*/ 0 h 145"/>
                <a:gd name="T4" fmla="*/ 24 w 33"/>
                <a:gd name="T5" fmla="*/ 0 h 145"/>
                <a:gd name="T6" fmla="*/ 24 w 33"/>
                <a:gd name="T7" fmla="*/ 9 h 145"/>
                <a:gd name="T8" fmla="*/ 21 w 33"/>
                <a:gd name="T9" fmla="*/ 14 h 145"/>
                <a:gd name="T10" fmla="*/ 21 w 33"/>
                <a:gd name="T11" fmla="*/ 11 h 145"/>
                <a:gd name="T12" fmla="*/ 17 w 33"/>
                <a:gd name="T13" fmla="*/ 6 h 145"/>
                <a:gd name="T14" fmla="*/ 12 w 33"/>
                <a:gd name="T15" fmla="*/ 11 h 145"/>
                <a:gd name="T16" fmla="*/ 12 w 33"/>
                <a:gd name="T17" fmla="*/ 14 h 145"/>
                <a:gd name="T18" fmla="*/ 9 w 33"/>
                <a:gd name="T19" fmla="*/ 9 h 145"/>
                <a:gd name="T20" fmla="*/ 9 w 33"/>
                <a:gd name="T21" fmla="*/ 0 h 145"/>
                <a:gd name="T22" fmla="*/ 0 w 33"/>
                <a:gd name="T23" fmla="*/ 0 h 145"/>
                <a:gd name="T24" fmla="*/ 0 w 33"/>
                <a:gd name="T25" fmla="*/ 9 h 145"/>
                <a:gd name="T26" fmla="*/ 12 w 33"/>
                <a:gd name="T27" fmla="*/ 24 h 145"/>
                <a:gd name="T28" fmla="*/ 12 w 33"/>
                <a:gd name="T29" fmla="*/ 37 h 145"/>
                <a:gd name="T30" fmla="*/ 0 w 33"/>
                <a:gd name="T31" fmla="*/ 53 h 145"/>
                <a:gd name="T32" fmla="*/ 0 w 33"/>
                <a:gd name="T33" fmla="*/ 68 h 145"/>
                <a:gd name="T34" fmla="*/ 12 w 33"/>
                <a:gd name="T35" fmla="*/ 84 h 145"/>
                <a:gd name="T36" fmla="*/ 12 w 33"/>
                <a:gd name="T37" fmla="*/ 97 h 145"/>
                <a:gd name="T38" fmla="*/ 0 w 33"/>
                <a:gd name="T39" fmla="*/ 113 h 145"/>
                <a:gd name="T40" fmla="*/ 0 w 33"/>
                <a:gd name="T41" fmla="*/ 128 h 145"/>
                <a:gd name="T42" fmla="*/ 17 w 33"/>
                <a:gd name="T43" fmla="*/ 145 h 145"/>
                <a:gd name="T44" fmla="*/ 33 w 33"/>
                <a:gd name="T45" fmla="*/ 128 h 145"/>
                <a:gd name="T46" fmla="*/ 33 w 33"/>
                <a:gd name="T47" fmla="*/ 113 h 145"/>
                <a:gd name="T48" fmla="*/ 21 w 33"/>
                <a:gd name="T49" fmla="*/ 97 h 145"/>
                <a:gd name="T50" fmla="*/ 21 w 33"/>
                <a:gd name="T51" fmla="*/ 84 h 145"/>
                <a:gd name="T52" fmla="*/ 33 w 33"/>
                <a:gd name="T53" fmla="*/ 68 h 145"/>
                <a:gd name="T54" fmla="*/ 33 w 33"/>
                <a:gd name="T55" fmla="*/ 53 h 145"/>
                <a:gd name="T56" fmla="*/ 21 w 33"/>
                <a:gd name="T57" fmla="*/ 37 h 145"/>
                <a:gd name="T58" fmla="*/ 21 w 33"/>
                <a:gd name="T59" fmla="*/ 24 h 145"/>
                <a:gd name="T60" fmla="*/ 33 w 33"/>
                <a:gd name="T61" fmla="*/ 9 h 145"/>
                <a:gd name="T62" fmla="*/ 24 w 33"/>
                <a:gd name="T63" fmla="*/ 113 h 145"/>
                <a:gd name="T64" fmla="*/ 24 w 33"/>
                <a:gd name="T65" fmla="*/ 128 h 145"/>
                <a:gd name="T66" fmla="*/ 17 w 33"/>
                <a:gd name="T67" fmla="*/ 135 h 145"/>
                <a:gd name="T68" fmla="*/ 9 w 33"/>
                <a:gd name="T69" fmla="*/ 128 h 145"/>
                <a:gd name="T70" fmla="*/ 9 w 33"/>
                <a:gd name="T71" fmla="*/ 113 h 145"/>
                <a:gd name="T72" fmla="*/ 12 w 33"/>
                <a:gd name="T73" fmla="*/ 107 h 145"/>
                <a:gd name="T74" fmla="*/ 12 w 33"/>
                <a:gd name="T75" fmla="*/ 110 h 145"/>
                <a:gd name="T76" fmla="*/ 17 w 33"/>
                <a:gd name="T77" fmla="*/ 114 h 145"/>
                <a:gd name="T78" fmla="*/ 21 w 33"/>
                <a:gd name="T79" fmla="*/ 110 h 145"/>
                <a:gd name="T80" fmla="*/ 21 w 33"/>
                <a:gd name="T81" fmla="*/ 107 h 145"/>
                <a:gd name="T82" fmla="*/ 24 w 33"/>
                <a:gd name="T83" fmla="*/ 113 h 145"/>
                <a:gd name="T84" fmla="*/ 24 w 33"/>
                <a:gd name="T85" fmla="*/ 53 h 145"/>
                <a:gd name="T86" fmla="*/ 24 w 33"/>
                <a:gd name="T87" fmla="*/ 68 h 145"/>
                <a:gd name="T88" fmla="*/ 21 w 33"/>
                <a:gd name="T89" fmla="*/ 74 h 145"/>
                <a:gd name="T90" fmla="*/ 21 w 33"/>
                <a:gd name="T91" fmla="*/ 71 h 145"/>
                <a:gd name="T92" fmla="*/ 17 w 33"/>
                <a:gd name="T93" fmla="*/ 66 h 145"/>
                <a:gd name="T94" fmla="*/ 12 w 33"/>
                <a:gd name="T95" fmla="*/ 71 h 145"/>
                <a:gd name="T96" fmla="*/ 12 w 33"/>
                <a:gd name="T97" fmla="*/ 74 h 145"/>
                <a:gd name="T98" fmla="*/ 9 w 33"/>
                <a:gd name="T99" fmla="*/ 68 h 145"/>
                <a:gd name="T100" fmla="*/ 9 w 33"/>
                <a:gd name="T101" fmla="*/ 53 h 145"/>
                <a:gd name="T102" fmla="*/ 12 w 33"/>
                <a:gd name="T103" fmla="*/ 48 h 145"/>
                <a:gd name="T104" fmla="*/ 12 w 33"/>
                <a:gd name="T105" fmla="*/ 50 h 145"/>
                <a:gd name="T106" fmla="*/ 17 w 33"/>
                <a:gd name="T107" fmla="*/ 55 h 145"/>
                <a:gd name="T108" fmla="*/ 21 w 33"/>
                <a:gd name="T109" fmla="*/ 50 h 145"/>
                <a:gd name="T110" fmla="*/ 21 w 33"/>
                <a:gd name="T111" fmla="*/ 48 h 145"/>
                <a:gd name="T112" fmla="*/ 24 w 33"/>
                <a:gd name="T113" fmla="*/ 5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" h="145">
                  <a:moveTo>
                    <a:pt x="33" y="9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1"/>
                    <a:pt x="23" y="13"/>
                    <a:pt x="21" y="14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8"/>
                    <a:pt x="19" y="6"/>
                    <a:pt x="17" y="6"/>
                  </a:cubicBezTo>
                  <a:cubicBezTo>
                    <a:pt x="14" y="6"/>
                    <a:pt x="12" y="8"/>
                    <a:pt x="12" y="11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3"/>
                    <a:pt x="9" y="11"/>
                    <a:pt x="9" y="9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5" y="22"/>
                    <a:pt x="12" y="24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5" y="39"/>
                    <a:pt x="0" y="46"/>
                    <a:pt x="0" y="5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6"/>
                    <a:pt x="5" y="82"/>
                    <a:pt x="12" y="84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5" y="99"/>
                    <a:pt x="0" y="105"/>
                    <a:pt x="0" y="113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7"/>
                    <a:pt x="7" y="145"/>
                    <a:pt x="17" y="145"/>
                  </a:cubicBezTo>
                  <a:cubicBezTo>
                    <a:pt x="26" y="145"/>
                    <a:pt x="33" y="137"/>
                    <a:pt x="33" y="128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3" y="105"/>
                    <a:pt x="28" y="99"/>
                    <a:pt x="21" y="97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8" y="82"/>
                    <a:pt x="33" y="76"/>
                    <a:pt x="33" y="68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46"/>
                    <a:pt x="28" y="39"/>
                    <a:pt x="21" y="37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8" y="22"/>
                    <a:pt x="33" y="16"/>
                    <a:pt x="33" y="9"/>
                  </a:cubicBezTo>
                  <a:close/>
                  <a:moveTo>
                    <a:pt x="24" y="113"/>
                  </a:moveTo>
                  <a:cubicBezTo>
                    <a:pt x="24" y="128"/>
                    <a:pt x="24" y="128"/>
                    <a:pt x="24" y="128"/>
                  </a:cubicBezTo>
                  <a:cubicBezTo>
                    <a:pt x="24" y="132"/>
                    <a:pt x="21" y="135"/>
                    <a:pt x="17" y="135"/>
                  </a:cubicBezTo>
                  <a:cubicBezTo>
                    <a:pt x="13" y="135"/>
                    <a:pt x="9" y="132"/>
                    <a:pt x="9" y="128"/>
                  </a:cubicBezTo>
                  <a:cubicBezTo>
                    <a:pt x="9" y="113"/>
                    <a:pt x="9" y="113"/>
                    <a:pt x="9" y="113"/>
                  </a:cubicBezTo>
                  <a:cubicBezTo>
                    <a:pt x="9" y="111"/>
                    <a:pt x="10" y="109"/>
                    <a:pt x="12" y="107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2"/>
                    <a:pt x="14" y="114"/>
                    <a:pt x="17" y="114"/>
                  </a:cubicBezTo>
                  <a:cubicBezTo>
                    <a:pt x="19" y="114"/>
                    <a:pt x="21" y="112"/>
                    <a:pt x="21" y="110"/>
                  </a:cubicBezTo>
                  <a:cubicBezTo>
                    <a:pt x="21" y="107"/>
                    <a:pt x="21" y="107"/>
                    <a:pt x="21" y="107"/>
                  </a:cubicBezTo>
                  <a:cubicBezTo>
                    <a:pt x="23" y="109"/>
                    <a:pt x="24" y="111"/>
                    <a:pt x="24" y="113"/>
                  </a:cubicBezTo>
                  <a:close/>
                  <a:moveTo>
                    <a:pt x="24" y="53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4" y="71"/>
                    <a:pt x="23" y="73"/>
                    <a:pt x="21" y="74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68"/>
                    <a:pt x="19" y="66"/>
                    <a:pt x="17" y="66"/>
                  </a:cubicBezTo>
                  <a:cubicBezTo>
                    <a:pt x="14" y="66"/>
                    <a:pt x="12" y="68"/>
                    <a:pt x="12" y="71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3"/>
                    <a:pt x="9" y="71"/>
                    <a:pt x="9" y="68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1"/>
                    <a:pt x="10" y="49"/>
                    <a:pt x="12" y="48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3"/>
                    <a:pt x="14" y="55"/>
                    <a:pt x="17" y="55"/>
                  </a:cubicBezTo>
                  <a:cubicBezTo>
                    <a:pt x="19" y="55"/>
                    <a:pt x="21" y="53"/>
                    <a:pt x="21" y="50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3" y="49"/>
                    <a:pt x="24" y="51"/>
                    <a:pt x="24" y="53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7">
              <a:extLst>
                <a:ext uri="{FF2B5EF4-FFF2-40B4-BE49-F238E27FC236}">
                  <a16:creationId xmlns:a16="http://schemas.microsoft.com/office/drawing/2014/main" id="{957C0205-5A0A-4126-AB38-C8F45B014C6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13888" y="516732"/>
              <a:ext cx="96837" cy="430213"/>
            </a:xfrm>
            <a:custGeom>
              <a:avLst/>
              <a:gdLst>
                <a:gd name="T0" fmla="*/ 33 w 33"/>
                <a:gd name="T1" fmla="*/ 9 h 145"/>
                <a:gd name="T2" fmla="*/ 33 w 33"/>
                <a:gd name="T3" fmla="*/ 0 h 145"/>
                <a:gd name="T4" fmla="*/ 24 w 33"/>
                <a:gd name="T5" fmla="*/ 0 h 145"/>
                <a:gd name="T6" fmla="*/ 24 w 33"/>
                <a:gd name="T7" fmla="*/ 9 h 145"/>
                <a:gd name="T8" fmla="*/ 21 w 33"/>
                <a:gd name="T9" fmla="*/ 14 h 145"/>
                <a:gd name="T10" fmla="*/ 21 w 33"/>
                <a:gd name="T11" fmla="*/ 11 h 145"/>
                <a:gd name="T12" fmla="*/ 17 w 33"/>
                <a:gd name="T13" fmla="*/ 6 h 145"/>
                <a:gd name="T14" fmla="*/ 12 w 33"/>
                <a:gd name="T15" fmla="*/ 11 h 145"/>
                <a:gd name="T16" fmla="*/ 12 w 33"/>
                <a:gd name="T17" fmla="*/ 14 h 145"/>
                <a:gd name="T18" fmla="*/ 9 w 33"/>
                <a:gd name="T19" fmla="*/ 9 h 145"/>
                <a:gd name="T20" fmla="*/ 9 w 33"/>
                <a:gd name="T21" fmla="*/ 0 h 145"/>
                <a:gd name="T22" fmla="*/ 0 w 33"/>
                <a:gd name="T23" fmla="*/ 0 h 145"/>
                <a:gd name="T24" fmla="*/ 0 w 33"/>
                <a:gd name="T25" fmla="*/ 9 h 145"/>
                <a:gd name="T26" fmla="*/ 12 w 33"/>
                <a:gd name="T27" fmla="*/ 24 h 145"/>
                <a:gd name="T28" fmla="*/ 12 w 33"/>
                <a:gd name="T29" fmla="*/ 37 h 145"/>
                <a:gd name="T30" fmla="*/ 0 w 33"/>
                <a:gd name="T31" fmla="*/ 53 h 145"/>
                <a:gd name="T32" fmla="*/ 0 w 33"/>
                <a:gd name="T33" fmla="*/ 68 h 145"/>
                <a:gd name="T34" fmla="*/ 12 w 33"/>
                <a:gd name="T35" fmla="*/ 84 h 145"/>
                <a:gd name="T36" fmla="*/ 12 w 33"/>
                <a:gd name="T37" fmla="*/ 97 h 145"/>
                <a:gd name="T38" fmla="*/ 0 w 33"/>
                <a:gd name="T39" fmla="*/ 113 h 145"/>
                <a:gd name="T40" fmla="*/ 0 w 33"/>
                <a:gd name="T41" fmla="*/ 128 h 145"/>
                <a:gd name="T42" fmla="*/ 17 w 33"/>
                <a:gd name="T43" fmla="*/ 145 h 145"/>
                <a:gd name="T44" fmla="*/ 33 w 33"/>
                <a:gd name="T45" fmla="*/ 128 h 145"/>
                <a:gd name="T46" fmla="*/ 33 w 33"/>
                <a:gd name="T47" fmla="*/ 113 h 145"/>
                <a:gd name="T48" fmla="*/ 21 w 33"/>
                <a:gd name="T49" fmla="*/ 97 h 145"/>
                <a:gd name="T50" fmla="*/ 21 w 33"/>
                <a:gd name="T51" fmla="*/ 84 h 145"/>
                <a:gd name="T52" fmla="*/ 33 w 33"/>
                <a:gd name="T53" fmla="*/ 68 h 145"/>
                <a:gd name="T54" fmla="*/ 33 w 33"/>
                <a:gd name="T55" fmla="*/ 53 h 145"/>
                <a:gd name="T56" fmla="*/ 21 w 33"/>
                <a:gd name="T57" fmla="*/ 37 h 145"/>
                <a:gd name="T58" fmla="*/ 21 w 33"/>
                <a:gd name="T59" fmla="*/ 24 h 145"/>
                <a:gd name="T60" fmla="*/ 33 w 33"/>
                <a:gd name="T61" fmla="*/ 9 h 145"/>
                <a:gd name="T62" fmla="*/ 24 w 33"/>
                <a:gd name="T63" fmla="*/ 113 h 145"/>
                <a:gd name="T64" fmla="*/ 24 w 33"/>
                <a:gd name="T65" fmla="*/ 128 h 145"/>
                <a:gd name="T66" fmla="*/ 17 w 33"/>
                <a:gd name="T67" fmla="*/ 135 h 145"/>
                <a:gd name="T68" fmla="*/ 9 w 33"/>
                <a:gd name="T69" fmla="*/ 128 h 145"/>
                <a:gd name="T70" fmla="*/ 9 w 33"/>
                <a:gd name="T71" fmla="*/ 113 h 145"/>
                <a:gd name="T72" fmla="*/ 12 w 33"/>
                <a:gd name="T73" fmla="*/ 107 h 145"/>
                <a:gd name="T74" fmla="*/ 12 w 33"/>
                <a:gd name="T75" fmla="*/ 110 h 145"/>
                <a:gd name="T76" fmla="*/ 17 w 33"/>
                <a:gd name="T77" fmla="*/ 114 h 145"/>
                <a:gd name="T78" fmla="*/ 21 w 33"/>
                <a:gd name="T79" fmla="*/ 110 h 145"/>
                <a:gd name="T80" fmla="*/ 21 w 33"/>
                <a:gd name="T81" fmla="*/ 107 h 145"/>
                <a:gd name="T82" fmla="*/ 24 w 33"/>
                <a:gd name="T83" fmla="*/ 113 h 145"/>
                <a:gd name="T84" fmla="*/ 24 w 33"/>
                <a:gd name="T85" fmla="*/ 53 h 145"/>
                <a:gd name="T86" fmla="*/ 24 w 33"/>
                <a:gd name="T87" fmla="*/ 68 h 145"/>
                <a:gd name="T88" fmla="*/ 21 w 33"/>
                <a:gd name="T89" fmla="*/ 74 h 145"/>
                <a:gd name="T90" fmla="*/ 21 w 33"/>
                <a:gd name="T91" fmla="*/ 71 h 145"/>
                <a:gd name="T92" fmla="*/ 17 w 33"/>
                <a:gd name="T93" fmla="*/ 66 h 145"/>
                <a:gd name="T94" fmla="*/ 12 w 33"/>
                <a:gd name="T95" fmla="*/ 71 h 145"/>
                <a:gd name="T96" fmla="*/ 12 w 33"/>
                <a:gd name="T97" fmla="*/ 74 h 145"/>
                <a:gd name="T98" fmla="*/ 9 w 33"/>
                <a:gd name="T99" fmla="*/ 68 h 145"/>
                <a:gd name="T100" fmla="*/ 9 w 33"/>
                <a:gd name="T101" fmla="*/ 53 h 145"/>
                <a:gd name="T102" fmla="*/ 12 w 33"/>
                <a:gd name="T103" fmla="*/ 48 h 145"/>
                <a:gd name="T104" fmla="*/ 12 w 33"/>
                <a:gd name="T105" fmla="*/ 50 h 145"/>
                <a:gd name="T106" fmla="*/ 17 w 33"/>
                <a:gd name="T107" fmla="*/ 55 h 145"/>
                <a:gd name="T108" fmla="*/ 21 w 33"/>
                <a:gd name="T109" fmla="*/ 50 h 145"/>
                <a:gd name="T110" fmla="*/ 21 w 33"/>
                <a:gd name="T111" fmla="*/ 48 h 145"/>
                <a:gd name="T112" fmla="*/ 24 w 33"/>
                <a:gd name="T113" fmla="*/ 5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" h="145">
                  <a:moveTo>
                    <a:pt x="33" y="9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1"/>
                    <a:pt x="23" y="13"/>
                    <a:pt x="21" y="14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8"/>
                    <a:pt x="19" y="6"/>
                    <a:pt x="17" y="6"/>
                  </a:cubicBezTo>
                  <a:cubicBezTo>
                    <a:pt x="14" y="6"/>
                    <a:pt x="12" y="8"/>
                    <a:pt x="12" y="11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3"/>
                    <a:pt x="9" y="11"/>
                    <a:pt x="9" y="9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5" y="22"/>
                    <a:pt x="12" y="24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5" y="39"/>
                    <a:pt x="0" y="46"/>
                    <a:pt x="0" y="5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6"/>
                    <a:pt x="5" y="82"/>
                    <a:pt x="12" y="84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5" y="99"/>
                    <a:pt x="0" y="105"/>
                    <a:pt x="0" y="113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7"/>
                    <a:pt x="7" y="145"/>
                    <a:pt x="17" y="145"/>
                  </a:cubicBezTo>
                  <a:cubicBezTo>
                    <a:pt x="26" y="145"/>
                    <a:pt x="33" y="137"/>
                    <a:pt x="33" y="128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3" y="105"/>
                    <a:pt x="28" y="99"/>
                    <a:pt x="21" y="97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8" y="82"/>
                    <a:pt x="33" y="76"/>
                    <a:pt x="33" y="68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46"/>
                    <a:pt x="28" y="39"/>
                    <a:pt x="21" y="37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8" y="22"/>
                    <a:pt x="33" y="16"/>
                    <a:pt x="33" y="9"/>
                  </a:cubicBezTo>
                  <a:close/>
                  <a:moveTo>
                    <a:pt x="24" y="113"/>
                  </a:moveTo>
                  <a:cubicBezTo>
                    <a:pt x="24" y="128"/>
                    <a:pt x="24" y="128"/>
                    <a:pt x="24" y="128"/>
                  </a:cubicBezTo>
                  <a:cubicBezTo>
                    <a:pt x="24" y="132"/>
                    <a:pt x="21" y="135"/>
                    <a:pt x="17" y="135"/>
                  </a:cubicBezTo>
                  <a:cubicBezTo>
                    <a:pt x="13" y="135"/>
                    <a:pt x="9" y="132"/>
                    <a:pt x="9" y="128"/>
                  </a:cubicBezTo>
                  <a:cubicBezTo>
                    <a:pt x="9" y="113"/>
                    <a:pt x="9" y="113"/>
                    <a:pt x="9" y="113"/>
                  </a:cubicBezTo>
                  <a:cubicBezTo>
                    <a:pt x="9" y="111"/>
                    <a:pt x="10" y="109"/>
                    <a:pt x="12" y="107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2"/>
                    <a:pt x="14" y="114"/>
                    <a:pt x="17" y="114"/>
                  </a:cubicBezTo>
                  <a:cubicBezTo>
                    <a:pt x="19" y="114"/>
                    <a:pt x="21" y="112"/>
                    <a:pt x="21" y="110"/>
                  </a:cubicBezTo>
                  <a:cubicBezTo>
                    <a:pt x="21" y="107"/>
                    <a:pt x="21" y="107"/>
                    <a:pt x="21" y="107"/>
                  </a:cubicBezTo>
                  <a:cubicBezTo>
                    <a:pt x="23" y="109"/>
                    <a:pt x="24" y="111"/>
                    <a:pt x="24" y="113"/>
                  </a:cubicBezTo>
                  <a:close/>
                  <a:moveTo>
                    <a:pt x="24" y="53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4" y="71"/>
                    <a:pt x="23" y="73"/>
                    <a:pt x="21" y="74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68"/>
                    <a:pt x="19" y="66"/>
                    <a:pt x="17" y="66"/>
                  </a:cubicBezTo>
                  <a:cubicBezTo>
                    <a:pt x="14" y="66"/>
                    <a:pt x="12" y="68"/>
                    <a:pt x="12" y="71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3"/>
                    <a:pt x="9" y="71"/>
                    <a:pt x="9" y="68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1"/>
                    <a:pt x="10" y="49"/>
                    <a:pt x="12" y="48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3"/>
                    <a:pt x="14" y="55"/>
                    <a:pt x="17" y="55"/>
                  </a:cubicBezTo>
                  <a:cubicBezTo>
                    <a:pt x="19" y="55"/>
                    <a:pt x="21" y="53"/>
                    <a:pt x="21" y="50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3" y="49"/>
                    <a:pt x="24" y="51"/>
                    <a:pt x="24" y="53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7">
              <a:extLst>
                <a:ext uri="{FF2B5EF4-FFF2-40B4-BE49-F238E27FC236}">
                  <a16:creationId xmlns:a16="http://schemas.microsoft.com/office/drawing/2014/main" id="{EDD62F97-CE4F-4199-8078-1D223B2B3AF6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13888" y="167482"/>
              <a:ext cx="96837" cy="430213"/>
            </a:xfrm>
            <a:custGeom>
              <a:avLst/>
              <a:gdLst>
                <a:gd name="T0" fmla="*/ 33 w 33"/>
                <a:gd name="T1" fmla="*/ 9 h 145"/>
                <a:gd name="T2" fmla="*/ 33 w 33"/>
                <a:gd name="T3" fmla="*/ 0 h 145"/>
                <a:gd name="T4" fmla="*/ 24 w 33"/>
                <a:gd name="T5" fmla="*/ 0 h 145"/>
                <a:gd name="T6" fmla="*/ 24 w 33"/>
                <a:gd name="T7" fmla="*/ 9 h 145"/>
                <a:gd name="T8" fmla="*/ 21 w 33"/>
                <a:gd name="T9" fmla="*/ 14 h 145"/>
                <a:gd name="T10" fmla="*/ 21 w 33"/>
                <a:gd name="T11" fmla="*/ 11 h 145"/>
                <a:gd name="T12" fmla="*/ 17 w 33"/>
                <a:gd name="T13" fmla="*/ 6 h 145"/>
                <a:gd name="T14" fmla="*/ 12 w 33"/>
                <a:gd name="T15" fmla="*/ 11 h 145"/>
                <a:gd name="T16" fmla="*/ 12 w 33"/>
                <a:gd name="T17" fmla="*/ 14 h 145"/>
                <a:gd name="T18" fmla="*/ 9 w 33"/>
                <a:gd name="T19" fmla="*/ 9 h 145"/>
                <a:gd name="T20" fmla="*/ 9 w 33"/>
                <a:gd name="T21" fmla="*/ 0 h 145"/>
                <a:gd name="T22" fmla="*/ 0 w 33"/>
                <a:gd name="T23" fmla="*/ 0 h 145"/>
                <a:gd name="T24" fmla="*/ 0 w 33"/>
                <a:gd name="T25" fmla="*/ 9 h 145"/>
                <a:gd name="T26" fmla="*/ 12 w 33"/>
                <a:gd name="T27" fmla="*/ 24 h 145"/>
                <a:gd name="T28" fmla="*/ 12 w 33"/>
                <a:gd name="T29" fmla="*/ 37 h 145"/>
                <a:gd name="T30" fmla="*/ 0 w 33"/>
                <a:gd name="T31" fmla="*/ 53 h 145"/>
                <a:gd name="T32" fmla="*/ 0 w 33"/>
                <a:gd name="T33" fmla="*/ 68 h 145"/>
                <a:gd name="T34" fmla="*/ 12 w 33"/>
                <a:gd name="T35" fmla="*/ 84 h 145"/>
                <a:gd name="T36" fmla="*/ 12 w 33"/>
                <a:gd name="T37" fmla="*/ 97 h 145"/>
                <a:gd name="T38" fmla="*/ 0 w 33"/>
                <a:gd name="T39" fmla="*/ 113 h 145"/>
                <a:gd name="T40" fmla="*/ 0 w 33"/>
                <a:gd name="T41" fmla="*/ 128 h 145"/>
                <a:gd name="T42" fmla="*/ 17 w 33"/>
                <a:gd name="T43" fmla="*/ 145 h 145"/>
                <a:gd name="T44" fmla="*/ 33 w 33"/>
                <a:gd name="T45" fmla="*/ 128 h 145"/>
                <a:gd name="T46" fmla="*/ 33 w 33"/>
                <a:gd name="T47" fmla="*/ 113 h 145"/>
                <a:gd name="T48" fmla="*/ 21 w 33"/>
                <a:gd name="T49" fmla="*/ 97 h 145"/>
                <a:gd name="T50" fmla="*/ 21 w 33"/>
                <a:gd name="T51" fmla="*/ 84 h 145"/>
                <a:gd name="T52" fmla="*/ 33 w 33"/>
                <a:gd name="T53" fmla="*/ 68 h 145"/>
                <a:gd name="T54" fmla="*/ 33 w 33"/>
                <a:gd name="T55" fmla="*/ 53 h 145"/>
                <a:gd name="T56" fmla="*/ 21 w 33"/>
                <a:gd name="T57" fmla="*/ 37 h 145"/>
                <a:gd name="T58" fmla="*/ 21 w 33"/>
                <a:gd name="T59" fmla="*/ 24 h 145"/>
                <a:gd name="T60" fmla="*/ 33 w 33"/>
                <a:gd name="T61" fmla="*/ 9 h 145"/>
                <a:gd name="T62" fmla="*/ 24 w 33"/>
                <a:gd name="T63" fmla="*/ 113 h 145"/>
                <a:gd name="T64" fmla="*/ 24 w 33"/>
                <a:gd name="T65" fmla="*/ 128 h 145"/>
                <a:gd name="T66" fmla="*/ 17 w 33"/>
                <a:gd name="T67" fmla="*/ 135 h 145"/>
                <a:gd name="T68" fmla="*/ 9 w 33"/>
                <a:gd name="T69" fmla="*/ 128 h 145"/>
                <a:gd name="T70" fmla="*/ 9 w 33"/>
                <a:gd name="T71" fmla="*/ 113 h 145"/>
                <a:gd name="T72" fmla="*/ 12 w 33"/>
                <a:gd name="T73" fmla="*/ 107 h 145"/>
                <a:gd name="T74" fmla="*/ 12 w 33"/>
                <a:gd name="T75" fmla="*/ 110 h 145"/>
                <a:gd name="T76" fmla="*/ 17 w 33"/>
                <a:gd name="T77" fmla="*/ 114 h 145"/>
                <a:gd name="T78" fmla="*/ 21 w 33"/>
                <a:gd name="T79" fmla="*/ 110 h 145"/>
                <a:gd name="T80" fmla="*/ 21 w 33"/>
                <a:gd name="T81" fmla="*/ 107 h 145"/>
                <a:gd name="T82" fmla="*/ 24 w 33"/>
                <a:gd name="T83" fmla="*/ 113 h 145"/>
                <a:gd name="T84" fmla="*/ 24 w 33"/>
                <a:gd name="T85" fmla="*/ 53 h 145"/>
                <a:gd name="T86" fmla="*/ 24 w 33"/>
                <a:gd name="T87" fmla="*/ 68 h 145"/>
                <a:gd name="T88" fmla="*/ 21 w 33"/>
                <a:gd name="T89" fmla="*/ 74 h 145"/>
                <a:gd name="T90" fmla="*/ 21 w 33"/>
                <a:gd name="T91" fmla="*/ 71 h 145"/>
                <a:gd name="T92" fmla="*/ 17 w 33"/>
                <a:gd name="T93" fmla="*/ 66 h 145"/>
                <a:gd name="T94" fmla="*/ 12 w 33"/>
                <a:gd name="T95" fmla="*/ 71 h 145"/>
                <a:gd name="T96" fmla="*/ 12 w 33"/>
                <a:gd name="T97" fmla="*/ 74 h 145"/>
                <a:gd name="T98" fmla="*/ 9 w 33"/>
                <a:gd name="T99" fmla="*/ 68 h 145"/>
                <a:gd name="T100" fmla="*/ 9 w 33"/>
                <a:gd name="T101" fmla="*/ 53 h 145"/>
                <a:gd name="T102" fmla="*/ 12 w 33"/>
                <a:gd name="T103" fmla="*/ 48 h 145"/>
                <a:gd name="T104" fmla="*/ 12 w 33"/>
                <a:gd name="T105" fmla="*/ 50 h 145"/>
                <a:gd name="T106" fmla="*/ 17 w 33"/>
                <a:gd name="T107" fmla="*/ 55 h 145"/>
                <a:gd name="T108" fmla="*/ 21 w 33"/>
                <a:gd name="T109" fmla="*/ 50 h 145"/>
                <a:gd name="T110" fmla="*/ 21 w 33"/>
                <a:gd name="T111" fmla="*/ 48 h 145"/>
                <a:gd name="T112" fmla="*/ 24 w 33"/>
                <a:gd name="T113" fmla="*/ 5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" h="145">
                  <a:moveTo>
                    <a:pt x="33" y="9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1"/>
                    <a:pt x="23" y="13"/>
                    <a:pt x="21" y="14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8"/>
                    <a:pt x="19" y="6"/>
                    <a:pt x="17" y="6"/>
                  </a:cubicBezTo>
                  <a:cubicBezTo>
                    <a:pt x="14" y="6"/>
                    <a:pt x="12" y="8"/>
                    <a:pt x="12" y="11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3"/>
                    <a:pt x="9" y="11"/>
                    <a:pt x="9" y="9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5" y="22"/>
                    <a:pt x="12" y="24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5" y="39"/>
                    <a:pt x="0" y="46"/>
                    <a:pt x="0" y="5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6"/>
                    <a:pt x="5" y="82"/>
                    <a:pt x="12" y="84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5" y="99"/>
                    <a:pt x="0" y="105"/>
                    <a:pt x="0" y="113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7"/>
                    <a:pt x="7" y="145"/>
                    <a:pt x="17" y="145"/>
                  </a:cubicBezTo>
                  <a:cubicBezTo>
                    <a:pt x="26" y="145"/>
                    <a:pt x="33" y="137"/>
                    <a:pt x="33" y="128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3" y="105"/>
                    <a:pt x="28" y="99"/>
                    <a:pt x="21" y="97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8" y="82"/>
                    <a:pt x="33" y="76"/>
                    <a:pt x="33" y="68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46"/>
                    <a:pt x="28" y="39"/>
                    <a:pt x="21" y="37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8" y="22"/>
                    <a:pt x="33" y="16"/>
                    <a:pt x="33" y="9"/>
                  </a:cubicBezTo>
                  <a:close/>
                  <a:moveTo>
                    <a:pt x="24" y="113"/>
                  </a:moveTo>
                  <a:cubicBezTo>
                    <a:pt x="24" y="128"/>
                    <a:pt x="24" y="128"/>
                    <a:pt x="24" y="128"/>
                  </a:cubicBezTo>
                  <a:cubicBezTo>
                    <a:pt x="24" y="132"/>
                    <a:pt x="21" y="135"/>
                    <a:pt x="17" y="135"/>
                  </a:cubicBezTo>
                  <a:cubicBezTo>
                    <a:pt x="13" y="135"/>
                    <a:pt x="9" y="132"/>
                    <a:pt x="9" y="128"/>
                  </a:cubicBezTo>
                  <a:cubicBezTo>
                    <a:pt x="9" y="113"/>
                    <a:pt x="9" y="113"/>
                    <a:pt x="9" y="113"/>
                  </a:cubicBezTo>
                  <a:cubicBezTo>
                    <a:pt x="9" y="111"/>
                    <a:pt x="10" y="109"/>
                    <a:pt x="12" y="107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2"/>
                    <a:pt x="14" y="114"/>
                    <a:pt x="17" y="114"/>
                  </a:cubicBezTo>
                  <a:cubicBezTo>
                    <a:pt x="19" y="114"/>
                    <a:pt x="21" y="112"/>
                    <a:pt x="21" y="110"/>
                  </a:cubicBezTo>
                  <a:cubicBezTo>
                    <a:pt x="21" y="107"/>
                    <a:pt x="21" y="107"/>
                    <a:pt x="21" y="107"/>
                  </a:cubicBezTo>
                  <a:cubicBezTo>
                    <a:pt x="23" y="109"/>
                    <a:pt x="24" y="111"/>
                    <a:pt x="24" y="113"/>
                  </a:cubicBezTo>
                  <a:close/>
                  <a:moveTo>
                    <a:pt x="24" y="53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4" y="71"/>
                    <a:pt x="23" y="73"/>
                    <a:pt x="21" y="74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68"/>
                    <a:pt x="19" y="66"/>
                    <a:pt x="17" y="66"/>
                  </a:cubicBezTo>
                  <a:cubicBezTo>
                    <a:pt x="14" y="66"/>
                    <a:pt x="12" y="68"/>
                    <a:pt x="12" y="71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3"/>
                    <a:pt x="9" y="71"/>
                    <a:pt x="9" y="68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1"/>
                    <a:pt x="10" y="49"/>
                    <a:pt x="12" y="48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3"/>
                    <a:pt x="14" y="55"/>
                    <a:pt x="17" y="55"/>
                  </a:cubicBezTo>
                  <a:cubicBezTo>
                    <a:pt x="19" y="55"/>
                    <a:pt x="21" y="53"/>
                    <a:pt x="21" y="50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3" y="49"/>
                    <a:pt x="24" y="51"/>
                    <a:pt x="24" y="53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7">
              <a:extLst>
                <a:ext uri="{FF2B5EF4-FFF2-40B4-BE49-F238E27FC236}">
                  <a16:creationId xmlns:a16="http://schemas.microsoft.com/office/drawing/2014/main" id="{F66DBD8B-E086-4FDA-A817-782E3054F9B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13888" y="-178593"/>
              <a:ext cx="96837" cy="430213"/>
            </a:xfrm>
            <a:custGeom>
              <a:avLst/>
              <a:gdLst>
                <a:gd name="T0" fmla="*/ 33 w 33"/>
                <a:gd name="T1" fmla="*/ 9 h 145"/>
                <a:gd name="T2" fmla="*/ 33 w 33"/>
                <a:gd name="T3" fmla="*/ 0 h 145"/>
                <a:gd name="T4" fmla="*/ 24 w 33"/>
                <a:gd name="T5" fmla="*/ 0 h 145"/>
                <a:gd name="T6" fmla="*/ 24 w 33"/>
                <a:gd name="T7" fmla="*/ 9 h 145"/>
                <a:gd name="T8" fmla="*/ 21 w 33"/>
                <a:gd name="T9" fmla="*/ 14 h 145"/>
                <a:gd name="T10" fmla="*/ 21 w 33"/>
                <a:gd name="T11" fmla="*/ 11 h 145"/>
                <a:gd name="T12" fmla="*/ 17 w 33"/>
                <a:gd name="T13" fmla="*/ 6 h 145"/>
                <a:gd name="T14" fmla="*/ 12 w 33"/>
                <a:gd name="T15" fmla="*/ 11 h 145"/>
                <a:gd name="T16" fmla="*/ 12 w 33"/>
                <a:gd name="T17" fmla="*/ 14 h 145"/>
                <a:gd name="T18" fmla="*/ 9 w 33"/>
                <a:gd name="T19" fmla="*/ 9 h 145"/>
                <a:gd name="T20" fmla="*/ 9 w 33"/>
                <a:gd name="T21" fmla="*/ 0 h 145"/>
                <a:gd name="T22" fmla="*/ 0 w 33"/>
                <a:gd name="T23" fmla="*/ 0 h 145"/>
                <a:gd name="T24" fmla="*/ 0 w 33"/>
                <a:gd name="T25" fmla="*/ 9 h 145"/>
                <a:gd name="T26" fmla="*/ 12 w 33"/>
                <a:gd name="T27" fmla="*/ 24 h 145"/>
                <a:gd name="T28" fmla="*/ 12 w 33"/>
                <a:gd name="T29" fmla="*/ 37 h 145"/>
                <a:gd name="T30" fmla="*/ 0 w 33"/>
                <a:gd name="T31" fmla="*/ 53 h 145"/>
                <a:gd name="T32" fmla="*/ 0 w 33"/>
                <a:gd name="T33" fmla="*/ 68 h 145"/>
                <a:gd name="T34" fmla="*/ 12 w 33"/>
                <a:gd name="T35" fmla="*/ 84 h 145"/>
                <a:gd name="T36" fmla="*/ 12 w 33"/>
                <a:gd name="T37" fmla="*/ 97 h 145"/>
                <a:gd name="T38" fmla="*/ 0 w 33"/>
                <a:gd name="T39" fmla="*/ 113 h 145"/>
                <a:gd name="T40" fmla="*/ 0 w 33"/>
                <a:gd name="T41" fmla="*/ 128 h 145"/>
                <a:gd name="T42" fmla="*/ 17 w 33"/>
                <a:gd name="T43" fmla="*/ 145 h 145"/>
                <a:gd name="T44" fmla="*/ 33 w 33"/>
                <a:gd name="T45" fmla="*/ 128 h 145"/>
                <a:gd name="T46" fmla="*/ 33 w 33"/>
                <a:gd name="T47" fmla="*/ 113 h 145"/>
                <a:gd name="T48" fmla="*/ 21 w 33"/>
                <a:gd name="T49" fmla="*/ 97 h 145"/>
                <a:gd name="T50" fmla="*/ 21 w 33"/>
                <a:gd name="T51" fmla="*/ 84 h 145"/>
                <a:gd name="T52" fmla="*/ 33 w 33"/>
                <a:gd name="T53" fmla="*/ 68 h 145"/>
                <a:gd name="T54" fmla="*/ 33 w 33"/>
                <a:gd name="T55" fmla="*/ 53 h 145"/>
                <a:gd name="T56" fmla="*/ 21 w 33"/>
                <a:gd name="T57" fmla="*/ 37 h 145"/>
                <a:gd name="T58" fmla="*/ 21 w 33"/>
                <a:gd name="T59" fmla="*/ 24 h 145"/>
                <a:gd name="T60" fmla="*/ 33 w 33"/>
                <a:gd name="T61" fmla="*/ 9 h 145"/>
                <a:gd name="T62" fmla="*/ 24 w 33"/>
                <a:gd name="T63" fmla="*/ 113 h 145"/>
                <a:gd name="T64" fmla="*/ 24 w 33"/>
                <a:gd name="T65" fmla="*/ 128 h 145"/>
                <a:gd name="T66" fmla="*/ 17 w 33"/>
                <a:gd name="T67" fmla="*/ 135 h 145"/>
                <a:gd name="T68" fmla="*/ 9 w 33"/>
                <a:gd name="T69" fmla="*/ 128 h 145"/>
                <a:gd name="T70" fmla="*/ 9 w 33"/>
                <a:gd name="T71" fmla="*/ 113 h 145"/>
                <a:gd name="T72" fmla="*/ 12 w 33"/>
                <a:gd name="T73" fmla="*/ 107 h 145"/>
                <a:gd name="T74" fmla="*/ 12 w 33"/>
                <a:gd name="T75" fmla="*/ 110 h 145"/>
                <a:gd name="T76" fmla="*/ 17 w 33"/>
                <a:gd name="T77" fmla="*/ 114 h 145"/>
                <a:gd name="T78" fmla="*/ 21 w 33"/>
                <a:gd name="T79" fmla="*/ 110 h 145"/>
                <a:gd name="T80" fmla="*/ 21 w 33"/>
                <a:gd name="T81" fmla="*/ 107 h 145"/>
                <a:gd name="T82" fmla="*/ 24 w 33"/>
                <a:gd name="T83" fmla="*/ 113 h 145"/>
                <a:gd name="T84" fmla="*/ 24 w 33"/>
                <a:gd name="T85" fmla="*/ 53 h 145"/>
                <a:gd name="T86" fmla="*/ 24 w 33"/>
                <a:gd name="T87" fmla="*/ 68 h 145"/>
                <a:gd name="T88" fmla="*/ 21 w 33"/>
                <a:gd name="T89" fmla="*/ 74 h 145"/>
                <a:gd name="T90" fmla="*/ 21 w 33"/>
                <a:gd name="T91" fmla="*/ 71 h 145"/>
                <a:gd name="T92" fmla="*/ 17 w 33"/>
                <a:gd name="T93" fmla="*/ 66 h 145"/>
                <a:gd name="T94" fmla="*/ 12 w 33"/>
                <a:gd name="T95" fmla="*/ 71 h 145"/>
                <a:gd name="T96" fmla="*/ 12 w 33"/>
                <a:gd name="T97" fmla="*/ 74 h 145"/>
                <a:gd name="T98" fmla="*/ 9 w 33"/>
                <a:gd name="T99" fmla="*/ 68 h 145"/>
                <a:gd name="T100" fmla="*/ 9 w 33"/>
                <a:gd name="T101" fmla="*/ 53 h 145"/>
                <a:gd name="T102" fmla="*/ 12 w 33"/>
                <a:gd name="T103" fmla="*/ 48 h 145"/>
                <a:gd name="T104" fmla="*/ 12 w 33"/>
                <a:gd name="T105" fmla="*/ 50 h 145"/>
                <a:gd name="T106" fmla="*/ 17 w 33"/>
                <a:gd name="T107" fmla="*/ 55 h 145"/>
                <a:gd name="T108" fmla="*/ 21 w 33"/>
                <a:gd name="T109" fmla="*/ 50 h 145"/>
                <a:gd name="T110" fmla="*/ 21 w 33"/>
                <a:gd name="T111" fmla="*/ 48 h 145"/>
                <a:gd name="T112" fmla="*/ 24 w 33"/>
                <a:gd name="T113" fmla="*/ 5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" h="145">
                  <a:moveTo>
                    <a:pt x="33" y="9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1"/>
                    <a:pt x="23" y="13"/>
                    <a:pt x="21" y="14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8"/>
                    <a:pt x="19" y="6"/>
                    <a:pt x="17" y="6"/>
                  </a:cubicBezTo>
                  <a:cubicBezTo>
                    <a:pt x="14" y="6"/>
                    <a:pt x="12" y="8"/>
                    <a:pt x="12" y="11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3"/>
                    <a:pt x="9" y="11"/>
                    <a:pt x="9" y="9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5" y="22"/>
                    <a:pt x="12" y="24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5" y="39"/>
                    <a:pt x="0" y="46"/>
                    <a:pt x="0" y="5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6"/>
                    <a:pt x="5" y="82"/>
                    <a:pt x="12" y="84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5" y="99"/>
                    <a:pt x="0" y="105"/>
                    <a:pt x="0" y="113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7"/>
                    <a:pt x="7" y="145"/>
                    <a:pt x="17" y="145"/>
                  </a:cubicBezTo>
                  <a:cubicBezTo>
                    <a:pt x="26" y="145"/>
                    <a:pt x="33" y="137"/>
                    <a:pt x="33" y="128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3" y="105"/>
                    <a:pt x="28" y="99"/>
                    <a:pt x="21" y="97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8" y="82"/>
                    <a:pt x="33" y="76"/>
                    <a:pt x="33" y="68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46"/>
                    <a:pt x="28" y="39"/>
                    <a:pt x="21" y="37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8" y="22"/>
                    <a:pt x="33" y="16"/>
                    <a:pt x="33" y="9"/>
                  </a:cubicBezTo>
                  <a:close/>
                  <a:moveTo>
                    <a:pt x="24" y="113"/>
                  </a:moveTo>
                  <a:cubicBezTo>
                    <a:pt x="24" y="128"/>
                    <a:pt x="24" y="128"/>
                    <a:pt x="24" y="128"/>
                  </a:cubicBezTo>
                  <a:cubicBezTo>
                    <a:pt x="24" y="132"/>
                    <a:pt x="21" y="135"/>
                    <a:pt x="17" y="135"/>
                  </a:cubicBezTo>
                  <a:cubicBezTo>
                    <a:pt x="13" y="135"/>
                    <a:pt x="9" y="132"/>
                    <a:pt x="9" y="128"/>
                  </a:cubicBezTo>
                  <a:cubicBezTo>
                    <a:pt x="9" y="113"/>
                    <a:pt x="9" y="113"/>
                    <a:pt x="9" y="113"/>
                  </a:cubicBezTo>
                  <a:cubicBezTo>
                    <a:pt x="9" y="111"/>
                    <a:pt x="10" y="109"/>
                    <a:pt x="12" y="107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2"/>
                    <a:pt x="14" y="114"/>
                    <a:pt x="17" y="114"/>
                  </a:cubicBezTo>
                  <a:cubicBezTo>
                    <a:pt x="19" y="114"/>
                    <a:pt x="21" y="112"/>
                    <a:pt x="21" y="110"/>
                  </a:cubicBezTo>
                  <a:cubicBezTo>
                    <a:pt x="21" y="107"/>
                    <a:pt x="21" y="107"/>
                    <a:pt x="21" y="107"/>
                  </a:cubicBezTo>
                  <a:cubicBezTo>
                    <a:pt x="23" y="109"/>
                    <a:pt x="24" y="111"/>
                    <a:pt x="24" y="113"/>
                  </a:cubicBezTo>
                  <a:close/>
                  <a:moveTo>
                    <a:pt x="24" y="53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4" y="71"/>
                    <a:pt x="23" y="73"/>
                    <a:pt x="21" y="74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68"/>
                    <a:pt x="19" y="66"/>
                    <a:pt x="17" y="66"/>
                  </a:cubicBezTo>
                  <a:cubicBezTo>
                    <a:pt x="14" y="66"/>
                    <a:pt x="12" y="68"/>
                    <a:pt x="12" y="71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3"/>
                    <a:pt x="9" y="71"/>
                    <a:pt x="9" y="68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1"/>
                    <a:pt x="10" y="49"/>
                    <a:pt x="12" y="48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3"/>
                    <a:pt x="14" y="55"/>
                    <a:pt x="17" y="55"/>
                  </a:cubicBezTo>
                  <a:cubicBezTo>
                    <a:pt x="19" y="55"/>
                    <a:pt x="21" y="53"/>
                    <a:pt x="21" y="50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3" y="49"/>
                    <a:pt x="24" y="51"/>
                    <a:pt x="24" y="53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5C49908-75D7-4B31-B12B-7F85295C7A61}"/>
                </a:ext>
              </a:extLst>
            </p:cNvPr>
            <p:cNvGrpSpPr/>
            <p:nvPr userDrawn="1"/>
          </p:nvGrpSpPr>
          <p:grpSpPr bwMode="gray">
            <a:xfrm>
              <a:off x="7804151" y="-178593"/>
              <a:ext cx="96837" cy="1485107"/>
              <a:chOff x="7799388" y="-178593"/>
              <a:chExt cx="96837" cy="1485107"/>
            </a:xfrm>
            <a:solidFill>
              <a:srgbClr val="C2C2C2"/>
            </a:solidFill>
          </p:grpSpPr>
          <p:sp>
            <p:nvSpPr>
              <p:cNvPr id="257" name="Freeform 7">
                <a:extLst>
                  <a:ext uri="{FF2B5EF4-FFF2-40B4-BE49-F238E27FC236}">
                    <a16:creationId xmlns:a16="http://schemas.microsoft.com/office/drawing/2014/main" id="{79BD8A0D-2047-4535-B778-F9EBA468EA70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7799388" y="876301"/>
                <a:ext cx="96837" cy="430213"/>
              </a:xfrm>
              <a:custGeom>
                <a:avLst/>
                <a:gdLst>
                  <a:gd name="T0" fmla="*/ 33 w 33"/>
                  <a:gd name="T1" fmla="*/ 9 h 145"/>
                  <a:gd name="T2" fmla="*/ 33 w 33"/>
                  <a:gd name="T3" fmla="*/ 0 h 145"/>
                  <a:gd name="T4" fmla="*/ 24 w 33"/>
                  <a:gd name="T5" fmla="*/ 0 h 145"/>
                  <a:gd name="T6" fmla="*/ 24 w 33"/>
                  <a:gd name="T7" fmla="*/ 9 h 145"/>
                  <a:gd name="T8" fmla="*/ 21 w 33"/>
                  <a:gd name="T9" fmla="*/ 14 h 145"/>
                  <a:gd name="T10" fmla="*/ 21 w 33"/>
                  <a:gd name="T11" fmla="*/ 11 h 145"/>
                  <a:gd name="T12" fmla="*/ 17 w 33"/>
                  <a:gd name="T13" fmla="*/ 6 h 145"/>
                  <a:gd name="T14" fmla="*/ 12 w 33"/>
                  <a:gd name="T15" fmla="*/ 11 h 145"/>
                  <a:gd name="T16" fmla="*/ 12 w 33"/>
                  <a:gd name="T17" fmla="*/ 14 h 145"/>
                  <a:gd name="T18" fmla="*/ 9 w 33"/>
                  <a:gd name="T19" fmla="*/ 9 h 145"/>
                  <a:gd name="T20" fmla="*/ 9 w 33"/>
                  <a:gd name="T21" fmla="*/ 0 h 145"/>
                  <a:gd name="T22" fmla="*/ 0 w 33"/>
                  <a:gd name="T23" fmla="*/ 0 h 145"/>
                  <a:gd name="T24" fmla="*/ 0 w 33"/>
                  <a:gd name="T25" fmla="*/ 9 h 145"/>
                  <a:gd name="T26" fmla="*/ 12 w 33"/>
                  <a:gd name="T27" fmla="*/ 24 h 145"/>
                  <a:gd name="T28" fmla="*/ 12 w 33"/>
                  <a:gd name="T29" fmla="*/ 37 h 145"/>
                  <a:gd name="T30" fmla="*/ 0 w 33"/>
                  <a:gd name="T31" fmla="*/ 53 h 145"/>
                  <a:gd name="T32" fmla="*/ 0 w 33"/>
                  <a:gd name="T33" fmla="*/ 68 h 145"/>
                  <a:gd name="T34" fmla="*/ 12 w 33"/>
                  <a:gd name="T35" fmla="*/ 84 h 145"/>
                  <a:gd name="T36" fmla="*/ 12 w 33"/>
                  <a:gd name="T37" fmla="*/ 97 h 145"/>
                  <a:gd name="T38" fmla="*/ 0 w 33"/>
                  <a:gd name="T39" fmla="*/ 113 h 145"/>
                  <a:gd name="T40" fmla="*/ 0 w 33"/>
                  <a:gd name="T41" fmla="*/ 128 h 145"/>
                  <a:gd name="T42" fmla="*/ 17 w 33"/>
                  <a:gd name="T43" fmla="*/ 145 h 145"/>
                  <a:gd name="T44" fmla="*/ 33 w 33"/>
                  <a:gd name="T45" fmla="*/ 128 h 145"/>
                  <a:gd name="T46" fmla="*/ 33 w 33"/>
                  <a:gd name="T47" fmla="*/ 113 h 145"/>
                  <a:gd name="T48" fmla="*/ 21 w 33"/>
                  <a:gd name="T49" fmla="*/ 97 h 145"/>
                  <a:gd name="T50" fmla="*/ 21 w 33"/>
                  <a:gd name="T51" fmla="*/ 84 h 145"/>
                  <a:gd name="T52" fmla="*/ 33 w 33"/>
                  <a:gd name="T53" fmla="*/ 68 h 145"/>
                  <a:gd name="T54" fmla="*/ 33 w 33"/>
                  <a:gd name="T55" fmla="*/ 53 h 145"/>
                  <a:gd name="T56" fmla="*/ 21 w 33"/>
                  <a:gd name="T57" fmla="*/ 37 h 145"/>
                  <a:gd name="T58" fmla="*/ 21 w 33"/>
                  <a:gd name="T59" fmla="*/ 24 h 145"/>
                  <a:gd name="T60" fmla="*/ 33 w 33"/>
                  <a:gd name="T61" fmla="*/ 9 h 145"/>
                  <a:gd name="T62" fmla="*/ 24 w 33"/>
                  <a:gd name="T63" fmla="*/ 113 h 145"/>
                  <a:gd name="T64" fmla="*/ 24 w 33"/>
                  <a:gd name="T65" fmla="*/ 128 h 145"/>
                  <a:gd name="T66" fmla="*/ 17 w 33"/>
                  <a:gd name="T67" fmla="*/ 135 h 145"/>
                  <a:gd name="T68" fmla="*/ 9 w 33"/>
                  <a:gd name="T69" fmla="*/ 128 h 145"/>
                  <a:gd name="T70" fmla="*/ 9 w 33"/>
                  <a:gd name="T71" fmla="*/ 113 h 145"/>
                  <a:gd name="T72" fmla="*/ 12 w 33"/>
                  <a:gd name="T73" fmla="*/ 107 h 145"/>
                  <a:gd name="T74" fmla="*/ 12 w 33"/>
                  <a:gd name="T75" fmla="*/ 110 h 145"/>
                  <a:gd name="T76" fmla="*/ 17 w 33"/>
                  <a:gd name="T77" fmla="*/ 114 h 145"/>
                  <a:gd name="T78" fmla="*/ 21 w 33"/>
                  <a:gd name="T79" fmla="*/ 110 h 145"/>
                  <a:gd name="T80" fmla="*/ 21 w 33"/>
                  <a:gd name="T81" fmla="*/ 107 h 145"/>
                  <a:gd name="T82" fmla="*/ 24 w 33"/>
                  <a:gd name="T83" fmla="*/ 113 h 145"/>
                  <a:gd name="T84" fmla="*/ 24 w 33"/>
                  <a:gd name="T85" fmla="*/ 53 h 145"/>
                  <a:gd name="T86" fmla="*/ 24 w 33"/>
                  <a:gd name="T87" fmla="*/ 68 h 145"/>
                  <a:gd name="T88" fmla="*/ 21 w 33"/>
                  <a:gd name="T89" fmla="*/ 74 h 145"/>
                  <a:gd name="T90" fmla="*/ 21 w 33"/>
                  <a:gd name="T91" fmla="*/ 71 h 145"/>
                  <a:gd name="T92" fmla="*/ 17 w 33"/>
                  <a:gd name="T93" fmla="*/ 66 h 145"/>
                  <a:gd name="T94" fmla="*/ 12 w 33"/>
                  <a:gd name="T95" fmla="*/ 71 h 145"/>
                  <a:gd name="T96" fmla="*/ 12 w 33"/>
                  <a:gd name="T97" fmla="*/ 74 h 145"/>
                  <a:gd name="T98" fmla="*/ 9 w 33"/>
                  <a:gd name="T99" fmla="*/ 68 h 145"/>
                  <a:gd name="T100" fmla="*/ 9 w 33"/>
                  <a:gd name="T101" fmla="*/ 53 h 145"/>
                  <a:gd name="T102" fmla="*/ 12 w 33"/>
                  <a:gd name="T103" fmla="*/ 48 h 145"/>
                  <a:gd name="T104" fmla="*/ 12 w 33"/>
                  <a:gd name="T105" fmla="*/ 50 h 145"/>
                  <a:gd name="T106" fmla="*/ 17 w 33"/>
                  <a:gd name="T107" fmla="*/ 55 h 145"/>
                  <a:gd name="T108" fmla="*/ 21 w 33"/>
                  <a:gd name="T109" fmla="*/ 50 h 145"/>
                  <a:gd name="T110" fmla="*/ 21 w 33"/>
                  <a:gd name="T111" fmla="*/ 48 h 145"/>
                  <a:gd name="T112" fmla="*/ 24 w 33"/>
                  <a:gd name="T113" fmla="*/ 5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" h="145">
                    <a:moveTo>
                      <a:pt x="33" y="9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4" y="11"/>
                      <a:pt x="23" y="13"/>
                      <a:pt x="21" y="14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8"/>
                      <a:pt x="19" y="6"/>
                      <a:pt x="17" y="6"/>
                    </a:cubicBezTo>
                    <a:cubicBezTo>
                      <a:pt x="14" y="6"/>
                      <a:pt x="12" y="8"/>
                      <a:pt x="12" y="11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0" y="13"/>
                      <a:pt x="9" y="11"/>
                      <a:pt x="9" y="9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6"/>
                      <a:pt x="5" y="22"/>
                      <a:pt x="12" y="24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5" y="39"/>
                      <a:pt x="0" y="46"/>
                      <a:pt x="0" y="53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6"/>
                      <a:pt x="5" y="82"/>
                      <a:pt x="12" y="84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5" y="99"/>
                      <a:pt x="0" y="105"/>
                      <a:pt x="0" y="113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7"/>
                      <a:pt x="7" y="145"/>
                      <a:pt x="17" y="145"/>
                    </a:cubicBezTo>
                    <a:cubicBezTo>
                      <a:pt x="26" y="145"/>
                      <a:pt x="33" y="137"/>
                      <a:pt x="33" y="128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3" y="105"/>
                      <a:pt x="28" y="99"/>
                      <a:pt x="21" y="97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8" y="82"/>
                      <a:pt x="33" y="76"/>
                      <a:pt x="33" y="68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46"/>
                      <a:pt x="28" y="39"/>
                      <a:pt x="21" y="37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8" y="22"/>
                      <a:pt x="33" y="16"/>
                      <a:pt x="33" y="9"/>
                    </a:cubicBezTo>
                    <a:close/>
                    <a:moveTo>
                      <a:pt x="24" y="113"/>
                    </a:moveTo>
                    <a:cubicBezTo>
                      <a:pt x="24" y="128"/>
                      <a:pt x="24" y="128"/>
                      <a:pt x="24" y="128"/>
                    </a:cubicBezTo>
                    <a:cubicBezTo>
                      <a:pt x="24" y="132"/>
                      <a:pt x="21" y="135"/>
                      <a:pt x="17" y="135"/>
                    </a:cubicBezTo>
                    <a:cubicBezTo>
                      <a:pt x="13" y="135"/>
                      <a:pt x="9" y="132"/>
                      <a:pt x="9" y="128"/>
                    </a:cubicBezTo>
                    <a:cubicBezTo>
                      <a:pt x="9" y="113"/>
                      <a:pt x="9" y="113"/>
                      <a:pt x="9" y="113"/>
                    </a:cubicBezTo>
                    <a:cubicBezTo>
                      <a:pt x="9" y="111"/>
                      <a:pt x="10" y="109"/>
                      <a:pt x="12" y="107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2" y="112"/>
                      <a:pt x="14" y="114"/>
                      <a:pt x="17" y="114"/>
                    </a:cubicBezTo>
                    <a:cubicBezTo>
                      <a:pt x="19" y="114"/>
                      <a:pt x="21" y="112"/>
                      <a:pt x="21" y="110"/>
                    </a:cubicBezTo>
                    <a:cubicBezTo>
                      <a:pt x="21" y="107"/>
                      <a:pt x="21" y="107"/>
                      <a:pt x="21" y="107"/>
                    </a:cubicBezTo>
                    <a:cubicBezTo>
                      <a:pt x="23" y="109"/>
                      <a:pt x="24" y="111"/>
                      <a:pt x="24" y="113"/>
                    </a:cubicBezTo>
                    <a:close/>
                    <a:moveTo>
                      <a:pt x="24" y="53"/>
                    </a:moveTo>
                    <a:cubicBezTo>
                      <a:pt x="24" y="68"/>
                      <a:pt x="24" y="68"/>
                      <a:pt x="24" y="68"/>
                    </a:cubicBezTo>
                    <a:cubicBezTo>
                      <a:pt x="24" y="71"/>
                      <a:pt x="23" y="73"/>
                      <a:pt x="21" y="74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21" y="68"/>
                      <a:pt x="19" y="66"/>
                      <a:pt x="17" y="66"/>
                    </a:cubicBezTo>
                    <a:cubicBezTo>
                      <a:pt x="14" y="66"/>
                      <a:pt x="12" y="68"/>
                      <a:pt x="12" y="71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0" y="73"/>
                      <a:pt x="9" y="71"/>
                      <a:pt x="9" y="68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9" y="51"/>
                      <a:pt x="10" y="49"/>
                      <a:pt x="12" y="4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3"/>
                      <a:pt x="14" y="55"/>
                      <a:pt x="17" y="55"/>
                    </a:cubicBezTo>
                    <a:cubicBezTo>
                      <a:pt x="19" y="55"/>
                      <a:pt x="21" y="53"/>
                      <a:pt x="21" y="50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3" y="49"/>
                      <a:pt x="24" y="51"/>
                      <a:pt x="24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7">
                <a:extLst>
                  <a:ext uri="{FF2B5EF4-FFF2-40B4-BE49-F238E27FC236}">
                    <a16:creationId xmlns:a16="http://schemas.microsoft.com/office/drawing/2014/main" id="{553E6031-F2A2-4DCE-B46A-15DCDAD905E0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7799388" y="516732"/>
                <a:ext cx="96837" cy="430213"/>
              </a:xfrm>
              <a:custGeom>
                <a:avLst/>
                <a:gdLst>
                  <a:gd name="T0" fmla="*/ 33 w 33"/>
                  <a:gd name="T1" fmla="*/ 9 h 145"/>
                  <a:gd name="T2" fmla="*/ 33 w 33"/>
                  <a:gd name="T3" fmla="*/ 0 h 145"/>
                  <a:gd name="T4" fmla="*/ 24 w 33"/>
                  <a:gd name="T5" fmla="*/ 0 h 145"/>
                  <a:gd name="T6" fmla="*/ 24 w 33"/>
                  <a:gd name="T7" fmla="*/ 9 h 145"/>
                  <a:gd name="T8" fmla="*/ 21 w 33"/>
                  <a:gd name="T9" fmla="*/ 14 h 145"/>
                  <a:gd name="T10" fmla="*/ 21 w 33"/>
                  <a:gd name="T11" fmla="*/ 11 h 145"/>
                  <a:gd name="T12" fmla="*/ 17 w 33"/>
                  <a:gd name="T13" fmla="*/ 6 h 145"/>
                  <a:gd name="T14" fmla="*/ 12 w 33"/>
                  <a:gd name="T15" fmla="*/ 11 h 145"/>
                  <a:gd name="T16" fmla="*/ 12 w 33"/>
                  <a:gd name="T17" fmla="*/ 14 h 145"/>
                  <a:gd name="T18" fmla="*/ 9 w 33"/>
                  <a:gd name="T19" fmla="*/ 9 h 145"/>
                  <a:gd name="T20" fmla="*/ 9 w 33"/>
                  <a:gd name="T21" fmla="*/ 0 h 145"/>
                  <a:gd name="T22" fmla="*/ 0 w 33"/>
                  <a:gd name="T23" fmla="*/ 0 h 145"/>
                  <a:gd name="T24" fmla="*/ 0 w 33"/>
                  <a:gd name="T25" fmla="*/ 9 h 145"/>
                  <a:gd name="T26" fmla="*/ 12 w 33"/>
                  <a:gd name="T27" fmla="*/ 24 h 145"/>
                  <a:gd name="T28" fmla="*/ 12 w 33"/>
                  <a:gd name="T29" fmla="*/ 37 h 145"/>
                  <a:gd name="T30" fmla="*/ 0 w 33"/>
                  <a:gd name="T31" fmla="*/ 53 h 145"/>
                  <a:gd name="T32" fmla="*/ 0 w 33"/>
                  <a:gd name="T33" fmla="*/ 68 h 145"/>
                  <a:gd name="T34" fmla="*/ 12 w 33"/>
                  <a:gd name="T35" fmla="*/ 84 h 145"/>
                  <a:gd name="T36" fmla="*/ 12 w 33"/>
                  <a:gd name="T37" fmla="*/ 97 h 145"/>
                  <a:gd name="T38" fmla="*/ 0 w 33"/>
                  <a:gd name="T39" fmla="*/ 113 h 145"/>
                  <a:gd name="T40" fmla="*/ 0 w 33"/>
                  <a:gd name="T41" fmla="*/ 128 h 145"/>
                  <a:gd name="T42" fmla="*/ 17 w 33"/>
                  <a:gd name="T43" fmla="*/ 145 h 145"/>
                  <a:gd name="T44" fmla="*/ 33 w 33"/>
                  <a:gd name="T45" fmla="*/ 128 h 145"/>
                  <a:gd name="T46" fmla="*/ 33 w 33"/>
                  <a:gd name="T47" fmla="*/ 113 h 145"/>
                  <a:gd name="T48" fmla="*/ 21 w 33"/>
                  <a:gd name="T49" fmla="*/ 97 h 145"/>
                  <a:gd name="T50" fmla="*/ 21 w 33"/>
                  <a:gd name="T51" fmla="*/ 84 h 145"/>
                  <a:gd name="T52" fmla="*/ 33 w 33"/>
                  <a:gd name="T53" fmla="*/ 68 h 145"/>
                  <a:gd name="T54" fmla="*/ 33 w 33"/>
                  <a:gd name="T55" fmla="*/ 53 h 145"/>
                  <a:gd name="T56" fmla="*/ 21 w 33"/>
                  <a:gd name="T57" fmla="*/ 37 h 145"/>
                  <a:gd name="T58" fmla="*/ 21 w 33"/>
                  <a:gd name="T59" fmla="*/ 24 h 145"/>
                  <a:gd name="T60" fmla="*/ 33 w 33"/>
                  <a:gd name="T61" fmla="*/ 9 h 145"/>
                  <a:gd name="T62" fmla="*/ 24 w 33"/>
                  <a:gd name="T63" fmla="*/ 113 h 145"/>
                  <a:gd name="T64" fmla="*/ 24 w 33"/>
                  <a:gd name="T65" fmla="*/ 128 h 145"/>
                  <a:gd name="T66" fmla="*/ 17 w 33"/>
                  <a:gd name="T67" fmla="*/ 135 h 145"/>
                  <a:gd name="T68" fmla="*/ 9 w 33"/>
                  <a:gd name="T69" fmla="*/ 128 h 145"/>
                  <a:gd name="T70" fmla="*/ 9 w 33"/>
                  <a:gd name="T71" fmla="*/ 113 h 145"/>
                  <a:gd name="T72" fmla="*/ 12 w 33"/>
                  <a:gd name="T73" fmla="*/ 107 h 145"/>
                  <a:gd name="T74" fmla="*/ 12 w 33"/>
                  <a:gd name="T75" fmla="*/ 110 h 145"/>
                  <a:gd name="T76" fmla="*/ 17 w 33"/>
                  <a:gd name="T77" fmla="*/ 114 h 145"/>
                  <a:gd name="T78" fmla="*/ 21 w 33"/>
                  <a:gd name="T79" fmla="*/ 110 h 145"/>
                  <a:gd name="T80" fmla="*/ 21 w 33"/>
                  <a:gd name="T81" fmla="*/ 107 h 145"/>
                  <a:gd name="T82" fmla="*/ 24 w 33"/>
                  <a:gd name="T83" fmla="*/ 113 h 145"/>
                  <a:gd name="T84" fmla="*/ 24 w 33"/>
                  <a:gd name="T85" fmla="*/ 53 h 145"/>
                  <a:gd name="T86" fmla="*/ 24 w 33"/>
                  <a:gd name="T87" fmla="*/ 68 h 145"/>
                  <a:gd name="T88" fmla="*/ 21 w 33"/>
                  <a:gd name="T89" fmla="*/ 74 h 145"/>
                  <a:gd name="T90" fmla="*/ 21 w 33"/>
                  <a:gd name="T91" fmla="*/ 71 h 145"/>
                  <a:gd name="T92" fmla="*/ 17 w 33"/>
                  <a:gd name="T93" fmla="*/ 66 h 145"/>
                  <a:gd name="T94" fmla="*/ 12 w 33"/>
                  <a:gd name="T95" fmla="*/ 71 h 145"/>
                  <a:gd name="T96" fmla="*/ 12 w 33"/>
                  <a:gd name="T97" fmla="*/ 74 h 145"/>
                  <a:gd name="T98" fmla="*/ 9 w 33"/>
                  <a:gd name="T99" fmla="*/ 68 h 145"/>
                  <a:gd name="T100" fmla="*/ 9 w 33"/>
                  <a:gd name="T101" fmla="*/ 53 h 145"/>
                  <a:gd name="T102" fmla="*/ 12 w 33"/>
                  <a:gd name="T103" fmla="*/ 48 h 145"/>
                  <a:gd name="T104" fmla="*/ 12 w 33"/>
                  <a:gd name="T105" fmla="*/ 50 h 145"/>
                  <a:gd name="T106" fmla="*/ 17 w 33"/>
                  <a:gd name="T107" fmla="*/ 55 h 145"/>
                  <a:gd name="T108" fmla="*/ 21 w 33"/>
                  <a:gd name="T109" fmla="*/ 50 h 145"/>
                  <a:gd name="T110" fmla="*/ 21 w 33"/>
                  <a:gd name="T111" fmla="*/ 48 h 145"/>
                  <a:gd name="T112" fmla="*/ 24 w 33"/>
                  <a:gd name="T113" fmla="*/ 5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" h="145">
                    <a:moveTo>
                      <a:pt x="33" y="9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4" y="11"/>
                      <a:pt x="23" y="13"/>
                      <a:pt x="21" y="14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8"/>
                      <a:pt x="19" y="6"/>
                      <a:pt x="17" y="6"/>
                    </a:cubicBezTo>
                    <a:cubicBezTo>
                      <a:pt x="14" y="6"/>
                      <a:pt x="12" y="8"/>
                      <a:pt x="12" y="11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0" y="13"/>
                      <a:pt x="9" y="11"/>
                      <a:pt x="9" y="9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6"/>
                      <a:pt x="5" y="22"/>
                      <a:pt x="12" y="24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5" y="39"/>
                      <a:pt x="0" y="46"/>
                      <a:pt x="0" y="53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6"/>
                      <a:pt x="5" y="82"/>
                      <a:pt x="12" y="84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5" y="99"/>
                      <a:pt x="0" y="105"/>
                      <a:pt x="0" y="113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7"/>
                      <a:pt x="7" y="145"/>
                      <a:pt x="17" y="145"/>
                    </a:cubicBezTo>
                    <a:cubicBezTo>
                      <a:pt x="26" y="145"/>
                      <a:pt x="33" y="137"/>
                      <a:pt x="33" y="128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3" y="105"/>
                      <a:pt x="28" y="99"/>
                      <a:pt x="21" y="97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8" y="82"/>
                      <a:pt x="33" y="76"/>
                      <a:pt x="33" y="68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46"/>
                      <a:pt x="28" y="39"/>
                      <a:pt x="21" y="37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8" y="22"/>
                      <a:pt x="33" y="16"/>
                      <a:pt x="33" y="9"/>
                    </a:cubicBezTo>
                    <a:close/>
                    <a:moveTo>
                      <a:pt x="24" y="113"/>
                    </a:moveTo>
                    <a:cubicBezTo>
                      <a:pt x="24" y="128"/>
                      <a:pt x="24" y="128"/>
                      <a:pt x="24" y="128"/>
                    </a:cubicBezTo>
                    <a:cubicBezTo>
                      <a:pt x="24" y="132"/>
                      <a:pt x="21" y="135"/>
                      <a:pt x="17" y="135"/>
                    </a:cubicBezTo>
                    <a:cubicBezTo>
                      <a:pt x="13" y="135"/>
                      <a:pt x="9" y="132"/>
                      <a:pt x="9" y="128"/>
                    </a:cubicBezTo>
                    <a:cubicBezTo>
                      <a:pt x="9" y="113"/>
                      <a:pt x="9" y="113"/>
                      <a:pt x="9" y="113"/>
                    </a:cubicBezTo>
                    <a:cubicBezTo>
                      <a:pt x="9" y="111"/>
                      <a:pt x="10" y="109"/>
                      <a:pt x="12" y="107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2" y="112"/>
                      <a:pt x="14" y="114"/>
                      <a:pt x="17" y="114"/>
                    </a:cubicBezTo>
                    <a:cubicBezTo>
                      <a:pt x="19" y="114"/>
                      <a:pt x="21" y="112"/>
                      <a:pt x="21" y="110"/>
                    </a:cubicBezTo>
                    <a:cubicBezTo>
                      <a:pt x="21" y="107"/>
                      <a:pt x="21" y="107"/>
                      <a:pt x="21" y="107"/>
                    </a:cubicBezTo>
                    <a:cubicBezTo>
                      <a:pt x="23" y="109"/>
                      <a:pt x="24" y="111"/>
                      <a:pt x="24" y="113"/>
                    </a:cubicBezTo>
                    <a:close/>
                    <a:moveTo>
                      <a:pt x="24" y="53"/>
                    </a:moveTo>
                    <a:cubicBezTo>
                      <a:pt x="24" y="68"/>
                      <a:pt x="24" y="68"/>
                      <a:pt x="24" y="68"/>
                    </a:cubicBezTo>
                    <a:cubicBezTo>
                      <a:pt x="24" y="71"/>
                      <a:pt x="23" y="73"/>
                      <a:pt x="21" y="74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21" y="68"/>
                      <a:pt x="19" y="66"/>
                      <a:pt x="17" y="66"/>
                    </a:cubicBezTo>
                    <a:cubicBezTo>
                      <a:pt x="14" y="66"/>
                      <a:pt x="12" y="68"/>
                      <a:pt x="12" y="71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0" y="73"/>
                      <a:pt x="9" y="71"/>
                      <a:pt x="9" y="68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9" y="51"/>
                      <a:pt x="10" y="49"/>
                      <a:pt x="12" y="4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3"/>
                      <a:pt x="14" y="55"/>
                      <a:pt x="17" y="55"/>
                    </a:cubicBezTo>
                    <a:cubicBezTo>
                      <a:pt x="19" y="55"/>
                      <a:pt x="21" y="53"/>
                      <a:pt x="21" y="50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3" y="49"/>
                      <a:pt x="24" y="51"/>
                      <a:pt x="24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7">
                <a:extLst>
                  <a:ext uri="{FF2B5EF4-FFF2-40B4-BE49-F238E27FC236}">
                    <a16:creationId xmlns:a16="http://schemas.microsoft.com/office/drawing/2014/main" id="{040118A1-DF18-444C-BF73-D02DCB0C74A9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7799388" y="167482"/>
                <a:ext cx="96837" cy="430213"/>
              </a:xfrm>
              <a:custGeom>
                <a:avLst/>
                <a:gdLst>
                  <a:gd name="T0" fmla="*/ 33 w 33"/>
                  <a:gd name="T1" fmla="*/ 9 h 145"/>
                  <a:gd name="T2" fmla="*/ 33 w 33"/>
                  <a:gd name="T3" fmla="*/ 0 h 145"/>
                  <a:gd name="T4" fmla="*/ 24 w 33"/>
                  <a:gd name="T5" fmla="*/ 0 h 145"/>
                  <a:gd name="T6" fmla="*/ 24 w 33"/>
                  <a:gd name="T7" fmla="*/ 9 h 145"/>
                  <a:gd name="T8" fmla="*/ 21 w 33"/>
                  <a:gd name="T9" fmla="*/ 14 h 145"/>
                  <a:gd name="T10" fmla="*/ 21 w 33"/>
                  <a:gd name="T11" fmla="*/ 11 h 145"/>
                  <a:gd name="T12" fmla="*/ 17 w 33"/>
                  <a:gd name="T13" fmla="*/ 6 h 145"/>
                  <a:gd name="T14" fmla="*/ 12 w 33"/>
                  <a:gd name="T15" fmla="*/ 11 h 145"/>
                  <a:gd name="T16" fmla="*/ 12 w 33"/>
                  <a:gd name="T17" fmla="*/ 14 h 145"/>
                  <a:gd name="T18" fmla="*/ 9 w 33"/>
                  <a:gd name="T19" fmla="*/ 9 h 145"/>
                  <a:gd name="T20" fmla="*/ 9 w 33"/>
                  <a:gd name="T21" fmla="*/ 0 h 145"/>
                  <a:gd name="T22" fmla="*/ 0 w 33"/>
                  <a:gd name="T23" fmla="*/ 0 h 145"/>
                  <a:gd name="T24" fmla="*/ 0 w 33"/>
                  <a:gd name="T25" fmla="*/ 9 h 145"/>
                  <a:gd name="T26" fmla="*/ 12 w 33"/>
                  <a:gd name="T27" fmla="*/ 24 h 145"/>
                  <a:gd name="T28" fmla="*/ 12 w 33"/>
                  <a:gd name="T29" fmla="*/ 37 h 145"/>
                  <a:gd name="T30" fmla="*/ 0 w 33"/>
                  <a:gd name="T31" fmla="*/ 53 h 145"/>
                  <a:gd name="T32" fmla="*/ 0 w 33"/>
                  <a:gd name="T33" fmla="*/ 68 h 145"/>
                  <a:gd name="T34" fmla="*/ 12 w 33"/>
                  <a:gd name="T35" fmla="*/ 84 h 145"/>
                  <a:gd name="T36" fmla="*/ 12 w 33"/>
                  <a:gd name="T37" fmla="*/ 97 h 145"/>
                  <a:gd name="T38" fmla="*/ 0 w 33"/>
                  <a:gd name="T39" fmla="*/ 113 h 145"/>
                  <a:gd name="T40" fmla="*/ 0 w 33"/>
                  <a:gd name="T41" fmla="*/ 128 h 145"/>
                  <a:gd name="T42" fmla="*/ 17 w 33"/>
                  <a:gd name="T43" fmla="*/ 145 h 145"/>
                  <a:gd name="T44" fmla="*/ 33 w 33"/>
                  <a:gd name="T45" fmla="*/ 128 h 145"/>
                  <a:gd name="T46" fmla="*/ 33 w 33"/>
                  <a:gd name="T47" fmla="*/ 113 h 145"/>
                  <a:gd name="T48" fmla="*/ 21 w 33"/>
                  <a:gd name="T49" fmla="*/ 97 h 145"/>
                  <a:gd name="T50" fmla="*/ 21 w 33"/>
                  <a:gd name="T51" fmla="*/ 84 h 145"/>
                  <a:gd name="T52" fmla="*/ 33 w 33"/>
                  <a:gd name="T53" fmla="*/ 68 h 145"/>
                  <a:gd name="T54" fmla="*/ 33 w 33"/>
                  <a:gd name="T55" fmla="*/ 53 h 145"/>
                  <a:gd name="T56" fmla="*/ 21 w 33"/>
                  <a:gd name="T57" fmla="*/ 37 h 145"/>
                  <a:gd name="T58" fmla="*/ 21 w 33"/>
                  <a:gd name="T59" fmla="*/ 24 h 145"/>
                  <a:gd name="T60" fmla="*/ 33 w 33"/>
                  <a:gd name="T61" fmla="*/ 9 h 145"/>
                  <a:gd name="T62" fmla="*/ 24 w 33"/>
                  <a:gd name="T63" fmla="*/ 113 h 145"/>
                  <a:gd name="T64" fmla="*/ 24 w 33"/>
                  <a:gd name="T65" fmla="*/ 128 h 145"/>
                  <a:gd name="T66" fmla="*/ 17 w 33"/>
                  <a:gd name="T67" fmla="*/ 135 h 145"/>
                  <a:gd name="T68" fmla="*/ 9 w 33"/>
                  <a:gd name="T69" fmla="*/ 128 h 145"/>
                  <a:gd name="T70" fmla="*/ 9 w 33"/>
                  <a:gd name="T71" fmla="*/ 113 h 145"/>
                  <a:gd name="T72" fmla="*/ 12 w 33"/>
                  <a:gd name="T73" fmla="*/ 107 h 145"/>
                  <a:gd name="T74" fmla="*/ 12 w 33"/>
                  <a:gd name="T75" fmla="*/ 110 h 145"/>
                  <a:gd name="T76" fmla="*/ 17 w 33"/>
                  <a:gd name="T77" fmla="*/ 114 h 145"/>
                  <a:gd name="T78" fmla="*/ 21 w 33"/>
                  <a:gd name="T79" fmla="*/ 110 h 145"/>
                  <a:gd name="T80" fmla="*/ 21 w 33"/>
                  <a:gd name="T81" fmla="*/ 107 h 145"/>
                  <a:gd name="T82" fmla="*/ 24 w 33"/>
                  <a:gd name="T83" fmla="*/ 113 h 145"/>
                  <a:gd name="T84" fmla="*/ 24 w 33"/>
                  <a:gd name="T85" fmla="*/ 53 h 145"/>
                  <a:gd name="T86" fmla="*/ 24 w 33"/>
                  <a:gd name="T87" fmla="*/ 68 h 145"/>
                  <a:gd name="T88" fmla="*/ 21 w 33"/>
                  <a:gd name="T89" fmla="*/ 74 h 145"/>
                  <a:gd name="T90" fmla="*/ 21 w 33"/>
                  <a:gd name="T91" fmla="*/ 71 h 145"/>
                  <a:gd name="T92" fmla="*/ 17 w 33"/>
                  <a:gd name="T93" fmla="*/ 66 h 145"/>
                  <a:gd name="T94" fmla="*/ 12 w 33"/>
                  <a:gd name="T95" fmla="*/ 71 h 145"/>
                  <a:gd name="T96" fmla="*/ 12 w 33"/>
                  <a:gd name="T97" fmla="*/ 74 h 145"/>
                  <a:gd name="T98" fmla="*/ 9 w 33"/>
                  <a:gd name="T99" fmla="*/ 68 h 145"/>
                  <a:gd name="T100" fmla="*/ 9 w 33"/>
                  <a:gd name="T101" fmla="*/ 53 h 145"/>
                  <a:gd name="T102" fmla="*/ 12 w 33"/>
                  <a:gd name="T103" fmla="*/ 48 h 145"/>
                  <a:gd name="T104" fmla="*/ 12 w 33"/>
                  <a:gd name="T105" fmla="*/ 50 h 145"/>
                  <a:gd name="T106" fmla="*/ 17 w 33"/>
                  <a:gd name="T107" fmla="*/ 55 h 145"/>
                  <a:gd name="T108" fmla="*/ 21 w 33"/>
                  <a:gd name="T109" fmla="*/ 50 h 145"/>
                  <a:gd name="T110" fmla="*/ 21 w 33"/>
                  <a:gd name="T111" fmla="*/ 48 h 145"/>
                  <a:gd name="T112" fmla="*/ 24 w 33"/>
                  <a:gd name="T113" fmla="*/ 5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" h="145">
                    <a:moveTo>
                      <a:pt x="33" y="9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4" y="11"/>
                      <a:pt x="23" y="13"/>
                      <a:pt x="21" y="14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8"/>
                      <a:pt x="19" y="6"/>
                      <a:pt x="17" y="6"/>
                    </a:cubicBezTo>
                    <a:cubicBezTo>
                      <a:pt x="14" y="6"/>
                      <a:pt x="12" y="8"/>
                      <a:pt x="12" y="11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0" y="13"/>
                      <a:pt x="9" y="11"/>
                      <a:pt x="9" y="9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6"/>
                      <a:pt x="5" y="22"/>
                      <a:pt x="12" y="24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5" y="39"/>
                      <a:pt x="0" y="46"/>
                      <a:pt x="0" y="53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6"/>
                      <a:pt x="5" y="82"/>
                      <a:pt x="12" y="84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5" y="99"/>
                      <a:pt x="0" y="105"/>
                      <a:pt x="0" y="113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7"/>
                      <a:pt x="7" y="145"/>
                      <a:pt x="17" y="145"/>
                    </a:cubicBezTo>
                    <a:cubicBezTo>
                      <a:pt x="26" y="145"/>
                      <a:pt x="33" y="137"/>
                      <a:pt x="33" y="128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3" y="105"/>
                      <a:pt x="28" y="99"/>
                      <a:pt x="21" y="97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8" y="82"/>
                      <a:pt x="33" y="76"/>
                      <a:pt x="33" y="68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46"/>
                      <a:pt x="28" y="39"/>
                      <a:pt x="21" y="37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8" y="22"/>
                      <a:pt x="33" y="16"/>
                      <a:pt x="33" y="9"/>
                    </a:cubicBezTo>
                    <a:close/>
                    <a:moveTo>
                      <a:pt x="24" y="113"/>
                    </a:moveTo>
                    <a:cubicBezTo>
                      <a:pt x="24" y="128"/>
                      <a:pt x="24" y="128"/>
                      <a:pt x="24" y="128"/>
                    </a:cubicBezTo>
                    <a:cubicBezTo>
                      <a:pt x="24" y="132"/>
                      <a:pt x="21" y="135"/>
                      <a:pt x="17" y="135"/>
                    </a:cubicBezTo>
                    <a:cubicBezTo>
                      <a:pt x="13" y="135"/>
                      <a:pt x="9" y="132"/>
                      <a:pt x="9" y="128"/>
                    </a:cubicBezTo>
                    <a:cubicBezTo>
                      <a:pt x="9" y="113"/>
                      <a:pt x="9" y="113"/>
                      <a:pt x="9" y="113"/>
                    </a:cubicBezTo>
                    <a:cubicBezTo>
                      <a:pt x="9" y="111"/>
                      <a:pt x="10" y="109"/>
                      <a:pt x="12" y="107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2" y="112"/>
                      <a:pt x="14" y="114"/>
                      <a:pt x="17" y="114"/>
                    </a:cubicBezTo>
                    <a:cubicBezTo>
                      <a:pt x="19" y="114"/>
                      <a:pt x="21" y="112"/>
                      <a:pt x="21" y="110"/>
                    </a:cubicBezTo>
                    <a:cubicBezTo>
                      <a:pt x="21" y="107"/>
                      <a:pt x="21" y="107"/>
                      <a:pt x="21" y="107"/>
                    </a:cubicBezTo>
                    <a:cubicBezTo>
                      <a:pt x="23" y="109"/>
                      <a:pt x="24" y="111"/>
                      <a:pt x="24" y="113"/>
                    </a:cubicBezTo>
                    <a:close/>
                    <a:moveTo>
                      <a:pt x="24" y="53"/>
                    </a:moveTo>
                    <a:cubicBezTo>
                      <a:pt x="24" y="68"/>
                      <a:pt x="24" y="68"/>
                      <a:pt x="24" y="68"/>
                    </a:cubicBezTo>
                    <a:cubicBezTo>
                      <a:pt x="24" y="71"/>
                      <a:pt x="23" y="73"/>
                      <a:pt x="21" y="74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21" y="68"/>
                      <a:pt x="19" y="66"/>
                      <a:pt x="17" y="66"/>
                    </a:cubicBezTo>
                    <a:cubicBezTo>
                      <a:pt x="14" y="66"/>
                      <a:pt x="12" y="68"/>
                      <a:pt x="12" y="71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0" y="73"/>
                      <a:pt x="9" y="71"/>
                      <a:pt x="9" y="68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9" y="51"/>
                      <a:pt x="10" y="49"/>
                      <a:pt x="12" y="4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3"/>
                      <a:pt x="14" y="55"/>
                      <a:pt x="17" y="55"/>
                    </a:cubicBezTo>
                    <a:cubicBezTo>
                      <a:pt x="19" y="55"/>
                      <a:pt x="21" y="53"/>
                      <a:pt x="21" y="50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3" y="49"/>
                      <a:pt x="24" y="51"/>
                      <a:pt x="24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7">
                <a:extLst>
                  <a:ext uri="{FF2B5EF4-FFF2-40B4-BE49-F238E27FC236}">
                    <a16:creationId xmlns:a16="http://schemas.microsoft.com/office/drawing/2014/main" id="{9F2890EE-8058-4E34-A518-FEAA5D476D06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7799388" y="-178593"/>
                <a:ext cx="96837" cy="430213"/>
              </a:xfrm>
              <a:custGeom>
                <a:avLst/>
                <a:gdLst>
                  <a:gd name="T0" fmla="*/ 33 w 33"/>
                  <a:gd name="T1" fmla="*/ 9 h 145"/>
                  <a:gd name="T2" fmla="*/ 33 w 33"/>
                  <a:gd name="T3" fmla="*/ 0 h 145"/>
                  <a:gd name="T4" fmla="*/ 24 w 33"/>
                  <a:gd name="T5" fmla="*/ 0 h 145"/>
                  <a:gd name="T6" fmla="*/ 24 w 33"/>
                  <a:gd name="T7" fmla="*/ 9 h 145"/>
                  <a:gd name="T8" fmla="*/ 21 w 33"/>
                  <a:gd name="T9" fmla="*/ 14 h 145"/>
                  <a:gd name="T10" fmla="*/ 21 w 33"/>
                  <a:gd name="T11" fmla="*/ 11 h 145"/>
                  <a:gd name="T12" fmla="*/ 17 w 33"/>
                  <a:gd name="T13" fmla="*/ 6 h 145"/>
                  <a:gd name="T14" fmla="*/ 12 w 33"/>
                  <a:gd name="T15" fmla="*/ 11 h 145"/>
                  <a:gd name="T16" fmla="*/ 12 w 33"/>
                  <a:gd name="T17" fmla="*/ 14 h 145"/>
                  <a:gd name="T18" fmla="*/ 9 w 33"/>
                  <a:gd name="T19" fmla="*/ 9 h 145"/>
                  <a:gd name="T20" fmla="*/ 9 w 33"/>
                  <a:gd name="T21" fmla="*/ 0 h 145"/>
                  <a:gd name="T22" fmla="*/ 0 w 33"/>
                  <a:gd name="T23" fmla="*/ 0 h 145"/>
                  <a:gd name="T24" fmla="*/ 0 w 33"/>
                  <a:gd name="T25" fmla="*/ 9 h 145"/>
                  <a:gd name="T26" fmla="*/ 12 w 33"/>
                  <a:gd name="T27" fmla="*/ 24 h 145"/>
                  <a:gd name="T28" fmla="*/ 12 w 33"/>
                  <a:gd name="T29" fmla="*/ 37 h 145"/>
                  <a:gd name="T30" fmla="*/ 0 w 33"/>
                  <a:gd name="T31" fmla="*/ 53 h 145"/>
                  <a:gd name="T32" fmla="*/ 0 w 33"/>
                  <a:gd name="T33" fmla="*/ 68 h 145"/>
                  <a:gd name="T34" fmla="*/ 12 w 33"/>
                  <a:gd name="T35" fmla="*/ 84 h 145"/>
                  <a:gd name="T36" fmla="*/ 12 w 33"/>
                  <a:gd name="T37" fmla="*/ 97 h 145"/>
                  <a:gd name="T38" fmla="*/ 0 w 33"/>
                  <a:gd name="T39" fmla="*/ 113 h 145"/>
                  <a:gd name="T40" fmla="*/ 0 w 33"/>
                  <a:gd name="T41" fmla="*/ 128 h 145"/>
                  <a:gd name="T42" fmla="*/ 17 w 33"/>
                  <a:gd name="T43" fmla="*/ 145 h 145"/>
                  <a:gd name="T44" fmla="*/ 33 w 33"/>
                  <a:gd name="T45" fmla="*/ 128 h 145"/>
                  <a:gd name="T46" fmla="*/ 33 w 33"/>
                  <a:gd name="T47" fmla="*/ 113 h 145"/>
                  <a:gd name="T48" fmla="*/ 21 w 33"/>
                  <a:gd name="T49" fmla="*/ 97 h 145"/>
                  <a:gd name="T50" fmla="*/ 21 w 33"/>
                  <a:gd name="T51" fmla="*/ 84 h 145"/>
                  <a:gd name="T52" fmla="*/ 33 w 33"/>
                  <a:gd name="T53" fmla="*/ 68 h 145"/>
                  <a:gd name="T54" fmla="*/ 33 w 33"/>
                  <a:gd name="T55" fmla="*/ 53 h 145"/>
                  <a:gd name="T56" fmla="*/ 21 w 33"/>
                  <a:gd name="T57" fmla="*/ 37 h 145"/>
                  <a:gd name="T58" fmla="*/ 21 w 33"/>
                  <a:gd name="T59" fmla="*/ 24 h 145"/>
                  <a:gd name="T60" fmla="*/ 33 w 33"/>
                  <a:gd name="T61" fmla="*/ 9 h 145"/>
                  <a:gd name="T62" fmla="*/ 24 w 33"/>
                  <a:gd name="T63" fmla="*/ 113 h 145"/>
                  <a:gd name="T64" fmla="*/ 24 w 33"/>
                  <a:gd name="T65" fmla="*/ 128 h 145"/>
                  <a:gd name="T66" fmla="*/ 17 w 33"/>
                  <a:gd name="T67" fmla="*/ 135 h 145"/>
                  <a:gd name="T68" fmla="*/ 9 w 33"/>
                  <a:gd name="T69" fmla="*/ 128 h 145"/>
                  <a:gd name="T70" fmla="*/ 9 w 33"/>
                  <a:gd name="T71" fmla="*/ 113 h 145"/>
                  <a:gd name="T72" fmla="*/ 12 w 33"/>
                  <a:gd name="T73" fmla="*/ 107 h 145"/>
                  <a:gd name="T74" fmla="*/ 12 w 33"/>
                  <a:gd name="T75" fmla="*/ 110 h 145"/>
                  <a:gd name="T76" fmla="*/ 17 w 33"/>
                  <a:gd name="T77" fmla="*/ 114 h 145"/>
                  <a:gd name="T78" fmla="*/ 21 w 33"/>
                  <a:gd name="T79" fmla="*/ 110 h 145"/>
                  <a:gd name="T80" fmla="*/ 21 w 33"/>
                  <a:gd name="T81" fmla="*/ 107 h 145"/>
                  <a:gd name="T82" fmla="*/ 24 w 33"/>
                  <a:gd name="T83" fmla="*/ 113 h 145"/>
                  <a:gd name="T84" fmla="*/ 24 w 33"/>
                  <a:gd name="T85" fmla="*/ 53 h 145"/>
                  <a:gd name="T86" fmla="*/ 24 w 33"/>
                  <a:gd name="T87" fmla="*/ 68 h 145"/>
                  <a:gd name="T88" fmla="*/ 21 w 33"/>
                  <a:gd name="T89" fmla="*/ 74 h 145"/>
                  <a:gd name="T90" fmla="*/ 21 w 33"/>
                  <a:gd name="T91" fmla="*/ 71 h 145"/>
                  <a:gd name="T92" fmla="*/ 17 w 33"/>
                  <a:gd name="T93" fmla="*/ 66 h 145"/>
                  <a:gd name="T94" fmla="*/ 12 w 33"/>
                  <a:gd name="T95" fmla="*/ 71 h 145"/>
                  <a:gd name="T96" fmla="*/ 12 w 33"/>
                  <a:gd name="T97" fmla="*/ 74 h 145"/>
                  <a:gd name="T98" fmla="*/ 9 w 33"/>
                  <a:gd name="T99" fmla="*/ 68 h 145"/>
                  <a:gd name="T100" fmla="*/ 9 w 33"/>
                  <a:gd name="T101" fmla="*/ 53 h 145"/>
                  <a:gd name="T102" fmla="*/ 12 w 33"/>
                  <a:gd name="T103" fmla="*/ 48 h 145"/>
                  <a:gd name="T104" fmla="*/ 12 w 33"/>
                  <a:gd name="T105" fmla="*/ 50 h 145"/>
                  <a:gd name="T106" fmla="*/ 17 w 33"/>
                  <a:gd name="T107" fmla="*/ 55 h 145"/>
                  <a:gd name="T108" fmla="*/ 21 w 33"/>
                  <a:gd name="T109" fmla="*/ 50 h 145"/>
                  <a:gd name="T110" fmla="*/ 21 w 33"/>
                  <a:gd name="T111" fmla="*/ 48 h 145"/>
                  <a:gd name="T112" fmla="*/ 24 w 33"/>
                  <a:gd name="T113" fmla="*/ 5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" h="145">
                    <a:moveTo>
                      <a:pt x="33" y="9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4" y="11"/>
                      <a:pt x="23" y="13"/>
                      <a:pt x="21" y="14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8"/>
                      <a:pt x="19" y="6"/>
                      <a:pt x="17" y="6"/>
                    </a:cubicBezTo>
                    <a:cubicBezTo>
                      <a:pt x="14" y="6"/>
                      <a:pt x="12" y="8"/>
                      <a:pt x="12" y="11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0" y="13"/>
                      <a:pt x="9" y="11"/>
                      <a:pt x="9" y="9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6"/>
                      <a:pt x="5" y="22"/>
                      <a:pt x="12" y="24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5" y="39"/>
                      <a:pt x="0" y="46"/>
                      <a:pt x="0" y="53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6"/>
                      <a:pt x="5" y="82"/>
                      <a:pt x="12" y="84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5" y="99"/>
                      <a:pt x="0" y="105"/>
                      <a:pt x="0" y="113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7"/>
                      <a:pt x="7" y="145"/>
                      <a:pt x="17" y="145"/>
                    </a:cubicBezTo>
                    <a:cubicBezTo>
                      <a:pt x="26" y="145"/>
                      <a:pt x="33" y="137"/>
                      <a:pt x="33" y="128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3" y="105"/>
                      <a:pt x="28" y="99"/>
                      <a:pt x="21" y="97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8" y="82"/>
                      <a:pt x="33" y="76"/>
                      <a:pt x="33" y="68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46"/>
                      <a:pt x="28" y="39"/>
                      <a:pt x="21" y="37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8" y="22"/>
                      <a:pt x="33" y="16"/>
                      <a:pt x="33" y="9"/>
                    </a:cubicBezTo>
                    <a:close/>
                    <a:moveTo>
                      <a:pt x="24" y="113"/>
                    </a:moveTo>
                    <a:cubicBezTo>
                      <a:pt x="24" y="128"/>
                      <a:pt x="24" y="128"/>
                      <a:pt x="24" y="128"/>
                    </a:cubicBezTo>
                    <a:cubicBezTo>
                      <a:pt x="24" y="132"/>
                      <a:pt x="21" y="135"/>
                      <a:pt x="17" y="135"/>
                    </a:cubicBezTo>
                    <a:cubicBezTo>
                      <a:pt x="13" y="135"/>
                      <a:pt x="9" y="132"/>
                      <a:pt x="9" y="128"/>
                    </a:cubicBezTo>
                    <a:cubicBezTo>
                      <a:pt x="9" y="113"/>
                      <a:pt x="9" y="113"/>
                      <a:pt x="9" y="113"/>
                    </a:cubicBezTo>
                    <a:cubicBezTo>
                      <a:pt x="9" y="111"/>
                      <a:pt x="10" y="109"/>
                      <a:pt x="12" y="107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2" y="112"/>
                      <a:pt x="14" y="114"/>
                      <a:pt x="17" y="114"/>
                    </a:cubicBezTo>
                    <a:cubicBezTo>
                      <a:pt x="19" y="114"/>
                      <a:pt x="21" y="112"/>
                      <a:pt x="21" y="110"/>
                    </a:cubicBezTo>
                    <a:cubicBezTo>
                      <a:pt x="21" y="107"/>
                      <a:pt x="21" y="107"/>
                      <a:pt x="21" y="107"/>
                    </a:cubicBezTo>
                    <a:cubicBezTo>
                      <a:pt x="23" y="109"/>
                      <a:pt x="24" y="111"/>
                      <a:pt x="24" y="113"/>
                    </a:cubicBezTo>
                    <a:close/>
                    <a:moveTo>
                      <a:pt x="24" y="53"/>
                    </a:moveTo>
                    <a:cubicBezTo>
                      <a:pt x="24" y="68"/>
                      <a:pt x="24" y="68"/>
                      <a:pt x="24" y="68"/>
                    </a:cubicBezTo>
                    <a:cubicBezTo>
                      <a:pt x="24" y="71"/>
                      <a:pt x="23" y="73"/>
                      <a:pt x="21" y="74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21" y="68"/>
                      <a:pt x="19" y="66"/>
                      <a:pt x="17" y="66"/>
                    </a:cubicBezTo>
                    <a:cubicBezTo>
                      <a:pt x="14" y="66"/>
                      <a:pt x="12" y="68"/>
                      <a:pt x="12" y="71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0" y="73"/>
                      <a:pt x="9" y="71"/>
                      <a:pt x="9" y="68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9" y="51"/>
                      <a:pt x="10" y="49"/>
                      <a:pt x="12" y="4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3"/>
                      <a:pt x="14" y="55"/>
                      <a:pt x="17" y="55"/>
                    </a:cubicBezTo>
                    <a:cubicBezTo>
                      <a:pt x="19" y="55"/>
                      <a:pt x="21" y="53"/>
                      <a:pt x="21" y="50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3" y="49"/>
                      <a:pt x="24" y="51"/>
                      <a:pt x="24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77A37820-745F-41AE-94F4-6F9F75657F09}"/>
                </a:ext>
              </a:extLst>
            </p:cNvPr>
            <p:cNvGrpSpPr/>
            <p:nvPr userDrawn="1"/>
          </p:nvGrpSpPr>
          <p:grpSpPr bwMode="gray">
            <a:xfrm>
              <a:off x="8351838" y="-178593"/>
              <a:ext cx="96837" cy="1485107"/>
              <a:chOff x="7799388" y="-178593"/>
              <a:chExt cx="96837" cy="1485107"/>
            </a:xfrm>
            <a:solidFill>
              <a:srgbClr val="C2C2C2"/>
            </a:solidFill>
          </p:grpSpPr>
          <p:sp>
            <p:nvSpPr>
              <p:cNvPr id="262" name="Freeform 7">
                <a:extLst>
                  <a:ext uri="{FF2B5EF4-FFF2-40B4-BE49-F238E27FC236}">
                    <a16:creationId xmlns:a16="http://schemas.microsoft.com/office/drawing/2014/main" id="{04A45DE1-ADFA-4F8E-94BA-AECFE9C173F6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7799388" y="876301"/>
                <a:ext cx="96837" cy="430213"/>
              </a:xfrm>
              <a:custGeom>
                <a:avLst/>
                <a:gdLst>
                  <a:gd name="T0" fmla="*/ 33 w 33"/>
                  <a:gd name="T1" fmla="*/ 9 h 145"/>
                  <a:gd name="T2" fmla="*/ 33 w 33"/>
                  <a:gd name="T3" fmla="*/ 0 h 145"/>
                  <a:gd name="T4" fmla="*/ 24 w 33"/>
                  <a:gd name="T5" fmla="*/ 0 h 145"/>
                  <a:gd name="T6" fmla="*/ 24 w 33"/>
                  <a:gd name="T7" fmla="*/ 9 h 145"/>
                  <a:gd name="T8" fmla="*/ 21 w 33"/>
                  <a:gd name="T9" fmla="*/ 14 h 145"/>
                  <a:gd name="T10" fmla="*/ 21 w 33"/>
                  <a:gd name="T11" fmla="*/ 11 h 145"/>
                  <a:gd name="T12" fmla="*/ 17 w 33"/>
                  <a:gd name="T13" fmla="*/ 6 h 145"/>
                  <a:gd name="T14" fmla="*/ 12 w 33"/>
                  <a:gd name="T15" fmla="*/ 11 h 145"/>
                  <a:gd name="T16" fmla="*/ 12 w 33"/>
                  <a:gd name="T17" fmla="*/ 14 h 145"/>
                  <a:gd name="T18" fmla="*/ 9 w 33"/>
                  <a:gd name="T19" fmla="*/ 9 h 145"/>
                  <a:gd name="T20" fmla="*/ 9 w 33"/>
                  <a:gd name="T21" fmla="*/ 0 h 145"/>
                  <a:gd name="T22" fmla="*/ 0 w 33"/>
                  <a:gd name="T23" fmla="*/ 0 h 145"/>
                  <a:gd name="T24" fmla="*/ 0 w 33"/>
                  <a:gd name="T25" fmla="*/ 9 h 145"/>
                  <a:gd name="T26" fmla="*/ 12 w 33"/>
                  <a:gd name="T27" fmla="*/ 24 h 145"/>
                  <a:gd name="T28" fmla="*/ 12 w 33"/>
                  <a:gd name="T29" fmla="*/ 37 h 145"/>
                  <a:gd name="T30" fmla="*/ 0 w 33"/>
                  <a:gd name="T31" fmla="*/ 53 h 145"/>
                  <a:gd name="T32" fmla="*/ 0 w 33"/>
                  <a:gd name="T33" fmla="*/ 68 h 145"/>
                  <a:gd name="T34" fmla="*/ 12 w 33"/>
                  <a:gd name="T35" fmla="*/ 84 h 145"/>
                  <a:gd name="T36" fmla="*/ 12 w 33"/>
                  <a:gd name="T37" fmla="*/ 97 h 145"/>
                  <a:gd name="T38" fmla="*/ 0 w 33"/>
                  <a:gd name="T39" fmla="*/ 113 h 145"/>
                  <a:gd name="T40" fmla="*/ 0 w 33"/>
                  <a:gd name="T41" fmla="*/ 128 h 145"/>
                  <a:gd name="T42" fmla="*/ 17 w 33"/>
                  <a:gd name="T43" fmla="*/ 145 h 145"/>
                  <a:gd name="T44" fmla="*/ 33 w 33"/>
                  <a:gd name="T45" fmla="*/ 128 h 145"/>
                  <a:gd name="T46" fmla="*/ 33 w 33"/>
                  <a:gd name="T47" fmla="*/ 113 h 145"/>
                  <a:gd name="T48" fmla="*/ 21 w 33"/>
                  <a:gd name="T49" fmla="*/ 97 h 145"/>
                  <a:gd name="T50" fmla="*/ 21 w 33"/>
                  <a:gd name="T51" fmla="*/ 84 h 145"/>
                  <a:gd name="T52" fmla="*/ 33 w 33"/>
                  <a:gd name="T53" fmla="*/ 68 h 145"/>
                  <a:gd name="T54" fmla="*/ 33 w 33"/>
                  <a:gd name="T55" fmla="*/ 53 h 145"/>
                  <a:gd name="T56" fmla="*/ 21 w 33"/>
                  <a:gd name="T57" fmla="*/ 37 h 145"/>
                  <a:gd name="T58" fmla="*/ 21 w 33"/>
                  <a:gd name="T59" fmla="*/ 24 h 145"/>
                  <a:gd name="T60" fmla="*/ 33 w 33"/>
                  <a:gd name="T61" fmla="*/ 9 h 145"/>
                  <a:gd name="T62" fmla="*/ 24 w 33"/>
                  <a:gd name="T63" fmla="*/ 113 h 145"/>
                  <a:gd name="T64" fmla="*/ 24 w 33"/>
                  <a:gd name="T65" fmla="*/ 128 h 145"/>
                  <a:gd name="T66" fmla="*/ 17 w 33"/>
                  <a:gd name="T67" fmla="*/ 135 h 145"/>
                  <a:gd name="T68" fmla="*/ 9 w 33"/>
                  <a:gd name="T69" fmla="*/ 128 h 145"/>
                  <a:gd name="T70" fmla="*/ 9 w 33"/>
                  <a:gd name="T71" fmla="*/ 113 h 145"/>
                  <a:gd name="T72" fmla="*/ 12 w 33"/>
                  <a:gd name="T73" fmla="*/ 107 h 145"/>
                  <a:gd name="T74" fmla="*/ 12 w 33"/>
                  <a:gd name="T75" fmla="*/ 110 h 145"/>
                  <a:gd name="T76" fmla="*/ 17 w 33"/>
                  <a:gd name="T77" fmla="*/ 114 h 145"/>
                  <a:gd name="T78" fmla="*/ 21 w 33"/>
                  <a:gd name="T79" fmla="*/ 110 h 145"/>
                  <a:gd name="T80" fmla="*/ 21 w 33"/>
                  <a:gd name="T81" fmla="*/ 107 h 145"/>
                  <a:gd name="T82" fmla="*/ 24 w 33"/>
                  <a:gd name="T83" fmla="*/ 113 h 145"/>
                  <a:gd name="T84" fmla="*/ 24 w 33"/>
                  <a:gd name="T85" fmla="*/ 53 h 145"/>
                  <a:gd name="T86" fmla="*/ 24 w 33"/>
                  <a:gd name="T87" fmla="*/ 68 h 145"/>
                  <a:gd name="T88" fmla="*/ 21 w 33"/>
                  <a:gd name="T89" fmla="*/ 74 h 145"/>
                  <a:gd name="T90" fmla="*/ 21 w 33"/>
                  <a:gd name="T91" fmla="*/ 71 h 145"/>
                  <a:gd name="T92" fmla="*/ 17 w 33"/>
                  <a:gd name="T93" fmla="*/ 66 h 145"/>
                  <a:gd name="T94" fmla="*/ 12 w 33"/>
                  <a:gd name="T95" fmla="*/ 71 h 145"/>
                  <a:gd name="T96" fmla="*/ 12 w 33"/>
                  <a:gd name="T97" fmla="*/ 74 h 145"/>
                  <a:gd name="T98" fmla="*/ 9 w 33"/>
                  <a:gd name="T99" fmla="*/ 68 h 145"/>
                  <a:gd name="T100" fmla="*/ 9 w 33"/>
                  <a:gd name="T101" fmla="*/ 53 h 145"/>
                  <a:gd name="T102" fmla="*/ 12 w 33"/>
                  <a:gd name="T103" fmla="*/ 48 h 145"/>
                  <a:gd name="T104" fmla="*/ 12 w 33"/>
                  <a:gd name="T105" fmla="*/ 50 h 145"/>
                  <a:gd name="T106" fmla="*/ 17 w 33"/>
                  <a:gd name="T107" fmla="*/ 55 h 145"/>
                  <a:gd name="T108" fmla="*/ 21 w 33"/>
                  <a:gd name="T109" fmla="*/ 50 h 145"/>
                  <a:gd name="T110" fmla="*/ 21 w 33"/>
                  <a:gd name="T111" fmla="*/ 48 h 145"/>
                  <a:gd name="T112" fmla="*/ 24 w 33"/>
                  <a:gd name="T113" fmla="*/ 5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" h="145">
                    <a:moveTo>
                      <a:pt x="33" y="9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4" y="11"/>
                      <a:pt x="23" y="13"/>
                      <a:pt x="21" y="14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8"/>
                      <a:pt x="19" y="6"/>
                      <a:pt x="17" y="6"/>
                    </a:cubicBezTo>
                    <a:cubicBezTo>
                      <a:pt x="14" y="6"/>
                      <a:pt x="12" y="8"/>
                      <a:pt x="12" y="11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0" y="13"/>
                      <a:pt x="9" y="11"/>
                      <a:pt x="9" y="9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6"/>
                      <a:pt x="5" y="22"/>
                      <a:pt x="12" y="24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5" y="39"/>
                      <a:pt x="0" y="46"/>
                      <a:pt x="0" y="53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6"/>
                      <a:pt x="5" y="82"/>
                      <a:pt x="12" y="84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5" y="99"/>
                      <a:pt x="0" y="105"/>
                      <a:pt x="0" y="113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7"/>
                      <a:pt x="7" y="145"/>
                      <a:pt x="17" y="145"/>
                    </a:cubicBezTo>
                    <a:cubicBezTo>
                      <a:pt x="26" y="145"/>
                      <a:pt x="33" y="137"/>
                      <a:pt x="33" y="128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3" y="105"/>
                      <a:pt x="28" y="99"/>
                      <a:pt x="21" y="97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8" y="82"/>
                      <a:pt x="33" y="76"/>
                      <a:pt x="33" y="68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46"/>
                      <a:pt x="28" y="39"/>
                      <a:pt x="21" y="37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8" y="22"/>
                      <a:pt x="33" y="16"/>
                      <a:pt x="33" y="9"/>
                    </a:cubicBezTo>
                    <a:close/>
                    <a:moveTo>
                      <a:pt x="24" y="113"/>
                    </a:moveTo>
                    <a:cubicBezTo>
                      <a:pt x="24" y="128"/>
                      <a:pt x="24" y="128"/>
                      <a:pt x="24" y="128"/>
                    </a:cubicBezTo>
                    <a:cubicBezTo>
                      <a:pt x="24" y="132"/>
                      <a:pt x="21" y="135"/>
                      <a:pt x="17" y="135"/>
                    </a:cubicBezTo>
                    <a:cubicBezTo>
                      <a:pt x="13" y="135"/>
                      <a:pt x="9" y="132"/>
                      <a:pt x="9" y="128"/>
                    </a:cubicBezTo>
                    <a:cubicBezTo>
                      <a:pt x="9" y="113"/>
                      <a:pt x="9" y="113"/>
                      <a:pt x="9" y="113"/>
                    </a:cubicBezTo>
                    <a:cubicBezTo>
                      <a:pt x="9" y="111"/>
                      <a:pt x="10" y="109"/>
                      <a:pt x="12" y="107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2" y="112"/>
                      <a:pt x="14" y="114"/>
                      <a:pt x="17" y="114"/>
                    </a:cubicBezTo>
                    <a:cubicBezTo>
                      <a:pt x="19" y="114"/>
                      <a:pt x="21" y="112"/>
                      <a:pt x="21" y="110"/>
                    </a:cubicBezTo>
                    <a:cubicBezTo>
                      <a:pt x="21" y="107"/>
                      <a:pt x="21" y="107"/>
                      <a:pt x="21" y="107"/>
                    </a:cubicBezTo>
                    <a:cubicBezTo>
                      <a:pt x="23" y="109"/>
                      <a:pt x="24" y="111"/>
                      <a:pt x="24" y="113"/>
                    </a:cubicBezTo>
                    <a:close/>
                    <a:moveTo>
                      <a:pt x="24" y="53"/>
                    </a:moveTo>
                    <a:cubicBezTo>
                      <a:pt x="24" y="68"/>
                      <a:pt x="24" y="68"/>
                      <a:pt x="24" y="68"/>
                    </a:cubicBezTo>
                    <a:cubicBezTo>
                      <a:pt x="24" y="71"/>
                      <a:pt x="23" y="73"/>
                      <a:pt x="21" y="74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21" y="68"/>
                      <a:pt x="19" y="66"/>
                      <a:pt x="17" y="66"/>
                    </a:cubicBezTo>
                    <a:cubicBezTo>
                      <a:pt x="14" y="66"/>
                      <a:pt x="12" y="68"/>
                      <a:pt x="12" y="71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0" y="73"/>
                      <a:pt x="9" y="71"/>
                      <a:pt x="9" y="68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9" y="51"/>
                      <a:pt x="10" y="49"/>
                      <a:pt x="12" y="4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3"/>
                      <a:pt x="14" y="55"/>
                      <a:pt x="17" y="55"/>
                    </a:cubicBezTo>
                    <a:cubicBezTo>
                      <a:pt x="19" y="55"/>
                      <a:pt x="21" y="53"/>
                      <a:pt x="21" y="50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3" y="49"/>
                      <a:pt x="24" y="51"/>
                      <a:pt x="24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7">
                <a:extLst>
                  <a:ext uri="{FF2B5EF4-FFF2-40B4-BE49-F238E27FC236}">
                    <a16:creationId xmlns:a16="http://schemas.microsoft.com/office/drawing/2014/main" id="{094A970B-7272-4D75-A550-5C20C1DD81FB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7799388" y="516732"/>
                <a:ext cx="96837" cy="430213"/>
              </a:xfrm>
              <a:custGeom>
                <a:avLst/>
                <a:gdLst>
                  <a:gd name="T0" fmla="*/ 33 w 33"/>
                  <a:gd name="T1" fmla="*/ 9 h 145"/>
                  <a:gd name="T2" fmla="*/ 33 w 33"/>
                  <a:gd name="T3" fmla="*/ 0 h 145"/>
                  <a:gd name="T4" fmla="*/ 24 w 33"/>
                  <a:gd name="T5" fmla="*/ 0 h 145"/>
                  <a:gd name="T6" fmla="*/ 24 w 33"/>
                  <a:gd name="T7" fmla="*/ 9 h 145"/>
                  <a:gd name="T8" fmla="*/ 21 w 33"/>
                  <a:gd name="T9" fmla="*/ 14 h 145"/>
                  <a:gd name="T10" fmla="*/ 21 w 33"/>
                  <a:gd name="T11" fmla="*/ 11 h 145"/>
                  <a:gd name="T12" fmla="*/ 17 w 33"/>
                  <a:gd name="T13" fmla="*/ 6 h 145"/>
                  <a:gd name="T14" fmla="*/ 12 w 33"/>
                  <a:gd name="T15" fmla="*/ 11 h 145"/>
                  <a:gd name="T16" fmla="*/ 12 w 33"/>
                  <a:gd name="T17" fmla="*/ 14 h 145"/>
                  <a:gd name="T18" fmla="*/ 9 w 33"/>
                  <a:gd name="T19" fmla="*/ 9 h 145"/>
                  <a:gd name="T20" fmla="*/ 9 w 33"/>
                  <a:gd name="T21" fmla="*/ 0 h 145"/>
                  <a:gd name="T22" fmla="*/ 0 w 33"/>
                  <a:gd name="T23" fmla="*/ 0 h 145"/>
                  <a:gd name="T24" fmla="*/ 0 w 33"/>
                  <a:gd name="T25" fmla="*/ 9 h 145"/>
                  <a:gd name="T26" fmla="*/ 12 w 33"/>
                  <a:gd name="T27" fmla="*/ 24 h 145"/>
                  <a:gd name="T28" fmla="*/ 12 w 33"/>
                  <a:gd name="T29" fmla="*/ 37 h 145"/>
                  <a:gd name="T30" fmla="*/ 0 w 33"/>
                  <a:gd name="T31" fmla="*/ 53 h 145"/>
                  <a:gd name="T32" fmla="*/ 0 w 33"/>
                  <a:gd name="T33" fmla="*/ 68 h 145"/>
                  <a:gd name="T34" fmla="*/ 12 w 33"/>
                  <a:gd name="T35" fmla="*/ 84 h 145"/>
                  <a:gd name="T36" fmla="*/ 12 w 33"/>
                  <a:gd name="T37" fmla="*/ 97 h 145"/>
                  <a:gd name="T38" fmla="*/ 0 w 33"/>
                  <a:gd name="T39" fmla="*/ 113 h 145"/>
                  <a:gd name="T40" fmla="*/ 0 w 33"/>
                  <a:gd name="T41" fmla="*/ 128 h 145"/>
                  <a:gd name="T42" fmla="*/ 17 w 33"/>
                  <a:gd name="T43" fmla="*/ 145 h 145"/>
                  <a:gd name="T44" fmla="*/ 33 w 33"/>
                  <a:gd name="T45" fmla="*/ 128 h 145"/>
                  <a:gd name="T46" fmla="*/ 33 w 33"/>
                  <a:gd name="T47" fmla="*/ 113 h 145"/>
                  <a:gd name="T48" fmla="*/ 21 w 33"/>
                  <a:gd name="T49" fmla="*/ 97 h 145"/>
                  <a:gd name="T50" fmla="*/ 21 w 33"/>
                  <a:gd name="T51" fmla="*/ 84 h 145"/>
                  <a:gd name="T52" fmla="*/ 33 w 33"/>
                  <a:gd name="T53" fmla="*/ 68 h 145"/>
                  <a:gd name="T54" fmla="*/ 33 w 33"/>
                  <a:gd name="T55" fmla="*/ 53 h 145"/>
                  <a:gd name="T56" fmla="*/ 21 w 33"/>
                  <a:gd name="T57" fmla="*/ 37 h 145"/>
                  <a:gd name="T58" fmla="*/ 21 w 33"/>
                  <a:gd name="T59" fmla="*/ 24 h 145"/>
                  <a:gd name="T60" fmla="*/ 33 w 33"/>
                  <a:gd name="T61" fmla="*/ 9 h 145"/>
                  <a:gd name="T62" fmla="*/ 24 w 33"/>
                  <a:gd name="T63" fmla="*/ 113 h 145"/>
                  <a:gd name="T64" fmla="*/ 24 w 33"/>
                  <a:gd name="T65" fmla="*/ 128 h 145"/>
                  <a:gd name="T66" fmla="*/ 17 w 33"/>
                  <a:gd name="T67" fmla="*/ 135 h 145"/>
                  <a:gd name="T68" fmla="*/ 9 w 33"/>
                  <a:gd name="T69" fmla="*/ 128 h 145"/>
                  <a:gd name="T70" fmla="*/ 9 w 33"/>
                  <a:gd name="T71" fmla="*/ 113 h 145"/>
                  <a:gd name="T72" fmla="*/ 12 w 33"/>
                  <a:gd name="T73" fmla="*/ 107 h 145"/>
                  <a:gd name="T74" fmla="*/ 12 w 33"/>
                  <a:gd name="T75" fmla="*/ 110 h 145"/>
                  <a:gd name="T76" fmla="*/ 17 w 33"/>
                  <a:gd name="T77" fmla="*/ 114 h 145"/>
                  <a:gd name="T78" fmla="*/ 21 w 33"/>
                  <a:gd name="T79" fmla="*/ 110 h 145"/>
                  <a:gd name="T80" fmla="*/ 21 w 33"/>
                  <a:gd name="T81" fmla="*/ 107 h 145"/>
                  <a:gd name="T82" fmla="*/ 24 w 33"/>
                  <a:gd name="T83" fmla="*/ 113 h 145"/>
                  <a:gd name="T84" fmla="*/ 24 w 33"/>
                  <a:gd name="T85" fmla="*/ 53 h 145"/>
                  <a:gd name="T86" fmla="*/ 24 w 33"/>
                  <a:gd name="T87" fmla="*/ 68 h 145"/>
                  <a:gd name="T88" fmla="*/ 21 w 33"/>
                  <a:gd name="T89" fmla="*/ 74 h 145"/>
                  <a:gd name="T90" fmla="*/ 21 w 33"/>
                  <a:gd name="T91" fmla="*/ 71 h 145"/>
                  <a:gd name="T92" fmla="*/ 17 w 33"/>
                  <a:gd name="T93" fmla="*/ 66 h 145"/>
                  <a:gd name="T94" fmla="*/ 12 w 33"/>
                  <a:gd name="T95" fmla="*/ 71 h 145"/>
                  <a:gd name="T96" fmla="*/ 12 w 33"/>
                  <a:gd name="T97" fmla="*/ 74 h 145"/>
                  <a:gd name="T98" fmla="*/ 9 w 33"/>
                  <a:gd name="T99" fmla="*/ 68 h 145"/>
                  <a:gd name="T100" fmla="*/ 9 w 33"/>
                  <a:gd name="T101" fmla="*/ 53 h 145"/>
                  <a:gd name="T102" fmla="*/ 12 w 33"/>
                  <a:gd name="T103" fmla="*/ 48 h 145"/>
                  <a:gd name="T104" fmla="*/ 12 w 33"/>
                  <a:gd name="T105" fmla="*/ 50 h 145"/>
                  <a:gd name="T106" fmla="*/ 17 w 33"/>
                  <a:gd name="T107" fmla="*/ 55 h 145"/>
                  <a:gd name="T108" fmla="*/ 21 w 33"/>
                  <a:gd name="T109" fmla="*/ 50 h 145"/>
                  <a:gd name="T110" fmla="*/ 21 w 33"/>
                  <a:gd name="T111" fmla="*/ 48 h 145"/>
                  <a:gd name="T112" fmla="*/ 24 w 33"/>
                  <a:gd name="T113" fmla="*/ 5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" h="145">
                    <a:moveTo>
                      <a:pt x="33" y="9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4" y="11"/>
                      <a:pt x="23" y="13"/>
                      <a:pt x="21" y="14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8"/>
                      <a:pt x="19" y="6"/>
                      <a:pt x="17" y="6"/>
                    </a:cubicBezTo>
                    <a:cubicBezTo>
                      <a:pt x="14" y="6"/>
                      <a:pt x="12" y="8"/>
                      <a:pt x="12" y="11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0" y="13"/>
                      <a:pt x="9" y="11"/>
                      <a:pt x="9" y="9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6"/>
                      <a:pt x="5" y="22"/>
                      <a:pt x="12" y="24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5" y="39"/>
                      <a:pt x="0" y="46"/>
                      <a:pt x="0" y="53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6"/>
                      <a:pt x="5" y="82"/>
                      <a:pt x="12" y="84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5" y="99"/>
                      <a:pt x="0" y="105"/>
                      <a:pt x="0" y="113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7"/>
                      <a:pt x="7" y="145"/>
                      <a:pt x="17" y="145"/>
                    </a:cubicBezTo>
                    <a:cubicBezTo>
                      <a:pt x="26" y="145"/>
                      <a:pt x="33" y="137"/>
                      <a:pt x="33" y="128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3" y="105"/>
                      <a:pt x="28" y="99"/>
                      <a:pt x="21" y="97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8" y="82"/>
                      <a:pt x="33" y="76"/>
                      <a:pt x="33" y="68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46"/>
                      <a:pt x="28" y="39"/>
                      <a:pt x="21" y="37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8" y="22"/>
                      <a:pt x="33" y="16"/>
                      <a:pt x="33" y="9"/>
                    </a:cubicBezTo>
                    <a:close/>
                    <a:moveTo>
                      <a:pt x="24" y="113"/>
                    </a:moveTo>
                    <a:cubicBezTo>
                      <a:pt x="24" y="128"/>
                      <a:pt x="24" y="128"/>
                      <a:pt x="24" y="128"/>
                    </a:cubicBezTo>
                    <a:cubicBezTo>
                      <a:pt x="24" y="132"/>
                      <a:pt x="21" y="135"/>
                      <a:pt x="17" y="135"/>
                    </a:cubicBezTo>
                    <a:cubicBezTo>
                      <a:pt x="13" y="135"/>
                      <a:pt x="9" y="132"/>
                      <a:pt x="9" y="128"/>
                    </a:cubicBezTo>
                    <a:cubicBezTo>
                      <a:pt x="9" y="113"/>
                      <a:pt x="9" y="113"/>
                      <a:pt x="9" y="113"/>
                    </a:cubicBezTo>
                    <a:cubicBezTo>
                      <a:pt x="9" y="111"/>
                      <a:pt x="10" y="109"/>
                      <a:pt x="12" y="107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2" y="112"/>
                      <a:pt x="14" y="114"/>
                      <a:pt x="17" y="114"/>
                    </a:cubicBezTo>
                    <a:cubicBezTo>
                      <a:pt x="19" y="114"/>
                      <a:pt x="21" y="112"/>
                      <a:pt x="21" y="110"/>
                    </a:cubicBezTo>
                    <a:cubicBezTo>
                      <a:pt x="21" y="107"/>
                      <a:pt x="21" y="107"/>
                      <a:pt x="21" y="107"/>
                    </a:cubicBezTo>
                    <a:cubicBezTo>
                      <a:pt x="23" y="109"/>
                      <a:pt x="24" y="111"/>
                      <a:pt x="24" y="113"/>
                    </a:cubicBezTo>
                    <a:close/>
                    <a:moveTo>
                      <a:pt x="24" y="53"/>
                    </a:moveTo>
                    <a:cubicBezTo>
                      <a:pt x="24" y="68"/>
                      <a:pt x="24" y="68"/>
                      <a:pt x="24" y="68"/>
                    </a:cubicBezTo>
                    <a:cubicBezTo>
                      <a:pt x="24" y="71"/>
                      <a:pt x="23" y="73"/>
                      <a:pt x="21" y="74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21" y="68"/>
                      <a:pt x="19" y="66"/>
                      <a:pt x="17" y="66"/>
                    </a:cubicBezTo>
                    <a:cubicBezTo>
                      <a:pt x="14" y="66"/>
                      <a:pt x="12" y="68"/>
                      <a:pt x="12" y="71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0" y="73"/>
                      <a:pt x="9" y="71"/>
                      <a:pt x="9" y="68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9" y="51"/>
                      <a:pt x="10" y="49"/>
                      <a:pt x="12" y="4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3"/>
                      <a:pt x="14" y="55"/>
                      <a:pt x="17" y="55"/>
                    </a:cubicBezTo>
                    <a:cubicBezTo>
                      <a:pt x="19" y="55"/>
                      <a:pt x="21" y="53"/>
                      <a:pt x="21" y="50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3" y="49"/>
                      <a:pt x="24" y="51"/>
                      <a:pt x="24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7">
                <a:extLst>
                  <a:ext uri="{FF2B5EF4-FFF2-40B4-BE49-F238E27FC236}">
                    <a16:creationId xmlns:a16="http://schemas.microsoft.com/office/drawing/2014/main" id="{C1C11752-F1C4-43A7-8F3A-D03A10114007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7799388" y="167482"/>
                <a:ext cx="96837" cy="430213"/>
              </a:xfrm>
              <a:custGeom>
                <a:avLst/>
                <a:gdLst>
                  <a:gd name="T0" fmla="*/ 33 w 33"/>
                  <a:gd name="T1" fmla="*/ 9 h 145"/>
                  <a:gd name="T2" fmla="*/ 33 w 33"/>
                  <a:gd name="T3" fmla="*/ 0 h 145"/>
                  <a:gd name="T4" fmla="*/ 24 w 33"/>
                  <a:gd name="T5" fmla="*/ 0 h 145"/>
                  <a:gd name="T6" fmla="*/ 24 w 33"/>
                  <a:gd name="T7" fmla="*/ 9 h 145"/>
                  <a:gd name="T8" fmla="*/ 21 w 33"/>
                  <a:gd name="T9" fmla="*/ 14 h 145"/>
                  <a:gd name="T10" fmla="*/ 21 w 33"/>
                  <a:gd name="T11" fmla="*/ 11 h 145"/>
                  <a:gd name="T12" fmla="*/ 17 w 33"/>
                  <a:gd name="T13" fmla="*/ 6 h 145"/>
                  <a:gd name="T14" fmla="*/ 12 w 33"/>
                  <a:gd name="T15" fmla="*/ 11 h 145"/>
                  <a:gd name="T16" fmla="*/ 12 w 33"/>
                  <a:gd name="T17" fmla="*/ 14 h 145"/>
                  <a:gd name="T18" fmla="*/ 9 w 33"/>
                  <a:gd name="T19" fmla="*/ 9 h 145"/>
                  <a:gd name="T20" fmla="*/ 9 w 33"/>
                  <a:gd name="T21" fmla="*/ 0 h 145"/>
                  <a:gd name="T22" fmla="*/ 0 w 33"/>
                  <a:gd name="T23" fmla="*/ 0 h 145"/>
                  <a:gd name="T24" fmla="*/ 0 w 33"/>
                  <a:gd name="T25" fmla="*/ 9 h 145"/>
                  <a:gd name="T26" fmla="*/ 12 w 33"/>
                  <a:gd name="T27" fmla="*/ 24 h 145"/>
                  <a:gd name="T28" fmla="*/ 12 w 33"/>
                  <a:gd name="T29" fmla="*/ 37 h 145"/>
                  <a:gd name="T30" fmla="*/ 0 w 33"/>
                  <a:gd name="T31" fmla="*/ 53 h 145"/>
                  <a:gd name="T32" fmla="*/ 0 w 33"/>
                  <a:gd name="T33" fmla="*/ 68 h 145"/>
                  <a:gd name="T34" fmla="*/ 12 w 33"/>
                  <a:gd name="T35" fmla="*/ 84 h 145"/>
                  <a:gd name="T36" fmla="*/ 12 w 33"/>
                  <a:gd name="T37" fmla="*/ 97 h 145"/>
                  <a:gd name="T38" fmla="*/ 0 w 33"/>
                  <a:gd name="T39" fmla="*/ 113 h 145"/>
                  <a:gd name="T40" fmla="*/ 0 w 33"/>
                  <a:gd name="T41" fmla="*/ 128 h 145"/>
                  <a:gd name="T42" fmla="*/ 17 w 33"/>
                  <a:gd name="T43" fmla="*/ 145 h 145"/>
                  <a:gd name="T44" fmla="*/ 33 w 33"/>
                  <a:gd name="T45" fmla="*/ 128 h 145"/>
                  <a:gd name="T46" fmla="*/ 33 w 33"/>
                  <a:gd name="T47" fmla="*/ 113 h 145"/>
                  <a:gd name="T48" fmla="*/ 21 w 33"/>
                  <a:gd name="T49" fmla="*/ 97 h 145"/>
                  <a:gd name="T50" fmla="*/ 21 w 33"/>
                  <a:gd name="T51" fmla="*/ 84 h 145"/>
                  <a:gd name="T52" fmla="*/ 33 w 33"/>
                  <a:gd name="T53" fmla="*/ 68 h 145"/>
                  <a:gd name="T54" fmla="*/ 33 w 33"/>
                  <a:gd name="T55" fmla="*/ 53 h 145"/>
                  <a:gd name="T56" fmla="*/ 21 w 33"/>
                  <a:gd name="T57" fmla="*/ 37 h 145"/>
                  <a:gd name="T58" fmla="*/ 21 w 33"/>
                  <a:gd name="T59" fmla="*/ 24 h 145"/>
                  <a:gd name="T60" fmla="*/ 33 w 33"/>
                  <a:gd name="T61" fmla="*/ 9 h 145"/>
                  <a:gd name="T62" fmla="*/ 24 w 33"/>
                  <a:gd name="T63" fmla="*/ 113 h 145"/>
                  <a:gd name="T64" fmla="*/ 24 w 33"/>
                  <a:gd name="T65" fmla="*/ 128 h 145"/>
                  <a:gd name="T66" fmla="*/ 17 w 33"/>
                  <a:gd name="T67" fmla="*/ 135 h 145"/>
                  <a:gd name="T68" fmla="*/ 9 w 33"/>
                  <a:gd name="T69" fmla="*/ 128 h 145"/>
                  <a:gd name="T70" fmla="*/ 9 w 33"/>
                  <a:gd name="T71" fmla="*/ 113 h 145"/>
                  <a:gd name="T72" fmla="*/ 12 w 33"/>
                  <a:gd name="T73" fmla="*/ 107 h 145"/>
                  <a:gd name="T74" fmla="*/ 12 w 33"/>
                  <a:gd name="T75" fmla="*/ 110 h 145"/>
                  <a:gd name="T76" fmla="*/ 17 w 33"/>
                  <a:gd name="T77" fmla="*/ 114 h 145"/>
                  <a:gd name="T78" fmla="*/ 21 w 33"/>
                  <a:gd name="T79" fmla="*/ 110 h 145"/>
                  <a:gd name="T80" fmla="*/ 21 w 33"/>
                  <a:gd name="T81" fmla="*/ 107 h 145"/>
                  <a:gd name="T82" fmla="*/ 24 w 33"/>
                  <a:gd name="T83" fmla="*/ 113 h 145"/>
                  <a:gd name="T84" fmla="*/ 24 w 33"/>
                  <a:gd name="T85" fmla="*/ 53 h 145"/>
                  <a:gd name="T86" fmla="*/ 24 w 33"/>
                  <a:gd name="T87" fmla="*/ 68 h 145"/>
                  <a:gd name="T88" fmla="*/ 21 w 33"/>
                  <a:gd name="T89" fmla="*/ 74 h 145"/>
                  <a:gd name="T90" fmla="*/ 21 w 33"/>
                  <a:gd name="T91" fmla="*/ 71 h 145"/>
                  <a:gd name="T92" fmla="*/ 17 w 33"/>
                  <a:gd name="T93" fmla="*/ 66 h 145"/>
                  <a:gd name="T94" fmla="*/ 12 w 33"/>
                  <a:gd name="T95" fmla="*/ 71 h 145"/>
                  <a:gd name="T96" fmla="*/ 12 w 33"/>
                  <a:gd name="T97" fmla="*/ 74 h 145"/>
                  <a:gd name="T98" fmla="*/ 9 w 33"/>
                  <a:gd name="T99" fmla="*/ 68 h 145"/>
                  <a:gd name="T100" fmla="*/ 9 w 33"/>
                  <a:gd name="T101" fmla="*/ 53 h 145"/>
                  <a:gd name="T102" fmla="*/ 12 w 33"/>
                  <a:gd name="T103" fmla="*/ 48 h 145"/>
                  <a:gd name="T104" fmla="*/ 12 w 33"/>
                  <a:gd name="T105" fmla="*/ 50 h 145"/>
                  <a:gd name="T106" fmla="*/ 17 w 33"/>
                  <a:gd name="T107" fmla="*/ 55 h 145"/>
                  <a:gd name="T108" fmla="*/ 21 w 33"/>
                  <a:gd name="T109" fmla="*/ 50 h 145"/>
                  <a:gd name="T110" fmla="*/ 21 w 33"/>
                  <a:gd name="T111" fmla="*/ 48 h 145"/>
                  <a:gd name="T112" fmla="*/ 24 w 33"/>
                  <a:gd name="T113" fmla="*/ 5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" h="145">
                    <a:moveTo>
                      <a:pt x="33" y="9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4" y="11"/>
                      <a:pt x="23" y="13"/>
                      <a:pt x="21" y="14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8"/>
                      <a:pt x="19" y="6"/>
                      <a:pt x="17" y="6"/>
                    </a:cubicBezTo>
                    <a:cubicBezTo>
                      <a:pt x="14" y="6"/>
                      <a:pt x="12" y="8"/>
                      <a:pt x="12" y="11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0" y="13"/>
                      <a:pt x="9" y="11"/>
                      <a:pt x="9" y="9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6"/>
                      <a:pt x="5" y="22"/>
                      <a:pt x="12" y="24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5" y="39"/>
                      <a:pt x="0" y="46"/>
                      <a:pt x="0" y="53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6"/>
                      <a:pt x="5" y="82"/>
                      <a:pt x="12" y="84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5" y="99"/>
                      <a:pt x="0" y="105"/>
                      <a:pt x="0" y="113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7"/>
                      <a:pt x="7" y="145"/>
                      <a:pt x="17" y="145"/>
                    </a:cubicBezTo>
                    <a:cubicBezTo>
                      <a:pt x="26" y="145"/>
                      <a:pt x="33" y="137"/>
                      <a:pt x="33" y="128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3" y="105"/>
                      <a:pt x="28" y="99"/>
                      <a:pt x="21" y="97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8" y="82"/>
                      <a:pt x="33" y="76"/>
                      <a:pt x="33" y="68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46"/>
                      <a:pt x="28" y="39"/>
                      <a:pt x="21" y="37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8" y="22"/>
                      <a:pt x="33" y="16"/>
                      <a:pt x="33" y="9"/>
                    </a:cubicBezTo>
                    <a:close/>
                    <a:moveTo>
                      <a:pt x="24" y="113"/>
                    </a:moveTo>
                    <a:cubicBezTo>
                      <a:pt x="24" y="128"/>
                      <a:pt x="24" y="128"/>
                      <a:pt x="24" y="128"/>
                    </a:cubicBezTo>
                    <a:cubicBezTo>
                      <a:pt x="24" y="132"/>
                      <a:pt x="21" y="135"/>
                      <a:pt x="17" y="135"/>
                    </a:cubicBezTo>
                    <a:cubicBezTo>
                      <a:pt x="13" y="135"/>
                      <a:pt x="9" y="132"/>
                      <a:pt x="9" y="128"/>
                    </a:cubicBezTo>
                    <a:cubicBezTo>
                      <a:pt x="9" y="113"/>
                      <a:pt x="9" y="113"/>
                      <a:pt x="9" y="113"/>
                    </a:cubicBezTo>
                    <a:cubicBezTo>
                      <a:pt x="9" y="111"/>
                      <a:pt x="10" y="109"/>
                      <a:pt x="12" y="107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2" y="112"/>
                      <a:pt x="14" y="114"/>
                      <a:pt x="17" y="114"/>
                    </a:cubicBezTo>
                    <a:cubicBezTo>
                      <a:pt x="19" y="114"/>
                      <a:pt x="21" y="112"/>
                      <a:pt x="21" y="110"/>
                    </a:cubicBezTo>
                    <a:cubicBezTo>
                      <a:pt x="21" y="107"/>
                      <a:pt x="21" y="107"/>
                      <a:pt x="21" y="107"/>
                    </a:cubicBezTo>
                    <a:cubicBezTo>
                      <a:pt x="23" y="109"/>
                      <a:pt x="24" y="111"/>
                      <a:pt x="24" y="113"/>
                    </a:cubicBezTo>
                    <a:close/>
                    <a:moveTo>
                      <a:pt x="24" y="53"/>
                    </a:moveTo>
                    <a:cubicBezTo>
                      <a:pt x="24" y="68"/>
                      <a:pt x="24" y="68"/>
                      <a:pt x="24" y="68"/>
                    </a:cubicBezTo>
                    <a:cubicBezTo>
                      <a:pt x="24" y="71"/>
                      <a:pt x="23" y="73"/>
                      <a:pt x="21" y="74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21" y="68"/>
                      <a:pt x="19" y="66"/>
                      <a:pt x="17" y="66"/>
                    </a:cubicBezTo>
                    <a:cubicBezTo>
                      <a:pt x="14" y="66"/>
                      <a:pt x="12" y="68"/>
                      <a:pt x="12" y="71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0" y="73"/>
                      <a:pt x="9" y="71"/>
                      <a:pt x="9" y="68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9" y="51"/>
                      <a:pt x="10" y="49"/>
                      <a:pt x="12" y="4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3"/>
                      <a:pt x="14" y="55"/>
                      <a:pt x="17" y="55"/>
                    </a:cubicBezTo>
                    <a:cubicBezTo>
                      <a:pt x="19" y="55"/>
                      <a:pt x="21" y="53"/>
                      <a:pt x="21" y="50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3" y="49"/>
                      <a:pt x="24" y="51"/>
                      <a:pt x="24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7">
                <a:extLst>
                  <a:ext uri="{FF2B5EF4-FFF2-40B4-BE49-F238E27FC236}">
                    <a16:creationId xmlns:a16="http://schemas.microsoft.com/office/drawing/2014/main" id="{28FA611E-8364-448E-B638-638501EB2EAE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7799388" y="-178593"/>
                <a:ext cx="96837" cy="430213"/>
              </a:xfrm>
              <a:custGeom>
                <a:avLst/>
                <a:gdLst>
                  <a:gd name="T0" fmla="*/ 33 w 33"/>
                  <a:gd name="T1" fmla="*/ 9 h 145"/>
                  <a:gd name="T2" fmla="*/ 33 w 33"/>
                  <a:gd name="T3" fmla="*/ 0 h 145"/>
                  <a:gd name="T4" fmla="*/ 24 w 33"/>
                  <a:gd name="T5" fmla="*/ 0 h 145"/>
                  <a:gd name="T6" fmla="*/ 24 w 33"/>
                  <a:gd name="T7" fmla="*/ 9 h 145"/>
                  <a:gd name="T8" fmla="*/ 21 w 33"/>
                  <a:gd name="T9" fmla="*/ 14 h 145"/>
                  <a:gd name="T10" fmla="*/ 21 w 33"/>
                  <a:gd name="T11" fmla="*/ 11 h 145"/>
                  <a:gd name="T12" fmla="*/ 17 w 33"/>
                  <a:gd name="T13" fmla="*/ 6 h 145"/>
                  <a:gd name="T14" fmla="*/ 12 w 33"/>
                  <a:gd name="T15" fmla="*/ 11 h 145"/>
                  <a:gd name="T16" fmla="*/ 12 w 33"/>
                  <a:gd name="T17" fmla="*/ 14 h 145"/>
                  <a:gd name="T18" fmla="*/ 9 w 33"/>
                  <a:gd name="T19" fmla="*/ 9 h 145"/>
                  <a:gd name="T20" fmla="*/ 9 w 33"/>
                  <a:gd name="T21" fmla="*/ 0 h 145"/>
                  <a:gd name="T22" fmla="*/ 0 w 33"/>
                  <a:gd name="T23" fmla="*/ 0 h 145"/>
                  <a:gd name="T24" fmla="*/ 0 w 33"/>
                  <a:gd name="T25" fmla="*/ 9 h 145"/>
                  <a:gd name="T26" fmla="*/ 12 w 33"/>
                  <a:gd name="T27" fmla="*/ 24 h 145"/>
                  <a:gd name="T28" fmla="*/ 12 w 33"/>
                  <a:gd name="T29" fmla="*/ 37 h 145"/>
                  <a:gd name="T30" fmla="*/ 0 w 33"/>
                  <a:gd name="T31" fmla="*/ 53 h 145"/>
                  <a:gd name="T32" fmla="*/ 0 w 33"/>
                  <a:gd name="T33" fmla="*/ 68 h 145"/>
                  <a:gd name="T34" fmla="*/ 12 w 33"/>
                  <a:gd name="T35" fmla="*/ 84 h 145"/>
                  <a:gd name="T36" fmla="*/ 12 w 33"/>
                  <a:gd name="T37" fmla="*/ 97 h 145"/>
                  <a:gd name="T38" fmla="*/ 0 w 33"/>
                  <a:gd name="T39" fmla="*/ 113 h 145"/>
                  <a:gd name="T40" fmla="*/ 0 w 33"/>
                  <a:gd name="T41" fmla="*/ 128 h 145"/>
                  <a:gd name="T42" fmla="*/ 17 w 33"/>
                  <a:gd name="T43" fmla="*/ 145 h 145"/>
                  <a:gd name="T44" fmla="*/ 33 w 33"/>
                  <a:gd name="T45" fmla="*/ 128 h 145"/>
                  <a:gd name="T46" fmla="*/ 33 w 33"/>
                  <a:gd name="T47" fmla="*/ 113 h 145"/>
                  <a:gd name="T48" fmla="*/ 21 w 33"/>
                  <a:gd name="T49" fmla="*/ 97 h 145"/>
                  <a:gd name="T50" fmla="*/ 21 w 33"/>
                  <a:gd name="T51" fmla="*/ 84 h 145"/>
                  <a:gd name="T52" fmla="*/ 33 w 33"/>
                  <a:gd name="T53" fmla="*/ 68 h 145"/>
                  <a:gd name="T54" fmla="*/ 33 w 33"/>
                  <a:gd name="T55" fmla="*/ 53 h 145"/>
                  <a:gd name="T56" fmla="*/ 21 w 33"/>
                  <a:gd name="T57" fmla="*/ 37 h 145"/>
                  <a:gd name="T58" fmla="*/ 21 w 33"/>
                  <a:gd name="T59" fmla="*/ 24 h 145"/>
                  <a:gd name="T60" fmla="*/ 33 w 33"/>
                  <a:gd name="T61" fmla="*/ 9 h 145"/>
                  <a:gd name="T62" fmla="*/ 24 w 33"/>
                  <a:gd name="T63" fmla="*/ 113 h 145"/>
                  <a:gd name="T64" fmla="*/ 24 w 33"/>
                  <a:gd name="T65" fmla="*/ 128 h 145"/>
                  <a:gd name="T66" fmla="*/ 17 w 33"/>
                  <a:gd name="T67" fmla="*/ 135 h 145"/>
                  <a:gd name="T68" fmla="*/ 9 w 33"/>
                  <a:gd name="T69" fmla="*/ 128 h 145"/>
                  <a:gd name="T70" fmla="*/ 9 w 33"/>
                  <a:gd name="T71" fmla="*/ 113 h 145"/>
                  <a:gd name="T72" fmla="*/ 12 w 33"/>
                  <a:gd name="T73" fmla="*/ 107 h 145"/>
                  <a:gd name="T74" fmla="*/ 12 w 33"/>
                  <a:gd name="T75" fmla="*/ 110 h 145"/>
                  <a:gd name="T76" fmla="*/ 17 w 33"/>
                  <a:gd name="T77" fmla="*/ 114 h 145"/>
                  <a:gd name="T78" fmla="*/ 21 w 33"/>
                  <a:gd name="T79" fmla="*/ 110 h 145"/>
                  <a:gd name="T80" fmla="*/ 21 w 33"/>
                  <a:gd name="T81" fmla="*/ 107 h 145"/>
                  <a:gd name="T82" fmla="*/ 24 w 33"/>
                  <a:gd name="T83" fmla="*/ 113 h 145"/>
                  <a:gd name="T84" fmla="*/ 24 w 33"/>
                  <a:gd name="T85" fmla="*/ 53 h 145"/>
                  <a:gd name="T86" fmla="*/ 24 w 33"/>
                  <a:gd name="T87" fmla="*/ 68 h 145"/>
                  <a:gd name="T88" fmla="*/ 21 w 33"/>
                  <a:gd name="T89" fmla="*/ 74 h 145"/>
                  <a:gd name="T90" fmla="*/ 21 w 33"/>
                  <a:gd name="T91" fmla="*/ 71 h 145"/>
                  <a:gd name="T92" fmla="*/ 17 w 33"/>
                  <a:gd name="T93" fmla="*/ 66 h 145"/>
                  <a:gd name="T94" fmla="*/ 12 w 33"/>
                  <a:gd name="T95" fmla="*/ 71 h 145"/>
                  <a:gd name="T96" fmla="*/ 12 w 33"/>
                  <a:gd name="T97" fmla="*/ 74 h 145"/>
                  <a:gd name="T98" fmla="*/ 9 w 33"/>
                  <a:gd name="T99" fmla="*/ 68 h 145"/>
                  <a:gd name="T100" fmla="*/ 9 w 33"/>
                  <a:gd name="T101" fmla="*/ 53 h 145"/>
                  <a:gd name="T102" fmla="*/ 12 w 33"/>
                  <a:gd name="T103" fmla="*/ 48 h 145"/>
                  <a:gd name="T104" fmla="*/ 12 w 33"/>
                  <a:gd name="T105" fmla="*/ 50 h 145"/>
                  <a:gd name="T106" fmla="*/ 17 w 33"/>
                  <a:gd name="T107" fmla="*/ 55 h 145"/>
                  <a:gd name="T108" fmla="*/ 21 w 33"/>
                  <a:gd name="T109" fmla="*/ 50 h 145"/>
                  <a:gd name="T110" fmla="*/ 21 w 33"/>
                  <a:gd name="T111" fmla="*/ 48 h 145"/>
                  <a:gd name="T112" fmla="*/ 24 w 33"/>
                  <a:gd name="T113" fmla="*/ 5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" h="145">
                    <a:moveTo>
                      <a:pt x="33" y="9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4" y="11"/>
                      <a:pt x="23" y="13"/>
                      <a:pt x="21" y="14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8"/>
                      <a:pt x="19" y="6"/>
                      <a:pt x="17" y="6"/>
                    </a:cubicBezTo>
                    <a:cubicBezTo>
                      <a:pt x="14" y="6"/>
                      <a:pt x="12" y="8"/>
                      <a:pt x="12" y="11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0" y="13"/>
                      <a:pt x="9" y="11"/>
                      <a:pt x="9" y="9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6"/>
                      <a:pt x="5" y="22"/>
                      <a:pt x="12" y="24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5" y="39"/>
                      <a:pt x="0" y="46"/>
                      <a:pt x="0" y="53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6"/>
                      <a:pt x="5" y="82"/>
                      <a:pt x="12" y="84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5" y="99"/>
                      <a:pt x="0" y="105"/>
                      <a:pt x="0" y="113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7"/>
                      <a:pt x="7" y="145"/>
                      <a:pt x="17" y="145"/>
                    </a:cubicBezTo>
                    <a:cubicBezTo>
                      <a:pt x="26" y="145"/>
                      <a:pt x="33" y="137"/>
                      <a:pt x="33" y="128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3" y="105"/>
                      <a:pt x="28" y="99"/>
                      <a:pt x="21" y="97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28" y="82"/>
                      <a:pt x="33" y="76"/>
                      <a:pt x="33" y="68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46"/>
                      <a:pt x="28" y="39"/>
                      <a:pt x="21" y="37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8" y="22"/>
                      <a:pt x="33" y="16"/>
                      <a:pt x="33" y="9"/>
                    </a:cubicBezTo>
                    <a:close/>
                    <a:moveTo>
                      <a:pt x="24" y="113"/>
                    </a:moveTo>
                    <a:cubicBezTo>
                      <a:pt x="24" y="128"/>
                      <a:pt x="24" y="128"/>
                      <a:pt x="24" y="128"/>
                    </a:cubicBezTo>
                    <a:cubicBezTo>
                      <a:pt x="24" y="132"/>
                      <a:pt x="21" y="135"/>
                      <a:pt x="17" y="135"/>
                    </a:cubicBezTo>
                    <a:cubicBezTo>
                      <a:pt x="13" y="135"/>
                      <a:pt x="9" y="132"/>
                      <a:pt x="9" y="128"/>
                    </a:cubicBezTo>
                    <a:cubicBezTo>
                      <a:pt x="9" y="113"/>
                      <a:pt x="9" y="113"/>
                      <a:pt x="9" y="113"/>
                    </a:cubicBezTo>
                    <a:cubicBezTo>
                      <a:pt x="9" y="111"/>
                      <a:pt x="10" y="109"/>
                      <a:pt x="12" y="107"/>
                    </a:cubicBezTo>
                    <a:cubicBezTo>
                      <a:pt x="12" y="110"/>
                      <a:pt x="12" y="110"/>
                      <a:pt x="12" y="110"/>
                    </a:cubicBezTo>
                    <a:cubicBezTo>
                      <a:pt x="12" y="112"/>
                      <a:pt x="14" y="114"/>
                      <a:pt x="17" y="114"/>
                    </a:cubicBezTo>
                    <a:cubicBezTo>
                      <a:pt x="19" y="114"/>
                      <a:pt x="21" y="112"/>
                      <a:pt x="21" y="110"/>
                    </a:cubicBezTo>
                    <a:cubicBezTo>
                      <a:pt x="21" y="107"/>
                      <a:pt x="21" y="107"/>
                      <a:pt x="21" y="107"/>
                    </a:cubicBezTo>
                    <a:cubicBezTo>
                      <a:pt x="23" y="109"/>
                      <a:pt x="24" y="111"/>
                      <a:pt x="24" y="113"/>
                    </a:cubicBezTo>
                    <a:close/>
                    <a:moveTo>
                      <a:pt x="24" y="53"/>
                    </a:moveTo>
                    <a:cubicBezTo>
                      <a:pt x="24" y="68"/>
                      <a:pt x="24" y="68"/>
                      <a:pt x="24" y="68"/>
                    </a:cubicBezTo>
                    <a:cubicBezTo>
                      <a:pt x="24" y="71"/>
                      <a:pt x="23" y="73"/>
                      <a:pt x="21" y="74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21" y="68"/>
                      <a:pt x="19" y="66"/>
                      <a:pt x="17" y="66"/>
                    </a:cubicBezTo>
                    <a:cubicBezTo>
                      <a:pt x="14" y="66"/>
                      <a:pt x="12" y="68"/>
                      <a:pt x="12" y="71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0" y="73"/>
                      <a:pt x="9" y="71"/>
                      <a:pt x="9" y="68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9" y="51"/>
                      <a:pt x="10" y="49"/>
                      <a:pt x="12" y="4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2" y="53"/>
                      <a:pt x="14" y="55"/>
                      <a:pt x="17" y="55"/>
                    </a:cubicBezTo>
                    <a:cubicBezTo>
                      <a:pt x="19" y="55"/>
                      <a:pt x="21" y="53"/>
                      <a:pt x="21" y="50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3" y="49"/>
                      <a:pt x="24" y="51"/>
                      <a:pt x="24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17987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TM_Partnerships_Title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" name="Group 4">
            <a:extLst>
              <a:ext uri="{FF2B5EF4-FFF2-40B4-BE49-F238E27FC236}">
                <a16:creationId xmlns:a16="http://schemas.microsoft.com/office/drawing/2014/main" id="{901091B3-ACD0-492D-ABA0-E3942439BB52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6624638" y="1409700"/>
            <a:ext cx="5010150" cy="4038600"/>
            <a:chOff x="4173" y="888"/>
            <a:chExt cx="3156" cy="2544"/>
          </a:xfrm>
        </p:grpSpPr>
        <p:sp>
          <p:nvSpPr>
            <p:cNvPr id="142" name="Freeform 5">
              <a:extLst>
                <a:ext uri="{FF2B5EF4-FFF2-40B4-BE49-F238E27FC236}">
                  <a16:creationId xmlns:a16="http://schemas.microsoft.com/office/drawing/2014/main" id="{536A20EA-13B4-4137-A6A0-4B11C73D4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38" y="2504"/>
              <a:ext cx="386" cy="299"/>
            </a:xfrm>
            <a:custGeom>
              <a:avLst/>
              <a:gdLst>
                <a:gd name="T0" fmla="*/ 174 w 197"/>
                <a:gd name="T1" fmla="*/ 153 h 153"/>
                <a:gd name="T2" fmla="*/ 22 w 197"/>
                <a:gd name="T3" fmla="*/ 153 h 153"/>
                <a:gd name="T4" fmla="*/ 0 w 197"/>
                <a:gd name="T5" fmla="*/ 130 h 153"/>
                <a:gd name="T6" fmla="*/ 0 w 197"/>
                <a:gd name="T7" fmla="*/ 22 h 153"/>
                <a:gd name="T8" fmla="*/ 22 w 197"/>
                <a:gd name="T9" fmla="*/ 0 h 153"/>
                <a:gd name="T10" fmla="*/ 174 w 197"/>
                <a:gd name="T11" fmla="*/ 0 h 153"/>
                <a:gd name="T12" fmla="*/ 197 w 197"/>
                <a:gd name="T13" fmla="*/ 22 h 153"/>
                <a:gd name="T14" fmla="*/ 197 w 197"/>
                <a:gd name="T15" fmla="*/ 130 h 153"/>
                <a:gd name="T16" fmla="*/ 174 w 197"/>
                <a:gd name="T17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" h="153">
                  <a:moveTo>
                    <a:pt x="174" y="153"/>
                  </a:moveTo>
                  <a:cubicBezTo>
                    <a:pt x="22" y="153"/>
                    <a:pt x="22" y="153"/>
                    <a:pt x="22" y="153"/>
                  </a:cubicBezTo>
                  <a:cubicBezTo>
                    <a:pt x="10" y="153"/>
                    <a:pt x="0" y="143"/>
                    <a:pt x="0" y="13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87" y="0"/>
                    <a:pt x="197" y="10"/>
                    <a:pt x="197" y="22"/>
                  </a:cubicBezTo>
                  <a:cubicBezTo>
                    <a:pt x="197" y="130"/>
                    <a:pt x="197" y="130"/>
                    <a:pt x="197" y="130"/>
                  </a:cubicBezTo>
                  <a:cubicBezTo>
                    <a:pt x="197" y="143"/>
                    <a:pt x="187" y="153"/>
                    <a:pt x="174" y="153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6">
              <a:extLst>
                <a:ext uri="{FF2B5EF4-FFF2-40B4-BE49-F238E27FC236}">
                  <a16:creationId xmlns:a16="http://schemas.microsoft.com/office/drawing/2014/main" id="{8F790A59-660A-42A0-8B35-0B1C31F9F9B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40" y="2553"/>
              <a:ext cx="182" cy="190"/>
            </a:xfrm>
            <a:custGeom>
              <a:avLst/>
              <a:gdLst>
                <a:gd name="T0" fmla="*/ 66 w 93"/>
                <a:gd name="T1" fmla="*/ 54 h 97"/>
                <a:gd name="T2" fmla="*/ 77 w 93"/>
                <a:gd name="T3" fmla="*/ 31 h 97"/>
                <a:gd name="T4" fmla="*/ 46 w 93"/>
                <a:gd name="T5" fmla="*/ 0 h 97"/>
                <a:gd name="T6" fmla="*/ 16 w 93"/>
                <a:gd name="T7" fmla="*/ 31 h 97"/>
                <a:gd name="T8" fmla="*/ 27 w 93"/>
                <a:gd name="T9" fmla="*/ 54 h 97"/>
                <a:gd name="T10" fmla="*/ 0 w 93"/>
                <a:gd name="T11" fmla="*/ 97 h 97"/>
                <a:gd name="T12" fmla="*/ 11 w 93"/>
                <a:gd name="T13" fmla="*/ 97 h 97"/>
                <a:gd name="T14" fmla="*/ 46 w 93"/>
                <a:gd name="T15" fmla="*/ 61 h 97"/>
                <a:gd name="T16" fmla="*/ 82 w 93"/>
                <a:gd name="T17" fmla="*/ 97 h 97"/>
                <a:gd name="T18" fmla="*/ 93 w 93"/>
                <a:gd name="T19" fmla="*/ 97 h 97"/>
                <a:gd name="T20" fmla="*/ 66 w 93"/>
                <a:gd name="T21" fmla="*/ 54 h 97"/>
                <a:gd name="T22" fmla="*/ 27 w 93"/>
                <a:gd name="T23" fmla="*/ 31 h 97"/>
                <a:gd name="T24" fmla="*/ 46 w 93"/>
                <a:gd name="T25" fmla="*/ 12 h 97"/>
                <a:gd name="T26" fmla="*/ 65 w 93"/>
                <a:gd name="T27" fmla="*/ 31 h 97"/>
                <a:gd name="T28" fmla="*/ 46 w 93"/>
                <a:gd name="T29" fmla="*/ 50 h 97"/>
                <a:gd name="T30" fmla="*/ 27 w 93"/>
                <a:gd name="T31" fmla="*/ 3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3" h="97">
                  <a:moveTo>
                    <a:pt x="66" y="54"/>
                  </a:moveTo>
                  <a:cubicBezTo>
                    <a:pt x="73" y="48"/>
                    <a:pt x="77" y="40"/>
                    <a:pt x="77" y="31"/>
                  </a:cubicBezTo>
                  <a:cubicBezTo>
                    <a:pt x="77" y="14"/>
                    <a:pt x="63" y="0"/>
                    <a:pt x="46" y="0"/>
                  </a:cubicBezTo>
                  <a:cubicBezTo>
                    <a:pt x="30" y="0"/>
                    <a:pt x="16" y="14"/>
                    <a:pt x="16" y="31"/>
                  </a:cubicBezTo>
                  <a:cubicBezTo>
                    <a:pt x="16" y="40"/>
                    <a:pt x="20" y="48"/>
                    <a:pt x="27" y="54"/>
                  </a:cubicBezTo>
                  <a:cubicBezTo>
                    <a:pt x="11" y="61"/>
                    <a:pt x="0" y="78"/>
                    <a:pt x="0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77"/>
                    <a:pt x="27" y="61"/>
                    <a:pt x="46" y="61"/>
                  </a:cubicBezTo>
                  <a:cubicBezTo>
                    <a:pt x="66" y="61"/>
                    <a:pt x="82" y="77"/>
                    <a:pt x="82" y="97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3" y="78"/>
                    <a:pt x="82" y="61"/>
                    <a:pt x="66" y="54"/>
                  </a:cubicBezTo>
                  <a:close/>
                  <a:moveTo>
                    <a:pt x="27" y="31"/>
                  </a:moveTo>
                  <a:cubicBezTo>
                    <a:pt x="27" y="20"/>
                    <a:pt x="36" y="12"/>
                    <a:pt x="46" y="12"/>
                  </a:cubicBezTo>
                  <a:cubicBezTo>
                    <a:pt x="57" y="12"/>
                    <a:pt x="65" y="20"/>
                    <a:pt x="65" y="31"/>
                  </a:cubicBezTo>
                  <a:cubicBezTo>
                    <a:pt x="65" y="41"/>
                    <a:pt x="57" y="50"/>
                    <a:pt x="46" y="50"/>
                  </a:cubicBezTo>
                  <a:cubicBezTo>
                    <a:pt x="36" y="50"/>
                    <a:pt x="27" y="41"/>
                    <a:pt x="27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Oval 7">
              <a:extLst>
                <a:ext uri="{FF2B5EF4-FFF2-40B4-BE49-F238E27FC236}">
                  <a16:creationId xmlns:a16="http://schemas.microsoft.com/office/drawing/2014/main" id="{3C04F4A1-E084-4BD8-B9F1-EF1F0482630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836" y="2051"/>
              <a:ext cx="68" cy="6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Oval 8">
              <a:extLst>
                <a:ext uri="{FF2B5EF4-FFF2-40B4-BE49-F238E27FC236}">
                  <a16:creationId xmlns:a16="http://schemas.microsoft.com/office/drawing/2014/main" id="{C639A854-AD32-4652-B64B-525D9ED5F2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527" y="3111"/>
              <a:ext cx="39" cy="3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Oval 9">
              <a:extLst>
                <a:ext uri="{FF2B5EF4-FFF2-40B4-BE49-F238E27FC236}">
                  <a16:creationId xmlns:a16="http://schemas.microsoft.com/office/drawing/2014/main" id="{ACA75715-B8E9-4986-AFEF-CBD8D525B8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54" y="3072"/>
              <a:ext cx="39" cy="3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Oval 10">
              <a:extLst>
                <a:ext uri="{FF2B5EF4-FFF2-40B4-BE49-F238E27FC236}">
                  <a16:creationId xmlns:a16="http://schemas.microsoft.com/office/drawing/2014/main" id="{E9949BA3-0E76-4736-A246-A5FB22EC12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90" y="1338"/>
              <a:ext cx="53" cy="5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Oval 11">
              <a:extLst>
                <a:ext uri="{FF2B5EF4-FFF2-40B4-BE49-F238E27FC236}">
                  <a16:creationId xmlns:a16="http://schemas.microsoft.com/office/drawing/2014/main" id="{0C3D9A90-44EE-413C-AAA6-541ED22CFAD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00" y="1791"/>
              <a:ext cx="61" cy="6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Oval 12">
              <a:extLst>
                <a:ext uri="{FF2B5EF4-FFF2-40B4-BE49-F238E27FC236}">
                  <a16:creationId xmlns:a16="http://schemas.microsoft.com/office/drawing/2014/main" id="{18895D1F-0277-4A4E-96C5-624DBB10C83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57" y="2480"/>
              <a:ext cx="60" cy="6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Oval 13">
              <a:extLst>
                <a:ext uri="{FF2B5EF4-FFF2-40B4-BE49-F238E27FC236}">
                  <a16:creationId xmlns:a16="http://schemas.microsoft.com/office/drawing/2014/main" id="{2395FDAF-DBF0-4CA1-9494-F5717645851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42" y="2510"/>
              <a:ext cx="55" cy="5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4">
              <a:extLst>
                <a:ext uri="{FF2B5EF4-FFF2-40B4-BE49-F238E27FC236}">
                  <a16:creationId xmlns:a16="http://schemas.microsoft.com/office/drawing/2014/main" id="{8CD8A928-DF52-447E-8EA1-B3301C61432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93" y="888"/>
              <a:ext cx="158" cy="155"/>
            </a:xfrm>
            <a:custGeom>
              <a:avLst/>
              <a:gdLst>
                <a:gd name="T0" fmla="*/ 40 w 81"/>
                <a:gd name="T1" fmla="*/ 79 h 79"/>
                <a:gd name="T2" fmla="*/ 0 w 81"/>
                <a:gd name="T3" fmla="*/ 40 h 79"/>
                <a:gd name="T4" fmla="*/ 40 w 81"/>
                <a:gd name="T5" fmla="*/ 0 h 79"/>
                <a:gd name="T6" fmla="*/ 81 w 81"/>
                <a:gd name="T7" fmla="*/ 40 h 79"/>
                <a:gd name="T8" fmla="*/ 40 w 81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79">
                  <a:moveTo>
                    <a:pt x="40" y="79"/>
                  </a:moveTo>
                  <a:cubicBezTo>
                    <a:pt x="36" y="59"/>
                    <a:pt x="20" y="44"/>
                    <a:pt x="0" y="40"/>
                  </a:cubicBezTo>
                  <a:cubicBezTo>
                    <a:pt x="20" y="36"/>
                    <a:pt x="36" y="20"/>
                    <a:pt x="40" y="0"/>
                  </a:cubicBezTo>
                  <a:cubicBezTo>
                    <a:pt x="45" y="20"/>
                    <a:pt x="61" y="36"/>
                    <a:pt x="81" y="40"/>
                  </a:cubicBezTo>
                  <a:cubicBezTo>
                    <a:pt x="61" y="44"/>
                    <a:pt x="45" y="59"/>
                    <a:pt x="40" y="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5">
              <a:extLst>
                <a:ext uri="{FF2B5EF4-FFF2-40B4-BE49-F238E27FC236}">
                  <a16:creationId xmlns:a16="http://schemas.microsoft.com/office/drawing/2014/main" id="{0C51ED56-12A6-4493-ABF3-A8A5487812BE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3" y="2970"/>
              <a:ext cx="113" cy="111"/>
            </a:xfrm>
            <a:custGeom>
              <a:avLst/>
              <a:gdLst>
                <a:gd name="T0" fmla="*/ 29 w 58"/>
                <a:gd name="T1" fmla="*/ 57 h 57"/>
                <a:gd name="T2" fmla="*/ 0 w 58"/>
                <a:gd name="T3" fmla="*/ 29 h 57"/>
                <a:gd name="T4" fmla="*/ 29 w 58"/>
                <a:gd name="T5" fmla="*/ 0 h 57"/>
                <a:gd name="T6" fmla="*/ 58 w 58"/>
                <a:gd name="T7" fmla="*/ 29 h 57"/>
                <a:gd name="T8" fmla="*/ 29 w 58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7">
                  <a:moveTo>
                    <a:pt x="29" y="57"/>
                  </a:moveTo>
                  <a:cubicBezTo>
                    <a:pt x="25" y="43"/>
                    <a:pt x="14" y="32"/>
                    <a:pt x="0" y="29"/>
                  </a:cubicBezTo>
                  <a:cubicBezTo>
                    <a:pt x="14" y="26"/>
                    <a:pt x="25" y="15"/>
                    <a:pt x="29" y="0"/>
                  </a:cubicBezTo>
                  <a:cubicBezTo>
                    <a:pt x="32" y="15"/>
                    <a:pt x="43" y="26"/>
                    <a:pt x="58" y="29"/>
                  </a:cubicBezTo>
                  <a:cubicBezTo>
                    <a:pt x="43" y="32"/>
                    <a:pt x="32" y="43"/>
                    <a:pt x="29" y="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Oval 16">
              <a:extLst>
                <a:ext uri="{FF2B5EF4-FFF2-40B4-BE49-F238E27FC236}">
                  <a16:creationId xmlns:a16="http://schemas.microsoft.com/office/drawing/2014/main" id="{7C157B34-72A6-47BF-A910-758A8E6B053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73" y="2059"/>
              <a:ext cx="39" cy="3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7">
              <a:extLst>
                <a:ext uri="{FF2B5EF4-FFF2-40B4-BE49-F238E27FC236}">
                  <a16:creationId xmlns:a16="http://schemas.microsoft.com/office/drawing/2014/main" id="{6D572E9C-31E7-4811-8FC1-346C12BB81E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1" y="1924"/>
              <a:ext cx="74" cy="321"/>
            </a:xfrm>
            <a:custGeom>
              <a:avLst/>
              <a:gdLst>
                <a:gd name="T0" fmla="*/ 24 w 38"/>
                <a:gd name="T1" fmla="*/ 0 h 164"/>
                <a:gd name="T2" fmla="*/ 0 w 38"/>
                <a:gd name="T3" fmla="*/ 164 h 164"/>
                <a:gd name="T4" fmla="*/ 13 w 38"/>
                <a:gd name="T5" fmla="*/ 164 h 164"/>
                <a:gd name="T6" fmla="*/ 38 w 38"/>
                <a:gd name="T7" fmla="*/ 0 h 164"/>
                <a:gd name="T8" fmla="*/ 24 w 38"/>
                <a:gd name="T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64">
                  <a:moveTo>
                    <a:pt x="24" y="0"/>
                  </a:moveTo>
                  <a:cubicBezTo>
                    <a:pt x="8" y="52"/>
                    <a:pt x="0" y="107"/>
                    <a:pt x="0" y="164"/>
                  </a:cubicBezTo>
                  <a:cubicBezTo>
                    <a:pt x="13" y="164"/>
                    <a:pt x="13" y="164"/>
                    <a:pt x="13" y="164"/>
                  </a:cubicBezTo>
                  <a:cubicBezTo>
                    <a:pt x="13" y="107"/>
                    <a:pt x="21" y="52"/>
                    <a:pt x="38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Oval 18">
              <a:extLst>
                <a:ext uri="{FF2B5EF4-FFF2-40B4-BE49-F238E27FC236}">
                  <a16:creationId xmlns:a16="http://schemas.microsoft.com/office/drawing/2014/main" id="{CA8724B6-CD54-469F-A245-5DB106862E2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36" y="1581"/>
              <a:ext cx="1326" cy="1326"/>
            </a:xfrm>
            <a:prstGeom prst="ellipse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9">
              <a:extLst>
                <a:ext uri="{FF2B5EF4-FFF2-40B4-BE49-F238E27FC236}">
                  <a16:creationId xmlns:a16="http://schemas.microsoft.com/office/drawing/2014/main" id="{2FB5BDDF-5315-43D2-84B2-E1E1ECBE44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6" y="1579"/>
              <a:ext cx="1097" cy="1126"/>
            </a:xfrm>
            <a:custGeom>
              <a:avLst/>
              <a:gdLst>
                <a:gd name="T0" fmla="*/ 547 w 561"/>
                <a:gd name="T1" fmla="*/ 72 h 575"/>
                <a:gd name="T2" fmla="*/ 339 w 561"/>
                <a:gd name="T3" fmla="*/ 0 h 575"/>
                <a:gd name="T4" fmla="*/ 0 w 561"/>
                <a:gd name="T5" fmla="*/ 340 h 575"/>
                <a:gd name="T6" fmla="*/ 88 w 561"/>
                <a:gd name="T7" fmla="*/ 568 h 575"/>
                <a:gd name="T8" fmla="*/ 123 w 561"/>
                <a:gd name="T9" fmla="*/ 573 h 575"/>
                <a:gd name="T10" fmla="*/ 123 w 561"/>
                <a:gd name="T11" fmla="*/ 503 h 575"/>
                <a:gd name="T12" fmla="*/ 154 w 561"/>
                <a:gd name="T13" fmla="*/ 575 h 575"/>
                <a:gd name="T14" fmla="*/ 163 w 561"/>
                <a:gd name="T15" fmla="*/ 575 h 575"/>
                <a:gd name="T16" fmla="*/ 561 w 561"/>
                <a:gd name="T17" fmla="*/ 177 h 575"/>
                <a:gd name="T18" fmla="*/ 547 w 561"/>
                <a:gd name="T19" fmla="*/ 72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1" h="575">
                  <a:moveTo>
                    <a:pt x="547" y="72"/>
                  </a:moveTo>
                  <a:cubicBezTo>
                    <a:pt x="490" y="27"/>
                    <a:pt x="417" y="0"/>
                    <a:pt x="339" y="0"/>
                  </a:cubicBezTo>
                  <a:cubicBezTo>
                    <a:pt x="152" y="0"/>
                    <a:pt x="0" y="152"/>
                    <a:pt x="0" y="340"/>
                  </a:cubicBezTo>
                  <a:cubicBezTo>
                    <a:pt x="0" y="428"/>
                    <a:pt x="33" y="508"/>
                    <a:pt x="88" y="568"/>
                  </a:cubicBezTo>
                  <a:cubicBezTo>
                    <a:pt x="100" y="570"/>
                    <a:pt x="111" y="572"/>
                    <a:pt x="123" y="573"/>
                  </a:cubicBezTo>
                  <a:cubicBezTo>
                    <a:pt x="123" y="503"/>
                    <a:pt x="123" y="503"/>
                    <a:pt x="123" y="503"/>
                  </a:cubicBezTo>
                  <a:cubicBezTo>
                    <a:pt x="154" y="575"/>
                    <a:pt x="154" y="575"/>
                    <a:pt x="154" y="575"/>
                  </a:cubicBezTo>
                  <a:cubicBezTo>
                    <a:pt x="157" y="575"/>
                    <a:pt x="160" y="575"/>
                    <a:pt x="163" y="575"/>
                  </a:cubicBezTo>
                  <a:cubicBezTo>
                    <a:pt x="383" y="575"/>
                    <a:pt x="561" y="397"/>
                    <a:pt x="561" y="177"/>
                  </a:cubicBezTo>
                  <a:cubicBezTo>
                    <a:pt x="561" y="141"/>
                    <a:pt x="556" y="105"/>
                    <a:pt x="547" y="72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1">
              <a:extLst>
                <a:ext uri="{FF2B5EF4-FFF2-40B4-BE49-F238E27FC236}">
                  <a16:creationId xmlns:a16="http://schemas.microsoft.com/office/drawing/2014/main" id="{9E85D647-515E-403B-8AF5-6D7E4FC46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5" y="2625"/>
              <a:ext cx="208" cy="259"/>
            </a:xfrm>
            <a:custGeom>
              <a:avLst/>
              <a:gdLst>
                <a:gd name="T0" fmla="*/ 2 w 106"/>
                <a:gd name="T1" fmla="*/ 34 h 132"/>
                <a:gd name="T2" fmla="*/ 0 w 106"/>
                <a:gd name="T3" fmla="*/ 43 h 132"/>
                <a:gd name="T4" fmla="*/ 11 w 106"/>
                <a:gd name="T5" fmla="*/ 56 h 132"/>
                <a:gd name="T6" fmla="*/ 11 w 106"/>
                <a:gd name="T7" fmla="*/ 85 h 132"/>
                <a:gd name="T8" fmla="*/ 26 w 106"/>
                <a:gd name="T9" fmla="*/ 115 h 132"/>
                <a:gd name="T10" fmla="*/ 46 w 106"/>
                <a:gd name="T11" fmla="*/ 132 h 132"/>
                <a:gd name="T12" fmla="*/ 67 w 106"/>
                <a:gd name="T13" fmla="*/ 132 h 132"/>
                <a:gd name="T14" fmla="*/ 70 w 106"/>
                <a:gd name="T15" fmla="*/ 124 h 132"/>
                <a:gd name="T16" fmla="*/ 55 w 106"/>
                <a:gd name="T17" fmla="*/ 111 h 132"/>
                <a:gd name="T18" fmla="*/ 58 w 106"/>
                <a:gd name="T19" fmla="*/ 97 h 132"/>
                <a:gd name="T20" fmla="*/ 58 w 106"/>
                <a:gd name="T21" fmla="*/ 89 h 132"/>
                <a:gd name="T22" fmla="*/ 49 w 106"/>
                <a:gd name="T23" fmla="*/ 89 h 132"/>
                <a:gd name="T24" fmla="*/ 43 w 106"/>
                <a:gd name="T25" fmla="*/ 84 h 132"/>
                <a:gd name="T26" fmla="*/ 53 w 106"/>
                <a:gd name="T27" fmla="*/ 74 h 132"/>
                <a:gd name="T28" fmla="*/ 53 w 106"/>
                <a:gd name="T29" fmla="*/ 69 h 132"/>
                <a:gd name="T30" fmla="*/ 44 w 106"/>
                <a:gd name="T31" fmla="*/ 67 h 132"/>
                <a:gd name="T32" fmla="*/ 44 w 106"/>
                <a:gd name="T33" fmla="*/ 61 h 132"/>
                <a:gd name="T34" fmla="*/ 58 w 106"/>
                <a:gd name="T35" fmla="*/ 61 h 132"/>
                <a:gd name="T36" fmla="*/ 79 w 106"/>
                <a:gd name="T37" fmla="*/ 50 h 132"/>
                <a:gd name="T38" fmla="*/ 106 w 106"/>
                <a:gd name="T39" fmla="*/ 9 h 132"/>
                <a:gd name="T40" fmla="*/ 106 w 106"/>
                <a:gd name="T41" fmla="*/ 2 h 132"/>
                <a:gd name="T42" fmla="*/ 105 w 106"/>
                <a:gd name="T43" fmla="*/ 0 h 132"/>
                <a:gd name="T44" fmla="*/ 2 w 106"/>
                <a:gd name="T45" fmla="*/ 3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32">
                  <a:moveTo>
                    <a:pt x="2" y="34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46" y="132"/>
                    <a:pt x="46" y="132"/>
                    <a:pt x="46" y="132"/>
                  </a:cubicBezTo>
                  <a:cubicBezTo>
                    <a:pt x="67" y="132"/>
                    <a:pt x="67" y="132"/>
                    <a:pt x="67" y="132"/>
                  </a:cubicBezTo>
                  <a:cubicBezTo>
                    <a:pt x="70" y="124"/>
                    <a:pt x="70" y="124"/>
                    <a:pt x="70" y="124"/>
                  </a:cubicBezTo>
                  <a:cubicBezTo>
                    <a:pt x="55" y="111"/>
                    <a:pt x="55" y="111"/>
                    <a:pt x="55" y="111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43" y="84"/>
                    <a:pt x="43" y="84"/>
                    <a:pt x="43" y="8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106" y="9"/>
                    <a:pt x="106" y="9"/>
                    <a:pt x="106" y="9"/>
                  </a:cubicBezTo>
                  <a:cubicBezTo>
                    <a:pt x="106" y="2"/>
                    <a:pt x="106" y="2"/>
                    <a:pt x="106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3" y="16"/>
                    <a:pt x="38" y="27"/>
                    <a:pt x="2" y="34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2">
              <a:extLst>
                <a:ext uri="{FF2B5EF4-FFF2-40B4-BE49-F238E27FC236}">
                  <a16:creationId xmlns:a16="http://schemas.microsoft.com/office/drawing/2014/main" id="{C3C46A42-092B-431C-B311-07D7D4151629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1" y="2012"/>
              <a:ext cx="481" cy="670"/>
            </a:xfrm>
            <a:custGeom>
              <a:avLst/>
              <a:gdLst>
                <a:gd name="T0" fmla="*/ 234 w 246"/>
                <a:gd name="T1" fmla="*/ 30 h 342"/>
                <a:gd name="T2" fmla="*/ 203 w 246"/>
                <a:gd name="T3" fmla="*/ 30 h 342"/>
                <a:gd name="T4" fmla="*/ 189 w 246"/>
                <a:gd name="T5" fmla="*/ 16 h 342"/>
                <a:gd name="T6" fmla="*/ 171 w 246"/>
                <a:gd name="T7" fmla="*/ 16 h 342"/>
                <a:gd name="T8" fmla="*/ 171 w 246"/>
                <a:gd name="T9" fmla="*/ 30 h 342"/>
                <a:gd name="T10" fmla="*/ 164 w 246"/>
                <a:gd name="T11" fmla="*/ 30 h 342"/>
                <a:gd name="T12" fmla="*/ 158 w 246"/>
                <a:gd name="T13" fmla="*/ 25 h 342"/>
                <a:gd name="T14" fmla="*/ 129 w 246"/>
                <a:gd name="T15" fmla="*/ 17 h 342"/>
                <a:gd name="T16" fmla="*/ 129 w 246"/>
                <a:gd name="T17" fmla="*/ 0 h 342"/>
                <a:gd name="T18" fmla="*/ 91 w 246"/>
                <a:gd name="T19" fmla="*/ 0 h 342"/>
                <a:gd name="T20" fmla="*/ 81 w 246"/>
                <a:gd name="T21" fmla="*/ 8 h 342"/>
                <a:gd name="T22" fmla="*/ 54 w 246"/>
                <a:gd name="T23" fmla="*/ 8 h 342"/>
                <a:gd name="T24" fmla="*/ 38 w 246"/>
                <a:gd name="T25" fmla="*/ 18 h 342"/>
                <a:gd name="T26" fmla="*/ 38 w 246"/>
                <a:gd name="T27" fmla="*/ 37 h 342"/>
                <a:gd name="T28" fmla="*/ 0 w 246"/>
                <a:gd name="T29" fmla="*/ 64 h 342"/>
                <a:gd name="T30" fmla="*/ 0 w 246"/>
                <a:gd name="T31" fmla="*/ 75 h 342"/>
                <a:gd name="T32" fmla="*/ 11 w 246"/>
                <a:gd name="T33" fmla="*/ 75 h 342"/>
                <a:gd name="T34" fmla="*/ 11 w 246"/>
                <a:gd name="T35" fmla="*/ 88 h 342"/>
                <a:gd name="T36" fmla="*/ 0 w 246"/>
                <a:gd name="T37" fmla="*/ 88 h 342"/>
                <a:gd name="T38" fmla="*/ 0 w 246"/>
                <a:gd name="T39" fmla="*/ 120 h 342"/>
                <a:gd name="T40" fmla="*/ 34 w 246"/>
                <a:gd name="T41" fmla="*/ 154 h 342"/>
                <a:gd name="T42" fmla="*/ 76 w 246"/>
                <a:gd name="T43" fmla="*/ 154 h 342"/>
                <a:gd name="T44" fmla="*/ 84 w 246"/>
                <a:gd name="T45" fmla="*/ 146 h 342"/>
                <a:gd name="T46" fmla="*/ 98 w 246"/>
                <a:gd name="T47" fmla="*/ 146 h 342"/>
                <a:gd name="T48" fmla="*/ 105 w 246"/>
                <a:gd name="T49" fmla="*/ 157 h 342"/>
                <a:gd name="T50" fmla="*/ 123 w 246"/>
                <a:gd name="T51" fmla="*/ 157 h 342"/>
                <a:gd name="T52" fmla="*/ 123 w 246"/>
                <a:gd name="T53" fmla="*/ 186 h 342"/>
                <a:gd name="T54" fmla="*/ 148 w 246"/>
                <a:gd name="T55" fmla="*/ 228 h 342"/>
                <a:gd name="T56" fmla="*/ 135 w 246"/>
                <a:gd name="T57" fmla="*/ 251 h 342"/>
                <a:gd name="T58" fmla="*/ 135 w 246"/>
                <a:gd name="T59" fmla="*/ 266 h 342"/>
                <a:gd name="T60" fmla="*/ 145 w 246"/>
                <a:gd name="T61" fmla="*/ 272 h 342"/>
                <a:gd name="T62" fmla="*/ 145 w 246"/>
                <a:gd name="T63" fmla="*/ 302 h 342"/>
                <a:gd name="T64" fmla="*/ 159 w 246"/>
                <a:gd name="T65" fmla="*/ 321 h 342"/>
                <a:gd name="T66" fmla="*/ 159 w 246"/>
                <a:gd name="T67" fmla="*/ 342 h 342"/>
                <a:gd name="T68" fmla="*/ 162 w 246"/>
                <a:gd name="T69" fmla="*/ 342 h 342"/>
                <a:gd name="T70" fmla="*/ 246 w 246"/>
                <a:gd name="T71" fmla="*/ 119 h 342"/>
                <a:gd name="T72" fmla="*/ 235 w 246"/>
                <a:gd name="T73" fmla="*/ 31 h 342"/>
                <a:gd name="T74" fmla="*/ 234 w 246"/>
                <a:gd name="T75" fmla="*/ 3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6" h="342">
                  <a:moveTo>
                    <a:pt x="234" y="30"/>
                  </a:moveTo>
                  <a:cubicBezTo>
                    <a:pt x="203" y="30"/>
                    <a:pt x="203" y="30"/>
                    <a:pt x="203" y="30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71" y="16"/>
                    <a:pt x="171" y="16"/>
                    <a:pt x="171" y="1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34" y="154"/>
                    <a:pt x="34" y="154"/>
                    <a:pt x="34" y="154"/>
                  </a:cubicBezTo>
                  <a:cubicBezTo>
                    <a:pt x="76" y="154"/>
                    <a:pt x="76" y="154"/>
                    <a:pt x="76" y="154"/>
                  </a:cubicBezTo>
                  <a:cubicBezTo>
                    <a:pt x="84" y="146"/>
                    <a:pt x="84" y="146"/>
                    <a:pt x="84" y="146"/>
                  </a:cubicBezTo>
                  <a:cubicBezTo>
                    <a:pt x="98" y="146"/>
                    <a:pt x="98" y="146"/>
                    <a:pt x="98" y="146"/>
                  </a:cubicBezTo>
                  <a:cubicBezTo>
                    <a:pt x="105" y="157"/>
                    <a:pt x="105" y="157"/>
                    <a:pt x="105" y="157"/>
                  </a:cubicBezTo>
                  <a:cubicBezTo>
                    <a:pt x="123" y="157"/>
                    <a:pt x="123" y="157"/>
                    <a:pt x="123" y="157"/>
                  </a:cubicBezTo>
                  <a:cubicBezTo>
                    <a:pt x="123" y="186"/>
                    <a:pt x="123" y="186"/>
                    <a:pt x="123" y="186"/>
                  </a:cubicBezTo>
                  <a:cubicBezTo>
                    <a:pt x="148" y="228"/>
                    <a:pt x="148" y="228"/>
                    <a:pt x="148" y="228"/>
                  </a:cubicBezTo>
                  <a:cubicBezTo>
                    <a:pt x="135" y="251"/>
                    <a:pt x="135" y="251"/>
                    <a:pt x="135" y="251"/>
                  </a:cubicBezTo>
                  <a:cubicBezTo>
                    <a:pt x="135" y="266"/>
                    <a:pt x="135" y="266"/>
                    <a:pt x="135" y="266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5" y="302"/>
                    <a:pt x="145" y="302"/>
                    <a:pt x="145" y="302"/>
                  </a:cubicBezTo>
                  <a:cubicBezTo>
                    <a:pt x="159" y="321"/>
                    <a:pt x="159" y="321"/>
                    <a:pt x="159" y="321"/>
                  </a:cubicBezTo>
                  <a:cubicBezTo>
                    <a:pt x="159" y="342"/>
                    <a:pt x="159" y="342"/>
                    <a:pt x="159" y="342"/>
                  </a:cubicBezTo>
                  <a:cubicBezTo>
                    <a:pt x="162" y="342"/>
                    <a:pt x="162" y="342"/>
                    <a:pt x="162" y="342"/>
                  </a:cubicBezTo>
                  <a:cubicBezTo>
                    <a:pt x="214" y="282"/>
                    <a:pt x="246" y="204"/>
                    <a:pt x="246" y="119"/>
                  </a:cubicBezTo>
                  <a:cubicBezTo>
                    <a:pt x="246" y="88"/>
                    <a:pt x="242" y="59"/>
                    <a:pt x="235" y="31"/>
                  </a:cubicBezTo>
                  <a:lnTo>
                    <a:pt x="234" y="3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3">
              <a:extLst>
                <a:ext uri="{FF2B5EF4-FFF2-40B4-BE49-F238E27FC236}">
                  <a16:creationId xmlns:a16="http://schemas.microsoft.com/office/drawing/2014/main" id="{6C26A2C8-D3E7-4511-9175-DD1E5DB62C0E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5" y="1740"/>
              <a:ext cx="356" cy="274"/>
            </a:xfrm>
            <a:custGeom>
              <a:avLst/>
              <a:gdLst>
                <a:gd name="T0" fmla="*/ 111 w 182"/>
                <a:gd name="T1" fmla="*/ 44 h 140"/>
                <a:gd name="T2" fmla="*/ 111 w 182"/>
                <a:gd name="T3" fmla="*/ 25 h 140"/>
                <a:gd name="T4" fmla="*/ 85 w 182"/>
                <a:gd name="T5" fmla="*/ 0 h 140"/>
                <a:gd name="T6" fmla="*/ 85 w 182"/>
                <a:gd name="T7" fmla="*/ 14 h 140"/>
                <a:gd name="T8" fmla="*/ 74 w 182"/>
                <a:gd name="T9" fmla="*/ 17 h 140"/>
                <a:gd name="T10" fmla="*/ 61 w 182"/>
                <a:gd name="T11" fmla="*/ 26 h 140"/>
                <a:gd name="T12" fmla="*/ 61 w 182"/>
                <a:gd name="T13" fmla="*/ 37 h 140"/>
                <a:gd name="T14" fmla="*/ 72 w 182"/>
                <a:gd name="T15" fmla="*/ 37 h 140"/>
                <a:gd name="T16" fmla="*/ 75 w 182"/>
                <a:gd name="T17" fmla="*/ 51 h 140"/>
                <a:gd name="T18" fmla="*/ 92 w 182"/>
                <a:gd name="T19" fmla="*/ 43 h 140"/>
                <a:gd name="T20" fmla="*/ 92 w 182"/>
                <a:gd name="T21" fmla="*/ 59 h 140"/>
                <a:gd name="T22" fmla="*/ 64 w 182"/>
                <a:gd name="T23" fmla="*/ 59 h 140"/>
                <a:gd name="T24" fmla="*/ 51 w 182"/>
                <a:gd name="T25" fmla="*/ 78 h 140"/>
                <a:gd name="T26" fmla="*/ 34 w 182"/>
                <a:gd name="T27" fmla="*/ 78 h 140"/>
                <a:gd name="T28" fmla="*/ 31 w 182"/>
                <a:gd name="T29" fmla="*/ 96 h 140"/>
                <a:gd name="T30" fmla="*/ 40 w 182"/>
                <a:gd name="T31" fmla="*/ 96 h 140"/>
                <a:gd name="T32" fmla="*/ 40 w 182"/>
                <a:gd name="T33" fmla="*/ 107 h 140"/>
                <a:gd name="T34" fmla="*/ 27 w 182"/>
                <a:gd name="T35" fmla="*/ 103 h 140"/>
                <a:gd name="T36" fmla="*/ 14 w 182"/>
                <a:gd name="T37" fmla="*/ 103 h 140"/>
                <a:gd name="T38" fmla="*/ 0 w 182"/>
                <a:gd name="T39" fmla="*/ 109 h 140"/>
                <a:gd name="T40" fmla="*/ 0 w 182"/>
                <a:gd name="T41" fmla="*/ 130 h 140"/>
                <a:gd name="T42" fmla="*/ 10 w 182"/>
                <a:gd name="T43" fmla="*/ 138 h 140"/>
                <a:gd name="T44" fmla="*/ 39 w 182"/>
                <a:gd name="T45" fmla="*/ 138 h 140"/>
                <a:gd name="T46" fmla="*/ 39 w 182"/>
                <a:gd name="T47" fmla="*/ 131 h 140"/>
                <a:gd name="T48" fmla="*/ 59 w 182"/>
                <a:gd name="T49" fmla="*/ 111 h 140"/>
                <a:gd name="T50" fmla="*/ 69 w 182"/>
                <a:gd name="T51" fmla="*/ 111 h 140"/>
                <a:gd name="T52" fmla="*/ 80 w 182"/>
                <a:gd name="T53" fmla="*/ 102 h 140"/>
                <a:gd name="T54" fmla="*/ 80 w 182"/>
                <a:gd name="T55" fmla="*/ 109 h 140"/>
                <a:gd name="T56" fmla="*/ 107 w 182"/>
                <a:gd name="T57" fmla="*/ 126 h 140"/>
                <a:gd name="T58" fmla="*/ 107 w 182"/>
                <a:gd name="T59" fmla="*/ 131 h 140"/>
                <a:gd name="T60" fmla="*/ 95 w 182"/>
                <a:gd name="T61" fmla="*/ 131 h 140"/>
                <a:gd name="T62" fmla="*/ 95 w 182"/>
                <a:gd name="T63" fmla="*/ 139 h 140"/>
                <a:gd name="T64" fmla="*/ 114 w 182"/>
                <a:gd name="T65" fmla="*/ 139 h 140"/>
                <a:gd name="T66" fmla="*/ 114 w 182"/>
                <a:gd name="T67" fmla="*/ 125 h 140"/>
                <a:gd name="T68" fmla="*/ 118 w 182"/>
                <a:gd name="T69" fmla="*/ 124 h 140"/>
                <a:gd name="T70" fmla="*/ 97 w 182"/>
                <a:gd name="T71" fmla="*/ 109 h 140"/>
                <a:gd name="T72" fmla="*/ 93 w 182"/>
                <a:gd name="T73" fmla="*/ 96 h 140"/>
                <a:gd name="T74" fmla="*/ 106 w 182"/>
                <a:gd name="T75" fmla="*/ 96 h 140"/>
                <a:gd name="T76" fmla="*/ 126 w 182"/>
                <a:gd name="T77" fmla="*/ 112 h 140"/>
                <a:gd name="T78" fmla="*/ 126 w 182"/>
                <a:gd name="T79" fmla="*/ 127 h 140"/>
                <a:gd name="T80" fmla="*/ 138 w 182"/>
                <a:gd name="T81" fmla="*/ 140 h 140"/>
                <a:gd name="T82" fmla="*/ 144 w 182"/>
                <a:gd name="T83" fmla="*/ 121 h 140"/>
                <a:gd name="T84" fmla="*/ 155 w 182"/>
                <a:gd name="T85" fmla="*/ 115 h 140"/>
                <a:gd name="T86" fmla="*/ 155 w 182"/>
                <a:gd name="T87" fmla="*/ 130 h 140"/>
                <a:gd name="T88" fmla="*/ 165 w 182"/>
                <a:gd name="T89" fmla="*/ 139 h 140"/>
                <a:gd name="T90" fmla="*/ 182 w 182"/>
                <a:gd name="T91" fmla="*/ 139 h 140"/>
                <a:gd name="T92" fmla="*/ 177 w 182"/>
                <a:gd name="T93" fmla="*/ 127 h 140"/>
                <a:gd name="T94" fmla="*/ 164 w 182"/>
                <a:gd name="T95" fmla="*/ 127 h 140"/>
                <a:gd name="T96" fmla="*/ 164 w 182"/>
                <a:gd name="T97" fmla="*/ 99 h 140"/>
                <a:gd name="T98" fmla="*/ 131 w 182"/>
                <a:gd name="T99" fmla="*/ 49 h 140"/>
                <a:gd name="T100" fmla="*/ 122 w 182"/>
                <a:gd name="T101" fmla="*/ 58 h 140"/>
                <a:gd name="T102" fmla="*/ 97 w 182"/>
                <a:gd name="T103" fmla="*/ 58 h 140"/>
                <a:gd name="T104" fmla="*/ 97 w 182"/>
                <a:gd name="T105" fmla="*/ 54 h 140"/>
                <a:gd name="T106" fmla="*/ 111 w 182"/>
                <a:gd name="T107" fmla="*/ 4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2" h="140">
                  <a:moveTo>
                    <a:pt x="111" y="44"/>
                  </a:moveTo>
                  <a:cubicBezTo>
                    <a:pt x="111" y="25"/>
                    <a:pt x="111" y="25"/>
                    <a:pt x="111" y="25"/>
                  </a:cubicBezTo>
                  <a:cubicBezTo>
                    <a:pt x="103" y="17"/>
                    <a:pt x="94" y="8"/>
                    <a:pt x="85" y="0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40" y="96"/>
                    <a:pt x="40" y="96"/>
                    <a:pt x="40" y="96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10" y="138"/>
                    <a:pt x="10" y="138"/>
                    <a:pt x="10" y="138"/>
                  </a:cubicBezTo>
                  <a:cubicBezTo>
                    <a:pt x="39" y="138"/>
                    <a:pt x="39" y="138"/>
                    <a:pt x="39" y="138"/>
                  </a:cubicBezTo>
                  <a:cubicBezTo>
                    <a:pt x="39" y="131"/>
                    <a:pt x="39" y="131"/>
                    <a:pt x="39" y="13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80" y="102"/>
                    <a:pt x="80" y="102"/>
                    <a:pt x="80" y="102"/>
                  </a:cubicBezTo>
                  <a:cubicBezTo>
                    <a:pt x="80" y="109"/>
                    <a:pt x="80" y="109"/>
                    <a:pt x="80" y="109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7" y="131"/>
                    <a:pt x="107" y="131"/>
                    <a:pt x="107" y="131"/>
                  </a:cubicBezTo>
                  <a:cubicBezTo>
                    <a:pt x="95" y="131"/>
                    <a:pt x="95" y="131"/>
                    <a:pt x="95" y="131"/>
                  </a:cubicBezTo>
                  <a:cubicBezTo>
                    <a:pt x="95" y="139"/>
                    <a:pt x="95" y="139"/>
                    <a:pt x="95" y="139"/>
                  </a:cubicBezTo>
                  <a:cubicBezTo>
                    <a:pt x="114" y="139"/>
                    <a:pt x="114" y="139"/>
                    <a:pt x="114" y="139"/>
                  </a:cubicBezTo>
                  <a:cubicBezTo>
                    <a:pt x="114" y="125"/>
                    <a:pt x="114" y="125"/>
                    <a:pt x="114" y="125"/>
                  </a:cubicBezTo>
                  <a:cubicBezTo>
                    <a:pt x="118" y="124"/>
                    <a:pt x="118" y="124"/>
                    <a:pt x="118" y="124"/>
                  </a:cubicBezTo>
                  <a:cubicBezTo>
                    <a:pt x="97" y="109"/>
                    <a:pt x="97" y="109"/>
                    <a:pt x="97" y="109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26" y="112"/>
                    <a:pt x="126" y="112"/>
                    <a:pt x="126" y="112"/>
                  </a:cubicBezTo>
                  <a:cubicBezTo>
                    <a:pt x="126" y="127"/>
                    <a:pt x="126" y="127"/>
                    <a:pt x="126" y="127"/>
                  </a:cubicBezTo>
                  <a:cubicBezTo>
                    <a:pt x="138" y="140"/>
                    <a:pt x="138" y="140"/>
                    <a:pt x="138" y="140"/>
                  </a:cubicBezTo>
                  <a:cubicBezTo>
                    <a:pt x="144" y="121"/>
                    <a:pt x="144" y="121"/>
                    <a:pt x="144" y="121"/>
                  </a:cubicBezTo>
                  <a:cubicBezTo>
                    <a:pt x="155" y="115"/>
                    <a:pt x="155" y="115"/>
                    <a:pt x="155" y="115"/>
                  </a:cubicBezTo>
                  <a:cubicBezTo>
                    <a:pt x="155" y="130"/>
                    <a:pt x="155" y="130"/>
                    <a:pt x="155" y="130"/>
                  </a:cubicBezTo>
                  <a:cubicBezTo>
                    <a:pt x="165" y="139"/>
                    <a:pt x="165" y="139"/>
                    <a:pt x="165" y="139"/>
                  </a:cubicBezTo>
                  <a:cubicBezTo>
                    <a:pt x="182" y="139"/>
                    <a:pt x="182" y="139"/>
                    <a:pt x="182" y="139"/>
                  </a:cubicBezTo>
                  <a:cubicBezTo>
                    <a:pt x="180" y="135"/>
                    <a:pt x="179" y="131"/>
                    <a:pt x="177" y="127"/>
                  </a:cubicBezTo>
                  <a:cubicBezTo>
                    <a:pt x="164" y="127"/>
                    <a:pt x="164" y="127"/>
                    <a:pt x="164" y="127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54" y="81"/>
                    <a:pt x="143" y="64"/>
                    <a:pt x="131" y="49"/>
                  </a:cubicBezTo>
                  <a:cubicBezTo>
                    <a:pt x="122" y="58"/>
                    <a:pt x="122" y="58"/>
                    <a:pt x="122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4"/>
                    <a:pt x="97" y="54"/>
                    <a:pt x="97" y="54"/>
                  </a:cubicBezTo>
                  <a:lnTo>
                    <a:pt x="111" y="44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4">
              <a:extLst>
                <a:ext uri="{FF2B5EF4-FFF2-40B4-BE49-F238E27FC236}">
                  <a16:creationId xmlns:a16="http://schemas.microsoft.com/office/drawing/2014/main" id="{A8A9558D-5059-46ED-8173-AD94005822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175" y="1677"/>
              <a:ext cx="737" cy="1015"/>
            </a:xfrm>
            <a:custGeom>
              <a:avLst/>
              <a:gdLst>
                <a:gd name="T0" fmla="*/ 298 w 377"/>
                <a:gd name="T1" fmla="*/ 328 h 518"/>
                <a:gd name="T2" fmla="*/ 247 w 377"/>
                <a:gd name="T3" fmla="*/ 300 h 518"/>
                <a:gd name="T4" fmla="*/ 152 w 377"/>
                <a:gd name="T5" fmla="*/ 301 h 518"/>
                <a:gd name="T6" fmla="*/ 139 w 377"/>
                <a:gd name="T7" fmla="*/ 248 h 518"/>
                <a:gd name="T8" fmla="*/ 93 w 377"/>
                <a:gd name="T9" fmla="*/ 233 h 518"/>
                <a:gd name="T10" fmla="*/ 162 w 377"/>
                <a:gd name="T11" fmla="*/ 204 h 518"/>
                <a:gd name="T12" fmla="*/ 176 w 377"/>
                <a:gd name="T13" fmla="*/ 202 h 518"/>
                <a:gd name="T14" fmla="*/ 253 w 377"/>
                <a:gd name="T15" fmla="*/ 135 h 518"/>
                <a:gd name="T16" fmla="*/ 278 w 377"/>
                <a:gd name="T17" fmla="*/ 117 h 518"/>
                <a:gd name="T18" fmla="*/ 277 w 377"/>
                <a:gd name="T19" fmla="*/ 104 h 518"/>
                <a:gd name="T20" fmla="*/ 309 w 377"/>
                <a:gd name="T21" fmla="*/ 104 h 518"/>
                <a:gd name="T22" fmla="*/ 327 w 377"/>
                <a:gd name="T23" fmla="*/ 123 h 518"/>
                <a:gd name="T24" fmla="*/ 323 w 377"/>
                <a:gd name="T25" fmla="*/ 94 h 518"/>
                <a:gd name="T26" fmla="*/ 293 w 377"/>
                <a:gd name="T27" fmla="*/ 72 h 518"/>
                <a:gd name="T28" fmla="*/ 252 w 377"/>
                <a:gd name="T29" fmla="*/ 81 h 518"/>
                <a:gd name="T30" fmla="*/ 201 w 377"/>
                <a:gd name="T31" fmla="*/ 82 h 518"/>
                <a:gd name="T32" fmla="*/ 231 w 377"/>
                <a:gd name="T33" fmla="*/ 43 h 518"/>
                <a:gd name="T34" fmla="*/ 248 w 377"/>
                <a:gd name="T35" fmla="*/ 45 h 518"/>
                <a:gd name="T36" fmla="*/ 270 w 377"/>
                <a:gd name="T37" fmla="*/ 25 h 518"/>
                <a:gd name="T38" fmla="*/ 283 w 377"/>
                <a:gd name="T39" fmla="*/ 42 h 518"/>
                <a:gd name="T40" fmla="*/ 317 w 377"/>
                <a:gd name="T41" fmla="*/ 42 h 518"/>
                <a:gd name="T42" fmla="*/ 323 w 377"/>
                <a:gd name="T43" fmla="*/ 18 h 518"/>
                <a:gd name="T44" fmla="*/ 253 w 377"/>
                <a:gd name="T45" fmla="*/ 27 h 518"/>
                <a:gd name="T46" fmla="*/ 246 w 377"/>
                <a:gd name="T47" fmla="*/ 6 h 518"/>
                <a:gd name="T48" fmla="*/ 230 w 377"/>
                <a:gd name="T49" fmla="*/ 19 h 518"/>
                <a:gd name="T50" fmla="*/ 207 w 377"/>
                <a:gd name="T51" fmla="*/ 32 h 518"/>
                <a:gd name="T52" fmla="*/ 218 w 377"/>
                <a:gd name="T53" fmla="*/ 7 h 518"/>
                <a:gd name="T54" fmla="*/ 191 w 377"/>
                <a:gd name="T55" fmla="*/ 12 h 518"/>
                <a:gd name="T56" fmla="*/ 145 w 377"/>
                <a:gd name="T57" fmla="*/ 11 h 518"/>
                <a:gd name="T58" fmla="*/ 161 w 377"/>
                <a:gd name="T59" fmla="*/ 26 h 518"/>
                <a:gd name="T60" fmla="*/ 152 w 377"/>
                <a:gd name="T61" fmla="*/ 28 h 518"/>
                <a:gd name="T62" fmla="*/ 27 w 377"/>
                <a:gd name="T63" fmla="*/ 117 h 518"/>
                <a:gd name="T64" fmla="*/ 14 w 377"/>
                <a:gd name="T65" fmla="*/ 188 h 518"/>
                <a:gd name="T66" fmla="*/ 34 w 377"/>
                <a:gd name="T67" fmla="*/ 231 h 518"/>
                <a:gd name="T68" fmla="*/ 48 w 377"/>
                <a:gd name="T69" fmla="*/ 232 h 518"/>
                <a:gd name="T70" fmla="*/ 90 w 377"/>
                <a:gd name="T71" fmla="*/ 276 h 518"/>
                <a:gd name="T72" fmla="*/ 103 w 377"/>
                <a:gd name="T73" fmla="*/ 273 h 518"/>
                <a:gd name="T74" fmla="*/ 146 w 377"/>
                <a:gd name="T75" fmla="*/ 310 h 518"/>
                <a:gd name="T76" fmla="*/ 157 w 377"/>
                <a:gd name="T77" fmla="*/ 383 h 518"/>
                <a:gd name="T78" fmla="*/ 216 w 377"/>
                <a:gd name="T79" fmla="*/ 499 h 518"/>
                <a:gd name="T80" fmla="*/ 323 w 377"/>
                <a:gd name="T81" fmla="*/ 461 h 518"/>
                <a:gd name="T82" fmla="*/ 377 w 377"/>
                <a:gd name="T83" fmla="*/ 380 h 518"/>
                <a:gd name="T84" fmla="*/ 118 w 377"/>
                <a:gd name="T85" fmla="*/ 58 h 518"/>
                <a:gd name="T86" fmla="*/ 135 w 377"/>
                <a:gd name="T87" fmla="*/ 58 h 518"/>
                <a:gd name="T88" fmla="*/ 185 w 377"/>
                <a:gd name="T89" fmla="*/ 150 h 518"/>
                <a:gd name="T90" fmla="*/ 203 w 377"/>
                <a:gd name="T91" fmla="*/ 132 h 518"/>
                <a:gd name="T92" fmla="*/ 192 w 377"/>
                <a:gd name="T93" fmla="*/ 128 h 518"/>
                <a:gd name="T94" fmla="*/ 216 w 377"/>
                <a:gd name="T95" fmla="*/ 130 h 518"/>
                <a:gd name="T96" fmla="*/ 217 w 377"/>
                <a:gd name="T97" fmla="*/ 137 h 518"/>
                <a:gd name="T98" fmla="*/ 206 w 377"/>
                <a:gd name="T99" fmla="*/ 141 h 518"/>
                <a:gd name="T100" fmla="*/ 202 w 377"/>
                <a:gd name="T101" fmla="*/ 125 h 518"/>
                <a:gd name="T102" fmla="*/ 175 w 377"/>
                <a:gd name="T103" fmla="*/ 125 h 518"/>
                <a:gd name="T104" fmla="*/ 187 w 377"/>
                <a:gd name="T105" fmla="*/ 112 h 518"/>
                <a:gd name="T106" fmla="*/ 171 w 377"/>
                <a:gd name="T107" fmla="*/ 148 h 518"/>
                <a:gd name="T108" fmla="*/ 156 w 377"/>
                <a:gd name="T109" fmla="*/ 88 h 518"/>
                <a:gd name="T110" fmla="*/ 150 w 377"/>
                <a:gd name="T111" fmla="*/ 101 h 518"/>
                <a:gd name="T112" fmla="*/ 123 w 377"/>
                <a:gd name="T113" fmla="*/ 33 h 518"/>
                <a:gd name="T114" fmla="*/ 115 w 377"/>
                <a:gd name="T115" fmla="*/ 43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7" h="518">
                  <a:moveTo>
                    <a:pt x="357" y="360"/>
                  </a:moveTo>
                  <a:cubicBezTo>
                    <a:pt x="325" y="360"/>
                    <a:pt x="325" y="360"/>
                    <a:pt x="325" y="360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1" y="334"/>
                    <a:pt x="300" y="331"/>
                    <a:pt x="298" y="328"/>
                  </a:cubicBezTo>
                  <a:cubicBezTo>
                    <a:pt x="293" y="320"/>
                    <a:pt x="293" y="320"/>
                    <a:pt x="293" y="320"/>
                  </a:cubicBezTo>
                  <a:cubicBezTo>
                    <a:pt x="272" y="320"/>
                    <a:pt x="272" y="320"/>
                    <a:pt x="272" y="320"/>
                  </a:cubicBezTo>
                  <a:cubicBezTo>
                    <a:pt x="256" y="297"/>
                    <a:pt x="256" y="297"/>
                    <a:pt x="256" y="297"/>
                  </a:cubicBezTo>
                  <a:cubicBezTo>
                    <a:pt x="247" y="294"/>
                    <a:pt x="247" y="294"/>
                    <a:pt x="247" y="294"/>
                  </a:cubicBezTo>
                  <a:cubicBezTo>
                    <a:pt x="247" y="300"/>
                    <a:pt x="247" y="300"/>
                    <a:pt x="247" y="300"/>
                  </a:cubicBezTo>
                  <a:cubicBezTo>
                    <a:pt x="226" y="300"/>
                    <a:pt x="226" y="300"/>
                    <a:pt x="226" y="300"/>
                  </a:cubicBezTo>
                  <a:cubicBezTo>
                    <a:pt x="217" y="288"/>
                    <a:pt x="217" y="288"/>
                    <a:pt x="217" y="288"/>
                  </a:cubicBezTo>
                  <a:cubicBezTo>
                    <a:pt x="196" y="286"/>
                    <a:pt x="196" y="286"/>
                    <a:pt x="196" y="286"/>
                  </a:cubicBezTo>
                  <a:cubicBezTo>
                    <a:pt x="182" y="305"/>
                    <a:pt x="182" y="305"/>
                    <a:pt x="182" y="305"/>
                  </a:cubicBezTo>
                  <a:cubicBezTo>
                    <a:pt x="152" y="301"/>
                    <a:pt x="152" y="301"/>
                    <a:pt x="152" y="301"/>
                  </a:cubicBezTo>
                  <a:cubicBezTo>
                    <a:pt x="152" y="275"/>
                    <a:pt x="152" y="275"/>
                    <a:pt x="152" y="275"/>
                  </a:cubicBezTo>
                  <a:cubicBezTo>
                    <a:pt x="152" y="273"/>
                    <a:pt x="150" y="270"/>
                    <a:pt x="147" y="270"/>
                  </a:cubicBezTo>
                  <a:cubicBezTo>
                    <a:pt x="131" y="268"/>
                    <a:pt x="131" y="268"/>
                    <a:pt x="131" y="268"/>
                  </a:cubicBezTo>
                  <a:cubicBezTo>
                    <a:pt x="139" y="254"/>
                    <a:pt x="139" y="254"/>
                    <a:pt x="139" y="254"/>
                  </a:cubicBezTo>
                  <a:cubicBezTo>
                    <a:pt x="139" y="248"/>
                    <a:pt x="139" y="248"/>
                    <a:pt x="139" y="248"/>
                  </a:cubicBezTo>
                  <a:cubicBezTo>
                    <a:pt x="139" y="245"/>
                    <a:pt x="135" y="243"/>
                    <a:pt x="133" y="245"/>
                  </a:cubicBezTo>
                  <a:cubicBezTo>
                    <a:pt x="112" y="260"/>
                    <a:pt x="112" y="260"/>
                    <a:pt x="112" y="260"/>
                  </a:cubicBezTo>
                  <a:cubicBezTo>
                    <a:pt x="95" y="260"/>
                    <a:pt x="95" y="260"/>
                    <a:pt x="95" y="260"/>
                  </a:cubicBezTo>
                  <a:cubicBezTo>
                    <a:pt x="93" y="257"/>
                    <a:pt x="93" y="257"/>
                    <a:pt x="93" y="257"/>
                  </a:cubicBezTo>
                  <a:cubicBezTo>
                    <a:pt x="90" y="249"/>
                    <a:pt x="89" y="241"/>
                    <a:pt x="93" y="233"/>
                  </a:cubicBezTo>
                  <a:cubicBezTo>
                    <a:pt x="96" y="225"/>
                    <a:pt x="96" y="225"/>
                    <a:pt x="96" y="225"/>
                  </a:cubicBezTo>
                  <a:cubicBezTo>
                    <a:pt x="99" y="218"/>
                    <a:pt x="104" y="213"/>
                    <a:pt x="110" y="210"/>
                  </a:cubicBezTo>
                  <a:cubicBezTo>
                    <a:pt x="115" y="208"/>
                    <a:pt x="115" y="208"/>
                    <a:pt x="115" y="208"/>
                  </a:cubicBezTo>
                  <a:cubicBezTo>
                    <a:pt x="119" y="206"/>
                    <a:pt x="123" y="204"/>
                    <a:pt x="128" y="204"/>
                  </a:cubicBezTo>
                  <a:cubicBezTo>
                    <a:pt x="162" y="204"/>
                    <a:pt x="162" y="204"/>
                    <a:pt x="162" y="204"/>
                  </a:cubicBezTo>
                  <a:cubicBezTo>
                    <a:pt x="162" y="214"/>
                    <a:pt x="162" y="214"/>
                    <a:pt x="162" y="214"/>
                  </a:cubicBezTo>
                  <a:cubicBezTo>
                    <a:pt x="162" y="219"/>
                    <a:pt x="164" y="223"/>
                    <a:pt x="169" y="226"/>
                  </a:cubicBezTo>
                  <a:cubicBezTo>
                    <a:pt x="171" y="228"/>
                    <a:pt x="171" y="228"/>
                    <a:pt x="171" y="228"/>
                  </a:cubicBezTo>
                  <a:cubicBezTo>
                    <a:pt x="174" y="229"/>
                    <a:pt x="176" y="227"/>
                    <a:pt x="176" y="225"/>
                  </a:cubicBezTo>
                  <a:cubicBezTo>
                    <a:pt x="176" y="202"/>
                    <a:pt x="176" y="202"/>
                    <a:pt x="176" y="202"/>
                  </a:cubicBezTo>
                  <a:cubicBezTo>
                    <a:pt x="192" y="187"/>
                    <a:pt x="192" y="187"/>
                    <a:pt x="192" y="187"/>
                  </a:cubicBezTo>
                  <a:cubicBezTo>
                    <a:pt x="208" y="179"/>
                    <a:pt x="208" y="179"/>
                    <a:pt x="208" y="179"/>
                  </a:cubicBezTo>
                  <a:cubicBezTo>
                    <a:pt x="208" y="168"/>
                    <a:pt x="208" y="168"/>
                    <a:pt x="208" y="168"/>
                  </a:cubicBezTo>
                  <a:cubicBezTo>
                    <a:pt x="230" y="146"/>
                    <a:pt x="230" y="146"/>
                    <a:pt x="230" y="146"/>
                  </a:cubicBezTo>
                  <a:cubicBezTo>
                    <a:pt x="253" y="135"/>
                    <a:pt x="253" y="135"/>
                    <a:pt x="253" y="135"/>
                  </a:cubicBezTo>
                  <a:cubicBezTo>
                    <a:pt x="253" y="130"/>
                    <a:pt x="253" y="130"/>
                    <a:pt x="253" y="130"/>
                  </a:cubicBezTo>
                  <a:cubicBezTo>
                    <a:pt x="265" y="119"/>
                    <a:pt x="265" y="119"/>
                    <a:pt x="265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73" y="121"/>
                    <a:pt x="276" y="120"/>
                    <a:pt x="278" y="117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9" y="116"/>
                    <a:pt x="278" y="115"/>
                    <a:pt x="277" y="115"/>
                  </a:cubicBezTo>
                  <a:cubicBezTo>
                    <a:pt x="273" y="115"/>
                    <a:pt x="273" y="115"/>
                    <a:pt x="273" y="115"/>
                  </a:cubicBezTo>
                  <a:cubicBezTo>
                    <a:pt x="270" y="115"/>
                    <a:pt x="268" y="113"/>
                    <a:pt x="267" y="110"/>
                  </a:cubicBezTo>
                  <a:cubicBezTo>
                    <a:pt x="267" y="107"/>
                    <a:pt x="269" y="104"/>
                    <a:pt x="273" y="104"/>
                  </a:cubicBezTo>
                  <a:cubicBezTo>
                    <a:pt x="277" y="104"/>
                    <a:pt x="277" y="104"/>
                    <a:pt x="277" y="104"/>
                  </a:cubicBezTo>
                  <a:cubicBezTo>
                    <a:pt x="280" y="104"/>
                    <a:pt x="283" y="105"/>
                    <a:pt x="284" y="108"/>
                  </a:cubicBezTo>
                  <a:cubicBezTo>
                    <a:pt x="286" y="111"/>
                    <a:pt x="286" y="111"/>
                    <a:pt x="286" y="111"/>
                  </a:cubicBezTo>
                  <a:cubicBezTo>
                    <a:pt x="298" y="111"/>
                    <a:pt x="298" y="111"/>
                    <a:pt x="298" y="111"/>
                  </a:cubicBezTo>
                  <a:cubicBezTo>
                    <a:pt x="304" y="104"/>
                    <a:pt x="304" y="104"/>
                    <a:pt x="304" y="104"/>
                  </a:cubicBezTo>
                  <a:cubicBezTo>
                    <a:pt x="309" y="104"/>
                    <a:pt x="309" y="104"/>
                    <a:pt x="309" y="104"/>
                  </a:cubicBezTo>
                  <a:cubicBezTo>
                    <a:pt x="309" y="111"/>
                    <a:pt x="309" y="111"/>
                    <a:pt x="309" y="111"/>
                  </a:cubicBezTo>
                  <a:cubicBezTo>
                    <a:pt x="303" y="116"/>
                    <a:pt x="303" y="116"/>
                    <a:pt x="303" y="116"/>
                  </a:cubicBezTo>
                  <a:cubicBezTo>
                    <a:pt x="302" y="118"/>
                    <a:pt x="302" y="120"/>
                    <a:pt x="304" y="121"/>
                  </a:cubicBezTo>
                  <a:cubicBezTo>
                    <a:pt x="322" y="127"/>
                    <a:pt x="322" y="127"/>
                    <a:pt x="322" y="127"/>
                  </a:cubicBezTo>
                  <a:cubicBezTo>
                    <a:pt x="324" y="128"/>
                    <a:pt x="327" y="126"/>
                    <a:pt x="327" y="123"/>
                  </a:cubicBezTo>
                  <a:cubicBezTo>
                    <a:pt x="327" y="119"/>
                    <a:pt x="327" y="119"/>
                    <a:pt x="327" y="119"/>
                  </a:cubicBezTo>
                  <a:cubicBezTo>
                    <a:pt x="312" y="112"/>
                    <a:pt x="312" y="112"/>
                    <a:pt x="312" y="112"/>
                  </a:cubicBezTo>
                  <a:cubicBezTo>
                    <a:pt x="312" y="108"/>
                    <a:pt x="312" y="108"/>
                    <a:pt x="312" y="108"/>
                  </a:cubicBezTo>
                  <a:cubicBezTo>
                    <a:pt x="323" y="103"/>
                    <a:pt x="323" y="103"/>
                    <a:pt x="323" y="103"/>
                  </a:cubicBezTo>
                  <a:cubicBezTo>
                    <a:pt x="323" y="94"/>
                    <a:pt x="323" y="94"/>
                    <a:pt x="323" y="94"/>
                  </a:cubicBezTo>
                  <a:cubicBezTo>
                    <a:pt x="323" y="92"/>
                    <a:pt x="322" y="89"/>
                    <a:pt x="320" y="88"/>
                  </a:cubicBezTo>
                  <a:cubicBezTo>
                    <a:pt x="310" y="82"/>
                    <a:pt x="310" y="82"/>
                    <a:pt x="310" y="82"/>
                  </a:cubicBezTo>
                  <a:cubicBezTo>
                    <a:pt x="310" y="70"/>
                    <a:pt x="310" y="70"/>
                    <a:pt x="310" y="70"/>
                  </a:cubicBezTo>
                  <a:cubicBezTo>
                    <a:pt x="310" y="67"/>
                    <a:pt x="307" y="65"/>
                    <a:pt x="304" y="66"/>
                  </a:cubicBezTo>
                  <a:cubicBezTo>
                    <a:pt x="293" y="72"/>
                    <a:pt x="293" y="72"/>
                    <a:pt x="293" y="72"/>
                  </a:cubicBezTo>
                  <a:cubicBezTo>
                    <a:pt x="286" y="72"/>
                    <a:pt x="286" y="72"/>
                    <a:pt x="286" y="72"/>
                  </a:cubicBezTo>
                  <a:cubicBezTo>
                    <a:pt x="287" y="57"/>
                    <a:pt x="287" y="57"/>
                    <a:pt x="287" y="57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52" y="58"/>
                    <a:pt x="252" y="58"/>
                    <a:pt x="252" y="58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26" y="103"/>
                    <a:pt x="226" y="103"/>
                    <a:pt x="226" y="103"/>
                  </a:cubicBezTo>
                  <a:cubicBezTo>
                    <a:pt x="219" y="103"/>
                    <a:pt x="219" y="103"/>
                    <a:pt x="219" y="103"/>
                  </a:cubicBezTo>
                  <a:cubicBezTo>
                    <a:pt x="219" y="85"/>
                    <a:pt x="219" y="85"/>
                    <a:pt x="219" y="85"/>
                  </a:cubicBezTo>
                  <a:cubicBezTo>
                    <a:pt x="201" y="82"/>
                    <a:pt x="201" y="82"/>
                    <a:pt x="201" y="82"/>
                  </a:cubicBezTo>
                  <a:cubicBezTo>
                    <a:pt x="193" y="75"/>
                    <a:pt x="193" y="75"/>
                    <a:pt x="193" y="75"/>
                  </a:cubicBezTo>
                  <a:cubicBezTo>
                    <a:pt x="192" y="68"/>
                    <a:pt x="192" y="68"/>
                    <a:pt x="192" y="68"/>
                  </a:cubicBezTo>
                  <a:cubicBezTo>
                    <a:pt x="192" y="65"/>
                    <a:pt x="193" y="62"/>
                    <a:pt x="196" y="60"/>
                  </a:cubicBezTo>
                  <a:cubicBezTo>
                    <a:pt x="219" y="46"/>
                    <a:pt x="219" y="46"/>
                    <a:pt x="219" y="46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34" y="42"/>
                    <a:pt x="236" y="44"/>
                    <a:pt x="236" y="47"/>
                  </a:cubicBezTo>
                  <a:cubicBezTo>
                    <a:pt x="236" y="52"/>
                    <a:pt x="236" y="52"/>
                    <a:pt x="236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6" y="52"/>
                    <a:pt x="248" y="50"/>
                    <a:pt x="248" y="48"/>
                  </a:cubicBezTo>
                  <a:cubicBezTo>
                    <a:pt x="248" y="45"/>
                    <a:pt x="248" y="45"/>
                    <a:pt x="248" y="45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4" y="45"/>
                    <a:pt x="255" y="43"/>
                    <a:pt x="254" y="42"/>
                  </a:cubicBezTo>
                  <a:cubicBezTo>
                    <a:pt x="250" y="36"/>
                    <a:pt x="250" y="36"/>
                    <a:pt x="250" y="36"/>
                  </a:cubicBezTo>
                  <a:cubicBezTo>
                    <a:pt x="261" y="36"/>
                    <a:pt x="261" y="36"/>
                    <a:pt x="261" y="36"/>
                  </a:cubicBezTo>
                  <a:cubicBezTo>
                    <a:pt x="270" y="25"/>
                    <a:pt x="270" y="25"/>
                    <a:pt x="270" y="25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92" y="23"/>
                    <a:pt x="294" y="24"/>
                    <a:pt x="296" y="26"/>
                  </a:cubicBezTo>
                  <a:cubicBezTo>
                    <a:pt x="298" y="28"/>
                    <a:pt x="298" y="28"/>
                    <a:pt x="298" y="28"/>
                  </a:cubicBezTo>
                  <a:cubicBezTo>
                    <a:pt x="300" y="30"/>
                    <a:pt x="300" y="34"/>
                    <a:pt x="297" y="35"/>
                  </a:cubicBezTo>
                  <a:cubicBezTo>
                    <a:pt x="293" y="37"/>
                    <a:pt x="287" y="40"/>
                    <a:pt x="283" y="42"/>
                  </a:cubicBezTo>
                  <a:cubicBezTo>
                    <a:pt x="282" y="43"/>
                    <a:pt x="282" y="46"/>
                    <a:pt x="284" y="47"/>
                  </a:cubicBezTo>
                  <a:cubicBezTo>
                    <a:pt x="305" y="52"/>
                    <a:pt x="305" y="52"/>
                    <a:pt x="305" y="52"/>
                  </a:cubicBezTo>
                  <a:cubicBezTo>
                    <a:pt x="308" y="53"/>
                    <a:pt x="311" y="51"/>
                    <a:pt x="312" y="48"/>
                  </a:cubicBezTo>
                  <a:cubicBezTo>
                    <a:pt x="312" y="46"/>
                    <a:pt x="312" y="46"/>
                    <a:pt x="312" y="46"/>
                  </a:cubicBezTo>
                  <a:cubicBezTo>
                    <a:pt x="313" y="44"/>
                    <a:pt x="315" y="42"/>
                    <a:pt x="317" y="42"/>
                  </a:cubicBezTo>
                  <a:cubicBezTo>
                    <a:pt x="329" y="42"/>
                    <a:pt x="329" y="42"/>
                    <a:pt x="329" y="42"/>
                  </a:cubicBezTo>
                  <a:cubicBezTo>
                    <a:pt x="332" y="35"/>
                    <a:pt x="332" y="35"/>
                    <a:pt x="332" y="35"/>
                  </a:cubicBezTo>
                  <a:cubicBezTo>
                    <a:pt x="333" y="33"/>
                    <a:pt x="332" y="31"/>
                    <a:pt x="330" y="31"/>
                  </a:cubicBezTo>
                  <a:cubicBezTo>
                    <a:pt x="323" y="31"/>
                    <a:pt x="323" y="31"/>
                    <a:pt x="323" y="31"/>
                  </a:cubicBezTo>
                  <a:cubicBezTo>
                    <a:pt x="323" y="18"/>
                    <a:pt x="323" y="18"/>
                    <a:pt x="323" y="18"/>
                  </a:cubicBezTo>
                  <a:cubicBezTo>
                    <a:pt x="302" y="8"/>
                    <a:pt x="302" y="8"/>
                    <a:pt x="302" y="8"/>
                  </a:cubicBezTo>
                  <a:cubicBezTo>
                    <a:pt x="293" y="4"/>
                    <a:pt x="283" y="4"/>
                    <a:pt x="274" y="7"/>
                  </a:cubicBezTo>
                  <a:cubicBezTo>
                    <a:pt x="257" y="13"/>
                    <a:pt x="257" y="13"/>
                    <a:pt x="257" y="13"/>
                  </a:cubicBezTo>
                  <a:cubicBezTo>
                    <a:pt x="257" y="23"/>
                    <a:pt x="257" y="23"/>
                    <a:pt x="257" y="23"/>
                  </a:cubicBezTo>
                  <a:cubicBezTo>
                    <a:pt x="257" y="26"/>
                    <a:pt x="255" y="28"/>
                    <a:pt x="253" y="27"/>
                  </a:cubicBezTo>
                  <a:cubicBezTo>
                    <a:pt x="246" y="27"/>
                    <a:pt x="246" y="27"/>
                    <a:pt x="246" y="27"/>
                  </a:cubicBezTo>
                  <a:cubicBezTo>
                    <a:pt x="244" y="26"/>
                    <a:pt x="242" y="25"/>
                    <a:pt x="242" y="23"/>
                  </a:cubicBezTo>
                  <a:cubicBezTo>
                    <a:pt x="242" y="17"/>
                    <a:pt x="242" y="17"/>
                    <a:pt x="242" y="17"/>
                  </a:cubicBezTo>
                  <a:cubicBezTo>
                    <a:pt x="249" y="11"/>
                    <a:pt x="249" y="11"/>
                    <a:pt x="249" y="11"/>
                  </a:cubicBezTo>
                  <a:cubicBezTo>
                    <a:pt x="251" y="9"/>
                    <a:pt x="249" y="6"/>
                    <a:pt x="246" y="6"/>
                  </a:cubicBezTo>
                  <a:cubicBezTo>
                    <a:pt x="231" y="6"/>
                    <a:pt x="231" y="6"/>
                    <a:pt x="231" y="6"/>
                  </a:cubicBezTo>
                  <a:cubicBezTo>
                    <a:pt x="229" y="6"/>
                    <a:pt x="227" y="7"/>
                    <a:pt x="226" y="9"/>
                  </a:cubicBezTo>
                  <a:cubicBezTo>
                    <a:pt x="223" y="15"/>
                    <a:pt x="223" y="15"/>
                    <a:pt x="223" y="15"/>
                  </a:cubicBezTo>
                  <a:cubicBezTo>
                    <a:pt x="226" y="15"/>
                    <a:pt x="226" y="15"/>
                    <a:pt x="226" y="15"/>
                  </a:cubicBezTo>
                  <a:cubicBezTo>
                    <a:pt x="228" y="15"/>
                    <a:pt x="230" y="17"/>
                    <a:pt x="230" y="19"/>
                  </a:cubicBezTo>
                  <a:cubicBezTo>
                    <a:pt x="230" y="22"/>
                    <a:pt x="230" y="22"/>
                    <a:pt x="230" y="22"/>
                  </a:cubicBezTo>
                  <a:cubicBezTo>
                    <a:pt x="230" y="24"/>
                    <a:pt x="228" y="26"/>
                    <a:pt x="226" y="26"/>
                  </a:cubicBezTo>
                  <a:cubicBezTo>
                    <a:pt x="214" y="26"/>
                    <a:pt x="214" y="26"/>
                    <a:pt x="214" y="26"/>
                  </a:cubicBezTo>
                  <a:cubicBezTo>
                    <a:pt x="212" y="29"/>
                    <a:pt x="212" y="29"/>
                    <a:pt x="212" y="29"/>
                  </a:cubicBezTo>
                  <a:cubicBezTo>
                    <a:pt x="211" y="31"/>
                    <a:pt x="209" y="32"/>
                    <a:pt x="207" y="32"/>
                  </a:cubicBezTo>
                  <a:cubicBezTo>
                    <a:pt x="196" y="32"/>
                    <a:pt x="196" y="32"/>
                    <a:pt x="196" y="32"/>
                  </a:cubicBezTo>
                  <a:cubicBezTo>
                    <a:pt x="192" y="32"/>
                    <a:pt x="190" y="29"/>
                    <a:pt x="190" y="26"/>
                  </a:cubicBezTo>
                  <a:cubicBezTo>
                    <a:pt x="190" y="20"/>
                    <a:pt x="190" y="20"/>
                    <a:pt x="190" y="20"/>
                  </a:cubicBezTo>
                  <a:cubicBezTo>
                    <a:pt x="208" y="20"/>
                    <a:pt x="208" y="20"/>
                    <a:pt x="208" y="20"/>
                  </a:cubicBezTo>
                  <a:cubicBezTo>
                    <a:pt x="218" y="7"/>
                    <a:pt x="218" y="7"/>
                    <a:pt x="218" y="7"/>
                  </a:cubicBezTo>
                  <a:cubicBezTo>
                    <a:pt x="215" y="5"/>
                    <a:pt x="215" y="5"/>
                    <a:pt x="215" y="5"/>
                  </a:cubicBezTo>
                  <a:cubicBezTo>
                    <a:pt x="213" y="4"/>
                    <a:pt x="210" y="4"/>
                    <a:pt x="209" y="6"/>
                  </a:cubicBezTo>
                  <a:cubicBezTo>
                    <a:pt x="205" y="10"/>
                    <a:pt x="205" y="10"/>
                    <a:pt x="205" y="10"/>
                  </a:cubicBezTo>
                  <a:cubicBezTo>
                    <a:pt x="203" y="12"/>
                    <a:pt x="202" y="12"/>
                    <a:pt x="200" y="12"/>
                  </a:cubicBezTo>
                  <a:cubicBezTo>
                    <a:pt x="191" y="12"/>
                    <a:pt x="191" y="12"/>
                    <a:pt x="191" y="12"/>
                  </a:cubicBezTo>
                  <a:cubicBezTo>
                    <a:pt x="188" y="12"/>
                    <a:pt x="186" y="11"/>
                    <a:pt x="185" y="9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59" y="0"/>
                    <a:pt x="156" y="1"/>
                    <a:pt x="153" y="4"/>
                  </a:cubicBezTo>
                  <a:cubicBezTo>
                    <a:pt x="145" y="11"/>
                    <a:pt x="145" y="11"/>
                    <a:pt x="145" y="11"/>
                  </a:cubicBezTo>
                  <a:cubicBezTo>
                    <a:pt x="144" y="12"/>
                    <a:pt x="144" y="14"/>
                    <a:pt x="146" y="14"/>
                  </a:cubicBezTo>
                  <a:cubicBezTo>
                    <a:pt x="160" y="14"/>
                    <a:pt x="160" y="14"/>
                    <a:pt x="160" y="14"/>
                  </a:cubicBezTo>
                  <a:cubicBezTo>
                    <a:pt x="160" y="20"/>
                    <a:pt x="160" y="20"/>
                    <a:pt x="160" y="20"/>
                  </a:cubicBezTo>
                  <a:cubicBezTo>
                    <a:pt x="159" y="21"/>
                    <a:pt x="159" y="21"/>
                    <a:pt x="159" y="21"/>
                  </a:cubicBezTo>
                  <a:cubicBezTo>
                    <a:pt x="158" y="23"/>
                    <a:pt x="159" y="26"/>
                    <a:pt x="161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4" y="26"/>
                    <a:pt x="177" y="28"/>
                    <a:pt x="177" y="30"/>
                  </a:cubicBezTo>
                  <a:cubicBezTo>
                    <a:pt x="178" y="33"/>
                    <a:pt x="178" y="33"/>
                    <a:pt x="178" y="33"/>
                  </a:cubicBezTo>
                  <a:cubicBezTo>
                    <a:pt x="159" y="33"/>
                    <a:pt x="159" y="33"/>
                    <a:pt x="159" y="33"/>
                  </a:cubicBezTo>
                  <a:cubicBezTo>
                    <a:pt x="156" y="33"/>
                    <a:pt x="153" y="31"/>
                    <a:pt x="152" y="28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4" y="19"/>
                    <a:pt x="114" y="19"/>
                    <a:pt x="114" y="19"/>
                  </a:cubicBezTo>
                  <a:cubicBezTo>
                    <a:pt x="79" y="46"/>
                    <a:pt x="49" y="79"/>
                    <a:pt x="27" y="117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2" y="126"/>
                    <a:pt x="22" y="126"/>
                    <a:pt x="22" y="126"/>
                  </a:cubicBezTo>
                  <a:cubicBezTo>
                    <a:pt x="13" y="142"/>
                    <a:pt x="6" y="158"/>
                    <a:pt x="0" y="174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4" y="213"/>
                    <a:pt x="15" y="218"/>
                    <a:pt x="18" y="222"/>
                  </a:cubicBezTo>
                  <a:cubicBezTo>
                    <a:pt x="28" y="241"/>
                    <a:pt x="28" y="241"/>
                    <a:pt x="28" y="241"/>
                  </a:cubicBezTo>
                  <a:cubicBezTo>
                    <a:pt x="34" y="241"/>
                    <a:pt x="34" y="241"/>
                    <a:pt x="34" y="241"/>
                  </a:cubicBezTo>
                  <a:cubicBezTo>
                    <a:pt x="34" y="231"/>
                    <a:pt x="34" y="231"/>
                    <a:pt x="34" y="231"/>
                  </a:cubicBezTo>
                  <a:cubicBezTo>
                    <a:pt x="27" y="211"/>
                    <a:pt x="27" y="211"/>
                    <a:pt x="27" y="211"/>
                  </a:cubicBezTo>
                  <a:cubicBezTo>
                    <a:pt x="27" y="199"/>
                    <a:pt x="27" y="199"/>
                    <a:pt x="27" y="199"/>
                  </a:cubicBezTo>
                  <a:cubicBezTo>
                    <a:pt x="27" y="196"/>
                    <a:pt x="30" y="193"/>
                    <a:pt x="33" y="193"/>
                  </a:cubicBezTo>
                  <a:cubicBezTo>
                    <a:pt x="33" y="210"/>
                    <a:pt x="33" y="210"/>
                    <a:pt x="33" y="210"/>
                  </a:cubicBezTo>
                  <a:cubicBezTo>
                    <a:pt x="48" y="232"/>
                    <a:pt x="48" y="232"/>
                    <a:pt x="48" y="232"/>
                  </a:cubicBezTo>
                  <a:cubicBezTo>
                    <a:pt x="48" y="242"/>
                    <a:pt x="48" y="242"/>
                    <a:pt x="48" y="242"/>
                  </a:cubicBezTo>
                  <a:cubicBezTo>
                    <a:pt x="51" y="242"/>
                    <a:pt x="51" y="242"/>
                    <a:pt x="51" y="242"/>
                  </a:cubicBezTo>
                  <a:cubicBezTo>
                    <a:pt x="51" y="249"/>
                    <a:pt x="51" y="249"/>
                    <a:pt x="51" y="249"/>
                  </a:cubicBezTo>
                  <a:cubicBezTo>
                    <a:pt x="61" y="268"/>
                    <a:pt x="61" y="268"/>
                    <a:pt x="61" y="268"/>
                  </a:cubicBezTo>
                  <a:cubicBezTo>
                    <a:pt x="90" y="276"/>
                    <a:pt x="90" y="276"/>
                    <a:pt x="90" y="276"/>
                  </a:cubicBezTo>
                  <a:cubicBezTo>
                    <a:pt x="91" y="276"/>
                    <a:pt x="92" y="275"/>
                    <a:pt x="92" y="274"/>
                  </a:cubicBezTo>
                  <a:cubicBezTo>
                    <a:pt x="92" y="271"/>
                    <a:pt x="92" y="271"/>
                    <a:pt x="92" y="271"/>
                  </a:cubicBezTo>
                  <a:cubicBezTo>
                    <a:pt x="92" y="270"/>
                    <a:pt x="93" y="270"/>
                    <a:pt x="93" y="270"/>
                  </a:cubicBezTo>
                  <a:cubicBezTo>
                    <a:pt x="102" y="272"/>
                    <a:pt x="102" y="272"/>
                    <a:pt x="102" y="272"/>
                  </a:cubicBezTo>
                  <a:cubicBezTo>
                    <a:pt x="103" y="272"/>
                    <a:pt x="103" y="272"/>
                    <a:pt x="103" y="273"/>
                  </a:cubicBezTo>
                  <a:cubicBezTo>
                    <a:pt x="103" y="279"/>
                    <a:pt x="103" y="279"/>
                    <a:pt x="103" y="279"/>
                  </a:cubicBezTo>
                  <a:cubicBezTo>
                    <a:pt x="103" y="279"/>
                    <a:pt x="104" y="280"/>
                    <a:pt x="104" y="280"/>
                  </a:cubicBezTo>
                  <a:cubicBezTo>
                    <a:pt x="124" y="286"/>
                    <a:pt x="124" y="286"/>
                    <a:pt x="124" y="286"/>
                  </a:cubicBezTo>
                  <a:cubicBezTo>
                    <a:pt x="125" y="286"/>
                    <a:pt x="126" y="287"/>
                    <a:pt x="127" y="288"/>
                  </a:cubicBezTo>
                  <a:cubicBezTo>
                    <a:pt x="146" y="310"/>
                    <a:pt x="146" y="310"/>
                    <a:pt x="146" y="310"/>
                  </a:cubicBezTo>
                  <a:cubicBezTo>
                    <a:pt x="169" y="310"/>
                    <a:pt x="169" y="310"/>
                    <a:pt x="169" y="310"/>
                  </a:cubicBezTo>
                  <a:cubicBezTo>
                    <a:pt x="172" y="310"/>
                    <a:pt x="174" y="313"/>
                    <a:pt x="174" y="316"/>
                  </a:cubicBezTo>
                  <a:cubicBezTo>
                    <a:pt x="174" y="329"/>
                    <a:pt x="174" y="329"/>
                    <a:pt x="174" y="329"/>
                  </a:cubicBezTo>
                  <a:cubicBezTo>
                    <a:pt x="157" y="347"/>
                    <a:pt x="157" y="347"/>
                    <a:pt x="157" y="347"/>
                  </a:cubicBezTo>
                  <a:cubicBezTo>
                    <a:pt x="157" y="383"/>
                    <a:pt x="157" y="383"/>
                    <a:pt x="157" y="383"/>
                  </a:cubicBezTo>
                  <a:cubicBezTo>
                    <a:pt x="184" y="410"/>
                    <a:pt x="184" y="410"/>
                    <a:pt x="184" y="410"/>
                  </a:cubicBezTo>
                  <a:cubicBezTo>
                    <a:pt x="184" y="419"/>
                    <a:pt x="184" y="419"/>
                    <a:pt x="184" y="419"/>
                  </a:cubicBezTo>
                  <a:cubicBezTo>
                    <a:pt x="195" y="419"/>
                    <a:pt x="195" y="419"/>
                    <a:pt x="195" y="419"/>
                  </a:cubicBezTo>
                  <a:cubicBezTo>
                    <a:pt x="216" y="439"/>
                    <a:pt x="216" y="439"/>
                    <a:pt x="216" y="439"/>
                  </a:cubicBezTo>
                  <a:cubicBezTo>
                    <a:pt x="216" y="499"/>
                    <a:pt x="216" y="499"/>
                    <a:pt x="216" y="499"/>
                  </a:cubicBezTo>
                  <a:cubicBezTo>
                    <a:pt x="221" y="499"/>
                    <a:pt x="221" y="499"/>
                    <a:pt x="221" y="499"/>
                  </a:cubicBezTo>
                  <a:cubicBezTo>
                    <a:pt x="217" y="518"/>
                    <a:pt x="217" y="518"/>
                    <a:pt x="217" y="518"/>
                  </a:cubicBezTo>
                  <a:cubicBezTo>
                    <a:pt x="254" y="511"/>
                    <a:pt x="288" y="500"/>
                    <a:pt x="320" y="484"/>
                  </a:cubicBezTo>
                  <a:cubicBezTo>
                    <a:pt x="317" y="470"/>
                    <a:pt x="317" y="470"/>
                    <a:pt x="317" y="470"/>
                  </a:cubicBezTo>
                  <a:cubicBezTo>
                    <a:pt x="323" y="461"/>
                    <a:pt x="323" y="461"/>
                    <a:pt x="323" y="461"/>
                  </a:cubicBezTo>
                  <a:cubicBezTo>
                    <a:pt x="344" y="461"/>
                    <a:pt x="344" y="461"/>
                    <a:pt x="344" y="461"/>
                  </a:cubicBezTo>
                  <a:cubicBezTo>
                    <a:pt x="358" y="446"/>
                    <a:pt x="358" y="446"/>
                    <a:pt x="358" y="446"/>
                  </a:cubicBezTo>
                  <a:cubicBezTo>
                    <a:pt x="360" y="409"/>
                    <a:pt x="360" y="409"/>
                    <a:pt x="360" y="409"/>
                  </a:cubicBezTo>
                  <a:cubicBezTo>
                    <a:pt x="372" y="395"/>
                    <a:pt x="372" y="395"/>
                    <a:pt x="372" y="395"/>
                  </a:cubicBezTo>
                  <a:cubicBezTo>
                    <a:pt x="375" y="391"/>
                    <a:pt x="377" y="386"/>
                    <a:pt x="377" y="380"/>
                  </a:cubicBezTo>
                  <a:cubicBezTo>
                    <a:pt x="377" y="378"/>
                    <a:pt x="377" y="378"/>
                    <a:pt x="377" y="378"/>
                  </a:cubicBezTo>
                  <a:cubicBezTo>
                    <a:pt x="364" y="374"/>
                    <a:pt x="364" y="374"/>
                    <a:pt x="364" y="374"/>
                  </a:cubicBezTo>
                  <a:lnTo>
                    <a:pt x="357" y="360"/>
                  </a:lnTo>
                  <a:close/>
                  <a:moveTo>
                    <a:pt x="135" y="58"/>
                  </a:moveTo>
                  <a:cubicBezTo>
                    <a:pt x="118" y="58"/>
                    <a:pt x="118" y="58"/>
                    <a:pt x="118" y="58"/>
                  </a:cubicBezTo>
                  <a:cubicBezTo>
                    <a:pt x="117" y="58"/>
                    <a:pt x="117" y="56"/>
                    <a:pt x="118" y="55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4" y="52"/>
                    <a:pt x="126" y="51"/>
                    <a:pt x="128" y="51"/>
                  </a:cubicBezTo>
                  <a:cubicBezTo>
                    <a:pt x="135" y="51"/>
                    <a:pt x="135" y="51"/>
                    <a:pt x="135" y="51"/>
                  </a:cubicBezTo>
                  <a:lnTo>
                    <a:pt x="135" y="58"/>
                  </a:lnTo>
                  <a:close/>
                  <a:moveTo>
                    <a:pt x="201" y="148"/>
                  </a:moveTo>
                  <a:cubicBezTo>
                    <a:pt x="199" y="151"/>
                    <a:pt x="199" y="151"/>
                    <a:pt x="199" y="151"/>
                  </a:cubicBezTo>
                  <a:cubicBezTo>
                    <a:pt x="197" y="153"/>
                    <a:pt x="195" y="153"/>
                    <a:pt x="193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6" y="153"/>
                    <a:pt x="185" y="152"/>
                    <a:pt x="185" y="150"/>
                  </a:cubicBezTo>
                  <a:cubicBezTo>
                    <a:pt x="187" y="145"/>
                    <a:pt x="187" y="145"/>
                    <a:pt x="187" y="145"/>
                  </a:cubicBezTo>
                  <a:cubicBezTo>
                    <a:pt x="198" y="142"/>
                    <a:pt x="198" y="142"/>
                    <a:pt x="198" y="142"/>
                  </a:cubicBezTo>
                  <a:cubicBezTo>
                    <a:pt x="200" y="141"/>
                    <a:pt x="201" y="143"/>
                    <a:pt x="201" y="144"/>
                  </a:cubicBezTo>
                  <a:lnTo>
                    <a:pt x="201" y="148"/>
                  </a:lnTo>
                  <a:close/>
                  <a:moveTo>
                    <a:pt x="203" y="132"/>
                  </a:moveTo>
                  <a:cubicBezTo>
                    <a:pt x="203" y="133"/>
                    <a:pt x="203" y="134"/>
                    <a:pt x="202" y="135"/>
                  </a:cubicBezTo>
                  <a:cubicBezTo>
                    <a:pt x="199" y="137"/>
                    <a:pt x="199" y="137"/>
                    <a:pt x="199" y="137"/>
                  </a:cubicBezTo>
                  <a:cubicBezTo>
                    <a:pt x="199" y="138"/>
                    <a:pt x="198" y="138"/>
                    <a:pt x="197" y="138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203" y="128"/>
                    <a:pt x="203" y="128"/>
                    <a:pt x="203" y="128"/>
                  </a:cubicBezTo>
                  <a:lnTo>
                    <a:pt x="203" y="132"/>
                  </a:lnTo>
                  <a:close/>
                  <a:moveTo>
                    <a:pt x="212" y="129"/>
                  </a:moveTo>
                  <a:cubicBezTo>
                    <a:pt x="212" y="128"/>
                    <a:pt x="213" y="128"/>
                    <a:pt x="214" y="128"/>
                  </a:cubicBezTo>
                  <a:cubicBezTo>
                    <a:pt x="216" y="130"/>
                    <a:pt x="216" y="130"/>
                    <a:pt x="216" y="130"/>
                  </a:cubicBezTo>
                  <a:cubicBezTo>
                    <a:pt x="217" y="131"/>
                    <a:pt x="217" y="133"/>
                    <a:pt x="215" y="133"/>
                  </a:cubicBezTo>
                  <a:cubicBezTo>
                    <a:pt x="212" y="133"/>
                    <a:pt x="212" y="133"/>
                    <a:pt x="212" y="133"/>
                  </a:cubicBezTo>
                  <a:lnTo>
                    <a:pt x="212" y="129"/>
                  </a:lnTo>
                  <a:close/>
                  <a:moveTo>
                    <a:pt x="206" y="135"/>
                  </a:moveTo>
                  <a:cubicBezTo>
                    <a:pt x="217" y="137"/>
                    <a:pt x="217" y="137"/>
                    <a:pt x="217" y="137"/>
                  </a:cubicBezTo>
                  <a:cubicBezTo>
                    <a:pt x="219" y="138"/>
                    <a:pt x="221" y="140"/>
                    <a:pt x="221" y="142"/>
                  </a:cubicBezTo>
                  <a:cubicBezTo>
                    <a:pt x="221" y="147"/>
                    <a:pt x="221" y="147"/>
                    <a:pt x="221" y="147"/>
                  </a:cubicBezTo>
                  <a:cubicBezTo>
                    <a:pt x="214" y="147"/>
                    <a:pt x="214" y="147"/>
                    <a:pt x="214" y="147"/>
                  </a:cubicBezTo>
                  <a:cubicBezTo>
                    <a:pt x="211" y="147"/>
                    <a:pt x="209" y="146"/>
                    <a:pt x="208" y="144"/>
                  </a:cubicBezTo>
                  <a:cubicBezTo>
                    <a:pt x="206" y="141"/>
                    <a:pt x="206" y="141"/>
                    <a:pt x="206" y="141"/>
                  </a:cubicBezTo>
                  <a:lnTo>
                    <a:pt x="206" y="135"/>
                  </a:lnTo>
                  <a:close/>
                  <a:moveTo>
                    <a:pt x="197" y="120"/>
                  </a:moveTo>
                  <a:cubicBezTo>
                    <a:pt x="197" y="118"/>
                    <a:pt x="199" y="118"/>
                    <a:pt x="199" y="119"/>
                  </a:cubicBezTo>
                  <a:cubicBezTo>
                    <a:pt x="203" y="122"/>
                    <a:pt x="203" y="122"/>
                    <a:pt x="203" y="122"/>
                  </a:cubicBezTo>
                  <a:cubicBezTo>
                    <a:pt x="204" y="123"/>
                    <a:pt x="203" y="125"/>
                    <a:pt x="202" y="125"/>
                  </a:cubicBezTo>
                  <a:cubicBezTo>
                    <a:pt x="197" y="125"/>
                    <a:pt x="197" y="125"/>
                    <a:pt x="197" y="125"/>
                  </a:cubicBezTo>
                  <a:lnTo>
                    <a:pt x="197" y="120"/>
                  </a:lnTo>
                  <a:close/>
                  <a:moveTo>
                    <a:pt x="164" y="139"/>
                  </a:moveTo>
                  <a:cubicBezTo>
                    <a:pt x="164" y="138"/>
                    <a:pt x="165" y="136"/>
                    <a:pt x="166" y="135"/>
                  </a:cubicBezTo>
                  <a:cubicBezTo>
                    <a:pt x="175" y="125"/>
                    <a:pt x="175" y="125"/>
                    <a:pt x="175" y="125"/>
                  </a:cubicBezTo>
                  <a:cubicBezTo>
                    <a:pt x="164" y="125"/>
                    <a:pt x="164" y="125"/>
                    <a:pt x="164" y="125"/>
                  </a:cubicBezTo>
                  <a:cubicBezTo>
                    <a:pt x="164" y="120"/>
                    <a:pt x="164" y="120"/>
                    <a:pt x="164" y="120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7" y="113"/>
                    <a:pt x="178" y="112"/>
                    <a:pt x="179" y="112"/>
                  </a:cubicBezTo>
                  <a:cubicBezTo>
                    <a:pt x="187" y="112"/>
                    <a:pt x="187" y="112"/>
                    <a:pt x="187" y="112"/>
                  </a:cubicBezTo>
                  <a:cubicBezTo>
                    <a:pt x="189" y="112"/>
                    <a:pt x="191" y="114"/>
                    <a:pt x="192" y="116"/>
                  </a:cubicBezTo>
                  <a:cubicBezTo>
                    <a:pt x="193" y="118"/>
                    <a:pt x="193" y="118"/>
                    <a:pt x="193" y="118"/>
                  </a:cubicBezTo>
                  <a:cubicBezTo>
                    <a:pt x="193" y="125"/>
                    <a:pt x="193" y="125"/>
                    <a:pt x="193" y="125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69" y="148"/>
                    <a:pt x="169" y="148"/>
                    <a:pt x="169" y="148"/>
                  </a:cubicBezTo>
                  <a:cubicBezTo>
                    <a:pt x="166" y="146"/>
                    <a:pt x="164" y="143"/>
                    <a:pt x="164" y="140"/>
                  </a:cubicBezTo>
                  <a:lnTo>
                    <a:pt x="164" y="139"/>
                  </a:lnTo>
                  <a:close/>
                  <a:moveTo>
                    <a:pt x="152" y="88"/>
                  </a:moveTo>
                  <a:cubicBezTo>
                    <a:pt x="153" y="88"/>
                    <a:pt x="155" y="87"/>
                    <a:pt x="156" y="88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61" y="89"/>
                    <a:pt x="162" y="90"/>
                    <a:pt x="162" y="92"/>
                  </a:cubicBezTo>
                  <a:cubicBezTo>
                    <a:pt x="162" y="99"/>
                    <a:pt x="162" y="99"/>
                    <a:pt x="162" y="99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3"/>
                    <a:pt x="152" y="102"/>
                    <a:pt x="150" y="101"/>
                  </a:cubicBezTo>
                  <a:cubicBezTo>
                    <a:pt x="146" y="93"/>
                    <a:pt x="146" y="93"/>
                    <a:pt x="146" y="93"/>
                  </a:cubicBezTo>
                  <a:lnTo>
                    <a:pt x="152" y="88"/>
                  </a:lnTo>
                  <a:close/>
                  <a:moveTo>
                    <a:pt x="112" y="38"/>
                  </a:moveTo>
                  <a:cubicBezTo>
                    <a:pt x="112" y="36"/>
                    <a:pt x="113" y="35"/>
                    <a:pt x="115" y="34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35" y="33"/>
                    <a:pt x="135" y="33"/>
                    <a:pt x="135" y="33"/>
                  </a:cubicBezTo>
                  <a:cubicBezTo>
                    <a:pt x="135" y="40"/>
                    <a:pt x="135" y="40"/>
                    <a:pt x="135" y="40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31" y="43"/>
                    <a:pt x="129" y="43"/>
                    <a:pt x="128" y="43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3" y="43"/>
                    <a:pt x="112" y="42"/>
                    <a:pt x="112" y="39"/>
                  </a:cubicBezTo>
                  <a:lnTo>
                    <a:pt x="112" y="38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5">
              <a:extLst>
                <a:ext uri="{FF2B5EF4-FFF2-40B4-BE49-F238E27FC236}">
                  <a16:creationId xmlns:a16="http://schemas.microsoft.com/office/drawing/2014/main" id="{775827F9-8378-4413-9996-36D2A81DDEE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7" y="1897"/>
              <a:ext cx="189" cy="92"/>
            </a:xfrm>
            <a:custGeom>
              <a:avLst/>
              <a:gdLst>
                <a:gd name="T0" fmla="*/ 0 w 97"/>
                <a:gd name="T1" fmla="*/ 47 h 47"/>
                <a:gd name="T2" fmla="*/ 97 w 97"/>
                <a:gd name="T3" fmla="*/ 14 h 47"/>
                <a:gd name="T4" fmla="*/ 24 w 97"/>
                <a:gd name="T5" fmla="*/ 0 h 47"/>
                <a:gd name="T6" fmla="*/ 0 w 97"/>
                <a:gd name="T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47">
                  <a:moveTo>
                    <a:pt x="0" y="47"/>
                  </a:moveTo>
                  <a:cubicBezTo>
                    <a:pt x="97" y="14"/>
                    <a:pt x="97" y="14"/>
                    <a:pt x="97" y="1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5" y="15"/>
                    <a:pt x="7" y="31"/>
                    <a:pt x="0" y="47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6">
              <a:extLst>
                <a:ext uri="{FF2B5EF4-FFF2-40B4-BE49-F238E27FC236}">
                  <a16:creationId xmlns:a16="http://schemas.microsoft.com/office/drawing/2014/main" id="{35BE4B4E-895A-4A06-BFF7-3CF58DDE28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1" y="2012"/>
              <a:ext cx="248" cy="302"/>
            </a:xfrm>
            <a:custGeom>
              <a:avLst/>
              <a:gdLst>
                <a:gd name="T0" fmla="*/ 91 w 127"/>
                <a:gd name="T1" fmla="*/ 0 h 154"/>
                <a:gd name="T2" fmla="*/ 81 w 127"/>
                <a:gd name="T3" fmla="*/ 8 h 154"/>
                <a:gd name="T4" fmla="*/ 54 w 127"/>
                <a:gd name="T5" fmla="*/ 8 h 154"/>
                <a:gd name="T6" fmla="*/ 38 w 127"/>
                <a:gd name="T7" fmla="*/ 18 h 154"/>
                <a:gd name="T8" fmla="*/ 38 w 127"/>
                <a:gd name="T9" fmla="*/ 37 h 154"/>
                <a:gd name="T10" fmla="*/ 0 w 127"/>
                <a:gd name="T11" fmla="*/ 64 h 154"/>
                <a:gd name="T12" fmla="*/ 0 w 127"/>
                <a:gd name="T13" fmla="*/ 75 h 154"/>
                <a:gd name="T14" fmla="*/ 11 w 127"/>
                <a:gd name="T15" fmla="*/ 75 h 154"/>
                <a:gd name="T16" fmla="*/ 11 w 127"/>
                <a:gd name="T17" fmla="*/ 88 h 154"/>
                <a:gd name="T18" fmla="*/ 0 w 127"/>
                <a:gd name="T19" fmla="*/ 88 h 154"/>
                <a:gd name="T20" fmla="*/ 0 w 127"/>
                <a:gd name="T21" fmla="*/ 120 h 154"/>
                <a:gd name="T22" fmla="*/ 34 w 127"/>
                <a:gd name="T23" fmla="*/ 154 h 154"/>
                <a:gd name="T24" fmla="*/ 76 w 127"/>
                <a:gd name="T25" fmla="*/ 154 h 154"/>
                <a:gd name="T26" fmla="*/ 77 w 127"/>
                <a:gd name="T27" fmla="*/ 154 h 154"/>
                <a:gd name="T28" fmla="*/ 127 w 127"/>
                <a:gd name="T29" fmla="*/ 0 h 154"/>
                <a:gd name="T30" fmla="*/ 91 w 127"/>
                <a:gd name="T31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" h="154">
                  <a:moveTo>
                    <a:pt x="91" y="0"/>
                  </a:moveTo>
                  <a:cubicBezTo>
                    <a:pt x="81" y="8"/>
                    <a:pt x="81" y="8"/>
                    <a:pt x="81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34" y="154"/>
                    <a:pt x="34" y="154"/>
                    <a:pt x="34" y="154"/>
                  </a:cubicBezTo>
                  <a:cubicBezTo>
                    <a:pt x="76" y="154"/>
                    <a:pt x="76" y="154"/>
                    <a:pt x="76" y="154"/>
                  </a:cubicBezTo>
                  <a:cubicBezTo>
                    <a:pt x="77" y="154"/>
                    <a:pt x="77" y="154"/>
                    <a:pt x="77" y="154"/>
                  </a:cubicBezTo>
                  <a:cubicBezTo>
                    <a:pt x="103" y="108"/>
                    <a:pt x="121" y="56"/>
                    <a:pt x="127" y="0"/>
                  </a:cubicBezTo>
                  <a:lnTo>
                    <a:pt x="91" y="0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7">
              <a:extLst>
                <a:ext uri="{FF2B5EF4-FFF2-40B4-BE49-F238E27FC236}">
                  <a16:creationId xmlns:a16="http://schemas.microsoft.com/office/drawing/2014/main" id="{6638C4F5-135A-420B-87C9-99AB90761C2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84" y="1771"/>
              <a:ext cx="43" cy="69"/>
            </a:xfrm>
            <a:custGeom>
              <a:avLst/>
              <a:gdLst>
                <a:gd name="T0" fmla="*/ 0 w 22"/>
                <a:gd name="T1" fmla="*/ 21 h 35"/>
                <a:gd name="T2" fmla="*/ 11 w 22"/>
                <a:gd name="T3" fmla="*/ 21 h 35"/>
                <a:gd name="T4" fmla="*/ 14 w 22"/>
                <a:gd name="T5" fmla="*/ 35 h 35"/>
                <a:gd name="T6" fmla="*/ 22 w 22"/>
                <a:gd name="T7" fmla="*/ 31 h 35"/>
                <a:gd name="T8" fmla="*/ 17 w 22"/>
                <a:gd name="T9" fmla="*/ 0 h 35"/>
                <a:gd name="T10" fmla="*/ 13 w 22"/>
                <a:gd name="T11" fmla="*/ 1 h 35"/>
                <a:gd name="T12" fmla="*/ 0 w 22"/>
                <a:gd name="T13" fmla="*/ 10 h 35"/>
                <a:gd name="T14" fmla="*/ 0 w 22"/>
                <a:gd name="T15" fmla="*/ 2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5">
                  <a:moveTo>
                    <a:pt x="0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1" y="21"/>
                    <a:pt x="19" y="10"/>
                    <a:pt x="17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0" y="10"/>
                    <a:pt x="0" y="10"/>
                    <a:pt x="0" y="10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8">
              <a:extLst>
                <a:ext uri="{FF2B5EF4-FFF2-40B4-BE49-F238E27FC236}">
                  <a16:creationId xmlns:a16="http://schemas.microsoft.com/office/drawing/2014/main" id="{424B9A20-09DC-4D97-A8EF-F29935B6D0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5" y="1855"/>
              <a:ext cx="168" cy="155"/>
            </a:xfrm>
            <a:custGeom>
              <a:avLst/>
              <a:gdLst>
                <a:gd name="T0" fmla="*/ 86 w 86"/>
                <a:gd name="T1" fmla="*/ 53 h 79"/>
                <a:gd name="T2" fmla="*/ 86 w 86"/>
                <a:gd name="T3" fmla="*/ 36 h 79"/>
                <a:gd name="T4" fmla="*/ 85 w 86"/>
                <a:gd name="T5" fmla="*/ 0 h 79"/>
                <a:gd name="T6" fmla="*/ 64 w 86"/>
                <a:gd name="T7" fmla="*/ 0 h 79"/>
                <a:gd name="T8" fmla="*/ 51 w 86"/>
                <a:gd name="T9" fmla="*/ 19 h 79"/>
                <a:gd name="T10" fmla="*/ 34 w 86"/>
                <a:gd name="T11" fmla="*/ 19 h 79"/>
                <a:gd name="T12" fmla="*/ 31 w 86"/>
                <a:gd name="T13" fmla="*/ 37 h 79"/>
                <a:gd name="T14" fmla="*/ 40 w 86"/>
                <a:gd name="T15" fmla="*/ 37 h 79"/>
                <a:gd name="T16" fmla="*/ 40 w 86"/>
                <a:gd name="T17" fmla="*/ 48 h 79"/>
                <a:gd name="T18" fmla="*/ 27 w 86"/>
                <a:gd name="T19" fmla="*/ 44 h 79"/>
                <a:gd name="T20" fmla="*/ 14 w 86"/>
                <a:gd name="T21" fmla="*/ 44 h 79"/>
                <a:gd name="T22" fmla="*/ 0 w 86"/>
                <a:gd name="T23" fmla="*/ 50 h 79"/>
                <a:gd name="T24" fmla="*/ 0 w 86"/>
                <a:gd name="T25" fmla="*/ 71 h 79"/>
                <a:gd name="T26" fmla="*/ 10 w 86"/>
                <a:gd name="T27" fmla="*/ 79 h 79"/>
                <a:gd name="T28" fmla="*/ 39 w 86"/>
                <a:gd name="T29" fmla="*/ 79 h 79"/>
                <a:gd name="T30" fmla="*/ 39 w 86"/>
                <a:gd name="T31" fmla="*/ 72 h 79"/>
                <a:gd name="T32" fmla="*/ 59 w 86"/>
                <a:gd name="T33" fmla="*/ 52 h 79"/>
                <a:gd name="T34" fmla="*/ 69 w 86"/>
                <a:gd name="T35" fmla="*/ 52 h 79"/>
                <a:gd name="T36" fmla="*/ 80 w 86"/>
                <a:gd name="T37" fmla="*/ 43 h 79"/>
                <a:gd name="T38" fmla="*/ 80 w 86"/>
                <a:gd name="T39" fmla="*/ 50 h 79"/>
                <a:gd name="T40" fmla="*/ 86 w 86"/>
                <a:gd name="T41" fmla="*/ 5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6" h="79">
                  <a:moveTo>
                    <a:pt x="86" y="53"/>
                  </a:moveTo>
                  <a:cubicBezTo>
                    <a:pt x="86" y="48"/>
                    <a:pt x="86" y="42"/>
                    <a:pt x="86" y="36"/>
                  </a:cubicBezTo>
                  <a:cubicBezTo>
                    <a:pt x="86" y="24"/>
                    <a:pt x="86" y="12"/>
                    <a:pt x="85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50"/>
                    <a:pt x="80" y="50"/>
                    <a:pt x="80" y="50"/>
                  </a:cubicBezTo>
                  <a:lnTo>
                    <a:pt x="86" y="53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29">
              <a:extLst>
                <a:ext uri="{FF2B5EF4-FFF2-40B4-BE49-F238E27FC236}">
                  <a16:creationId xmlns:a16="http://schemas.microsoft.com/office/drawing/2014/main" id="{1DA06387-298D-4593-81CD-B1CC32DBA85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4" y="2743"/>
              <a:ext cx="1565" cy="519"/>
            </a:xfrm>
            <a:custGeom>
              <a:avLst/>
              <a:gdLst>
                <a:gd name="T0" fmla="*/ 349 w 800"/>
                <a:gd name="T1" fmla="*/ 265 h 265"/>
                <a:gd name="T2" fmla="*/ 0 w 800"/>
                <a:gd name="T3" fmla="*/ 132 h 265"/>
                <a:gd name="T4" fmla="*/ 8 w 800"/>
                <a:gd name="T5" fmla="*/ 122 h 265"/>
                <a:gd name="T6" fmla="*/ 349 w 800"/>
                <a:gd name="T7" fmla="*/ 253 h 265"/>
                <a:gd name="T8" fmla="*/ 789 w 800"/>
                <a:gd name="T9" fmla="*/ 0 h 265"/>
                <a:gd name="T10" fmla="*/ 800 w 800"/>
                <a:gd name="T11" fmla="*/ 7 h 265"/>
                <a:gd name="T12" fmla="*/ 349 w 800"/>
                <a:gd name="T13" fmla="*/ 26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265">
                  <a:moveTo>
                    <a:pt x="349" y="265"/>
                  </a:moveTo>
                  <a:cubicBezTo>
                    <a:pt x="220" y="265"/>
                    <a:pt x="96" y="218"/>
                    <a:pt x="0" y="13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102" y="206"/>
                    <a:pt x="223" y="253"/>
                    <a:pt x="349" y="253"/>
                  </a:cubicBezTo>
                  <a:cubicBezTo>
                    <a:pt x="529" y="253"/>
                    <a:pt x="698" y="156"/>
                    <a:pt x="789" y="0"/>
                  </a:cubicBezTo>
                  <a:cubicBezTo>
                    <a:pt x="800" y="7"/>
                    <a:pt x="800" y="7"/>
                    <a:pt x="800" y="7"/>
                  </a:cubicBezTo>
                  <a:cubicBezTo>
                    <a:pt x="706" y="166"/>
                    <a:pt x="533" y="265"/>
                    <a:pt x="349" y="265"/>
                  </a:cubicBez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0">
              <a:extLst>
                <a:ext uri="{FF2B5EF4-FFF2-40B4-BE49-F238E27FC236}">
                  <a16:creationId xmlns:a16="http://schemas.microsoft.com/office/drawing/2014/main" id="{18E7828D-4BB3-4E3C-9EDC-BD1A7BD599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4" y="1246"/>
              <a:ext cx="892" cy="678"/>
            </a:xfrm>
            <a:custGeom>
              <a:avLst/>
              <a:gdLst>
                <a:gd name="T0" fmla="*/ 0 w 456"/>
                <a:gd name="T1" fmla="*/ 66 h 346"/>
                <a:gd name="T2" fmla="*/ 0 w 456"/>
                <a:gd name="T3" fmla="*/ 218 h 346"/>
                <a:gd name="T4" fmla="*/ 66 w 456"/>
                <a:gd name="T5" fmla="*/ 346 h 346"/>
                <a:gd name="T6" fmla="*/ 456 w 456"/>
                <a:gd name="T7" fmla="*/ 346 h 346"/>
                <a:gd name="T8" fmla="*/ 364 w 456"/>
                <a:gd name="T9" fmla="*/ 285 h 346"/>
                <a:gd name="T10" fmla="*/ 364 w 456"/>
                <a:gd name="T11" fmla="*/ 281 h 346"/>
                <a:gd name="T12" fmla="*/ 364 w 456"/>
                <a:gd name="T13" fmla="*/ 66 h 346"/>
                <a:gd name="T14" fmla="*/ 298 w 456"/>
                <a:gd name="T15" fmla="*/ 0 h 346"/>
                <a:gd name="T16" fmla="*/ 66 w 456"/>
                <a:gd name="T17" fmla="*/ 0 h 346"/>
                <a:gd name="T18" fmla="*/ 0 w 456"/>
                <a:gd name="T19" fmla="*/ 6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6" h="346">
                  <a:moveTo>
                    <a:pt x="0" y="66"/>
                  </a:moveTo>
                  <a:cubicBezTo>
                    <a:pt x="0" y="218"/>
                    <a:pt x="0" y="218"/>
                    <a:pt x="0" y="218"/>
                  </a:cubicBezTo>
                  <a:cubicBezTo>
                    <a:pt x="0" y="254"/>
                    <a:pt x="30" y="346"/>
                    <a:pt x="66" y="346"/>
                  </a:cubicBezTo>
                  <a:cubicBezTo>
                    <a:pt x="456" y="346"/>
                    <a:pt x="456" y="346"/>
                    <a:pt x="456" y="346"/>
                  </a:cubicBezTo>
                  <a:cubicBezTo>
                    <a:pt x="364" y="285"/>
                    <a:pt x="364" y="285"/>
                    <a:pt x="364" y="285"/>
                  </a:cubicBezTo>
                  <a:cubicBezTo>
                    <a:pt x="364" y="284"/>
                    <a:pt x="364" y="282"/>
                    <a:pt x="364" y="281"/>
                  </a:cubicBezTo>
                  <a:cubicBezTo>
                    <a:pt x="364" y="66"/>
                    <a:pt x="364" y="66"/>
                    <a:pt x="364" y="66"/>
                  </a:cubicBezTo>
                  <a:cubicBezTo>
                    <a:pt x="364" y="30"/>
                    <a:pt x="334" y="0"/>
                    <a:pt x="29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30" y="0"/>
                    <a:pt x="0" y="30"/>
                    <a:pt x="0" y="66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1">
              <a:extLst>
                <a:ext uri="{FF2B5EF4-FFF2-40B4-BE49-F238E27FC236}">
                  <a16:creationId xmlns:a16="http://schemas.microsoft.com/office/drawing/2014/main" id="{16CE3752-B64C-46CE-A1A7-BD1BD48B5BB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3" y="2564"/>
              <a:ext cx="663" cy="770"/>
            </a:xfrm>
            <a:custGeom>
              <a:avLst/>
              <a:gdLst>
                <a:gd name="T0" fmla="*/ 65 w 339"/>
                <a:gd name="T1" fmla="*/ 393 h 393"/>
                <a:gd name="T2" fmla="*/ 275 w 339"/>
                <a:gd name="T3" fmla="*/ 393 h 393"/>
                <a:gd name="T4" fmla="*/ 339 w 339"/>
                <a:gd name="T5" fmla="*/ 328 h 393"/>
                <a:gd name="T6" fmla="*/ 339 w 339"/>
                <a:gd name="T7" fmla="*/ 0 h 393"/>
                <a:gd name="T8" fmla="*/ 279 w 339"/>
                <a:gd name="T9" fmla="*/ 90 h 393"/>
                <a:gd name="T10" fmla="*/ 275 w 339"/>
                <a:gd name="T11" fmla="*/ 90 h 393"/>
                <a:gd name="T12" fmla="*/ 65 w 339"/>
                <a:gd name="T13" fmla="*/ 90 h 393"/>
                <a:gd name="T14" fmla="*/ 0 w 339"/>
                <a:gd name="T15" fmla="*/ 155 h 393"/>
                <a:gd name="T16" fmla="*/ 0 w 339"/>
                <a:gd name="T17" fmla="*/ 328 h 393"/>
                <a:gd name="T18" fmla="*/ 65 w 339"/>
                <a:gd name="T19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9" h="393">
                  <a:moveTo>
                    <a:pt x="65" y="393"/>
                  </a:moveTo>
                  <a:cubicBezTo>
                    <a:pt x="275" y="393"/>
                    <a:pt x="275" y="393"/>
                    <a:pt x="275" y="393"/>
                  </a:cubicBezTo>
                  <a:cubicBezTo>
                    <a:pt x="311" y="393"/>
                    <a:pt x="339" y="364"/>
                    <a:pt x="339" y="328"/>
                  </a:cubicBezTo>
                  <a:cubicBezTo>
                    <a:pt x="339" y="0"/>
                    <a:pt x="339" y="0"/>
                    <a:pt x="339" y="0"/>
                  </a:cubicBezTo>
                  <a:cubicBezTo>
                    <a:pt x="279" y="90"/>
                    <a:pt x="279" y="90"/>
                    <a:pt x="279" y="90"/>
                  </a:cubicBezTo>
                  <a:cubicBezTo>
                    <a:pt x="278" y="90"/>
                    <a:pt x="277" y="90"/>
                    <a:pt x="275" y="90"/>
                  </a:cubicBezTo>
                  <a:cubicBezTo>
                    <a:pt x="65" y="90"/>
                    <a:pt x="65" y="90"/>
                    <a:pt x="65" y="90"/>
                  </a:cubicBezTo>
                  <a:cubicBezTo>
                    <a:pt x="30" y="90"/>
                    <a:pt x="0" y="119"/>
                    <a:pt x="0" y="155"/>
                  </a:cubicBezTo>
                  <a:cubicBezTo>
                    <a:pt x="0" y="328"/>
                    <a:pt x="0" y="328"/>
                    <a:pt x="0" y="328"/>
                  </a:cubicBezTo>
                  <a:cubicBezTo>
                    <a:pt x="0" y="364"/>
                    <a:pt x="30" y="393"/>
                    <a:pt x="65" y="393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32">
              <a:extLst>
                <a:ext uri="{FF2B5EF4-FFF2-40B4-BE49-F238E27FC236}">
                  <a16:creationId xmlns:a16="http://schemas.microsoft.com/office/drawing/2014/main" id="{4CC146D8-8768-42CF-91F1-36865F359A6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96" y="2997"/>
              <a:ext cx="296" cy="294"/>
            </a:xfrm>
            <a:prstGeom prst="ellipse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3">
              <a:extLst>
                <a:ext uri="{FF2B5EF4-FFF2-40B4-BE49-F238E27FC236}">
                  <a16:creationId xmlns:a16="http://schemas.microsoft.com/office/drawing/2014/main" id="{A43968F2-CA70-44E3-9576-FAD2091797D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9" y="3081"/>
              <a:ext cx="172" cy="118"/>
            </a:xfrm>
            <a:custGeom>
              <a:avLst/>
              <a:gdLst>
                <a:gd name="T0" fmla="*/ 72 w 172"/>
                <a:gd name="T1" fmla="*/ 18 h 118"/>
                <a:gd name="T2" fmla="*/ 72 w 172"/>
                <a:gd name="T3" fmla="*/ 0 h 118"/>
                <a:gd name="T4" fmla="*/ 27 w 172"/>
                <a:gd name="T5" fmla="*/ 0 h 118"/>
                <a:gd name="T6" fmla="*/ 27 w 172"/>
                <a:gd name="T7" fmla="*/ 18 h 118"/>
                <a:gd name="T8" fmla="*/ 0 w 172"/>
                <a:gd name="T9" fmla="*/ 18 h 118"/>
                <a:gd name="T10" fmla="*/ 0 w 172"/>
                <a:gd name="T11" fmla="*/ 118 h 118"/>
                <a:gd name="T12" fmla="*/ 172 w 172"/>
                <a:gd name="T13" fmla="*/ 118 h 118"/>
                <a:gd name="T14" fmla="*/ 172 w 172"/>
                <a:gd name="T15" fmla="*/ 18 h 118"/>
                <a:gd name="T16" fmla="*/ 72 w 172"/>
                <a:gd name="T17" fmla="*/ 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2" h="118">
                  <a:moveTo>
                    <a:pt x="72" y="18"/>
                  </a:moveTo>
                  <a:lnTo>
                    <a:pt x="72" y="0"/>
                  </a:lnTo>
                  <a:lnTo>
                    <a:pt x="27" y="0"/>
                  </a:lnTo>
                  <a:lnTo>
                    <a:pt x="27" y="18"/>
                  </a:lnTo>
                  <a:lnTo>
                    <a:pt x="0" y="18"/>
                  </a:lnTo>
                  <a:lnTo>
                    <a:pt x="0" y="118"/>
                  </a:lnTo>
                  <a:lnTo>
                    <a:pt x="172" y="118"/>
                  </a:lnTo>
                  <a:lnTo>
                    <a:pt x="172" y="18"/>
                  </a:lnTo>
                  <a:lnTo>
                    <a:pt x="72" y="18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Oval 34">
              <a:extLst>
                <a:ext uri="{FF2B5EF4-FFF2-40B4-BE49-F238E27FC236}">
                  <a16:creationId xmlns:a16="http://schemas.microsoft.com/office/drawing/2014/main" id="{0E6A3803-35BF-4245-8B16-B34AADA8D57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541" y="2709"/>
              <a:ext cx="189" cy="188"/>
            </a:xfrm>
            <a:prstGeom prst="ellipse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Oval 35">
              <a:extLst>
                <a:ext uri="{FF2B5EF4-FFF2-40B4-BE49-F238E27FC236}">
                  <a16:creationId xmlns:a16="http://schemas.microsoft.com/office/drawing/2014/main" id="{313EB190-AE17-4408-8C61-A02AC789C23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668" y="2819"/>
              <a:ext cx="78" cy="78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6">
              <a:extLst>
                <a:ext uri="{FF2B5EF4-FFF2-40B4-BE49-F238E27FC236}">
                  <a16:creationId xmlns:a16="http://schemas.microsoft.com/office/drawing/2014/main" id="{61041587-7C41-4A06-B21C-1125F385CF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5" y="2845"/>
              <a:ext cx="43" cy="33"/>
            </a:xfrm>
            <a:custGeom>
              <a:avLst/>
              <a:gdLst>
                <a:gd name="T0" fmla="*/ 18 w 43"/>
                <a:gd name="T1" fmla="*/ 33 h 33"/>
                <a:gd name="T2" fmla="*/ 0 w 43"/>
                <a:gd name="T3" fmla="*/ 15 h 33"/>
                <a:gd name="T4" fmla="*/ 6 w 43"/>
                <a:gd name="T5" fmla="*/ 9 h 33"/>
                <a:gd name="T6" fmla="*/ 18 w 43"/>
                <a:gd name="T7" fmla="*/ 21 h 33"/>
                <a:gd name="T8" fmla="*/ 38 w 43"/>
                <a:gd name="T9" fmla="*/ 0 h 33"/>
                <a:gd name="T10" fmla="*/ 43 w 43"/>
                <a:gd name="T11" fmla="*/ 5 h 33"/>
                <a:gd name="T12" fmla="*/ 18 w 43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33">
                  <a:moveTo>
                    <a:pt x="18" y="33"/>
                  </a:moveTo>
                  <a:lnTo>
                    <a:pt x="0" y="15"/>
                  </a:lnTo>
                  <a:lnTo>
                    <a:pt x="6" y="9"/>
                  </a:lnTo>
                  <a:lnTo>
                    <a:pt x="18" y="21"/>
                  </a:lnTo>
                  <a:lnTo>
                    <a:pt x="38" y="0"/>
                  </a:lnTo>
                  <a:lnTo>
                    <a:pt x="43" y="5"/>
                  </a:lnTo>
                  <a:lnTo>
                    <a:pt x="18" y="33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7">
              <a:extLst>
                <a:ext uri="{FF2B5EF4-FFF2-40B4-BE49-F238E27FC236}">
                  <a16:creationId xmlns:a16="http://schemas.microsoft.com/office/drawing/2014/main" id="{FBDA5B0C-CF54-4DB0-9641-7596488B8F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89" y="2774"/>
              <a:ext cx="43" cy="53"/>
            </a:xfrm>
            <a:custGeom>
              <a:avLst/>
              <a:gdLst>
                <a:gd name="T0" fmla="*/ 0 w 22"/>
                <a:gd name="T1" fmla="*/ 1 h 27"/>
                <a:gd name="T2" fmla="*/ 8 w 22"/>
                <a:gd name="T3" fmla="*/ 0 h 27"/>
                <a:gd name="T4" fmla="*/ 19 w 22"/>
                <a:gd name="T5" fmla="*/ 3 h 27"/>
                <a:gd name="T6" fmla="*/ 22 w 22"/>
                <a:gd name="T7" fmla="*/ 13 h 27"/>
                <a:gd name="T8" fmla="*/ 18 w 22"/>
                <a:gd name="T9" fmla="*/ 23 h 27"/>
                <a:gd name="T10" fmla="*/ 7 w 22"/>
                <a:gd name="T11" fmla="*/ 27 h 27"/>
                <a:gd name="T12" fmla="*/ 0 w 22"/>
                <a:gd name="T13" fmla="*/ 27 h 27"/>
                <a:gd name="T14" fmla="*/ 0 w 22"/>
                <a:gd name="T15" fmla="*/ 1 h 27"/>
                <a:gd name="T16" fmla="*/ 4 w 22"/>
                <a:gd name="T17" fmla="*/ 24 h 27"/>
                <a:gd name="T18" fmla="*/ 7 w 22"/>
                <a:gd name="T19" fmla="*/ 25 h 27"/>
                <a:gd name="T20" fmla="*/ 19 w 22"/>
                <a:gd name="T21" fmla="*/ 13 h 27"/>
                <a:gd name="T22" fmla="*/ 8 w 22"/>
                <a:gd name="T23" fmla="*/ 3 h 27"/>
                <a:gd name="T24" fmla="*/ 4 w 22"/>
                <a:gd name="T25" fmla="*/ 3 h 27"/>
                <a:gd name="T26" fmla="*/ 4 w 22"/>
                <a:gd name="T27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7">
                  <a:moveTo>
                    <a:pt x="0" y="1"/>
                  </a:moveTo>
                  <a:cubicBezTo>
                    <a:pt x="2" y="0"/>
                    <a:pt x="5" y="0"/>
                    <a:pt x="8" y="0"/>
                  </a:cubicBezTo>
                  <a:cubicBezTo>
                    <a:pt x="13" y="0"/>
                    <a:pt x="16" y="1"/>
                    <a:pt x="19" y="3"/>
                  </a:cubicBezTo>
                  <a:cubicBezTo>
                    <a:pt x="21" y="6"/>
                    <a:pt x="22" y="9"/>
                    <a:pt x="22" y="13"/>
                  </a:cubicBezTo>
                  <a:cubicBezTo>
                    <a:pt x="22" y="17"/>
                    <a:pt x="21" y="21"/>
                    <a:pt x="18" y="23"/>
                  </a:cubicBezTo>
                  <a:cubicBezTo>
                    <a:pt x="16" y="26"/>
                    <a:pt x="12" y="27"/>
                    <a:pt x="7" y="27"/>
                  </a:cubicBezTo>
                  <a:cubicBezTo>
                    <a:pt x="4" y="27"/>
                    <a:pt x="2" y="27"/>
                    <a:pt x="0" y="27"/>
                  </a:cubicBezTo>
                  <a:lnTo>
                    <a:pt x="0" y="1"/>
                  </a:lnTo>
                  <a:close/>
                  <a:moveTo>
                    <a:pt x="4" y="24"/>
                  </a:moveTo>
                  <a:cubicBezTo>
                    <a:pt x="5" y="25"/>
                    <a:pt x="6" y="25"/>
                    <a:pt x="7" y="25"/>
                  </a:cubicBezTo>
                  <a:cubicBezTo>
                    <a:pt x="15" y="25"/>
                    <a:pt x="19" y="20"/>
                    <a:pt x="19" y="13"/>
                  </a:cubicBezTo>
                  <a:cubicBezTo>
                    <a:pt x="19" y="7"/>
                    <a:pt x="15" y="3"/>
                    <a:pt x="8" y="3"/>
                  </a:cubicBezTo>
                  <a:cubicBezTo>
                    <a:pt x="6" y="3"/>
                    <a:pt x="5" y="3"/>
                    <a:pt x="4" y="3"/>
                  </a:cubicBezTo>
                  <a:lnTo>
                    <a:pt x="4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38">
              <a:extLst>
                <a:ext uri="{FF2B5EF4-FFF2-40B4-BE49-F238E27FC236}">
                  <a16:creationId xmlns:a16="http://schemas.microsoft.com/office/drawing/2014/main" id="{AA74B70E-3E19-46F7-95D9-904BCA1025A5}"/>
                </a:ext>
              </a:extLst>
            </p:cNvPr>
            <p:cNvSpPr>
              <a:spLocks/>
            </p:cNvSpPr>
            <p:nvPr/>
          </p:nvSpPr>
          <p:spPr bwMode="gray">
            <a:xfrm>
              <a:off x="6640" y="2774"/>
              <a:ext cx="32" cy="55"/>
            </a:xfrm>
            <a:custGeom>
              <a:avLst/>
              <a:gdLst>
                <a:gd name="T0" fmla="*/ 0 w 16"/>
                <a:gd name="T1" fmla="*/ 23 h 28"/>
                <a:gd name="T2" fmla="*/ 7 w 16"/>
                <a:gd name="T3" fmla="*/ 25 h 28"/>
                <a:gd name="T4" fmla="*/ 12 w 16"/>
                <a:gd name="T5" fmla="*/ 20 h 28"/>
                <a:gd name="T6" fmla="*/ 7 w 16"/>
                <a:gd name="T7" fmla="*/ 15 h 28"/>
                <a:gd name="T8" fmla="*/ 0 w 16"/>
                <a:gd name="T9" fmla="*/ 7 h 28"/>
                <a:gd name="T10" fmla="*/ 9 w 16"/>
                <a:gd name="T11" fmla="*/ 0 h 28"/>
                <a:gd name="T12" fmla="*/ 15 w 16"/>
                <a:gd name="T13" fmla="*/ 1 h 28"/>
                <a:gd name="T14" fmla="*/ 14 w 16"/>
                <a:gd name="T15" fmla="*/ 4 h 28"/>
                <a:gd name="T16" fmla="*/ 9 w 16"/>
                <a:gd name="T17" fmla="*/ 3 h 28"/>
                <a:gd name="T18" fmla="*/ 4 w 16"/>
                <a:gd name="T19" fmla="*/ 7 h 28"/>
                <a:gd name="T20" fmla="*/ 9 w 16"/>
                <a:gd name="T21" fmla="*/ 12 h 28"/>
                <a:gd name="T22" fmla="*/ 16 w 16"/>
                <a:gd name="T23" fmla="*/ 20 h 28"/>
                <a:gd name="T24" fmla="*/ 6 w 16"/>
                <a:gd name="T25" fmla="*/ 28 h 28"/>
                <a:gd name="T26" fmla="*/ 0 w 16"/>
                <a:gd name="T27" fmla="*/ 26 h 28"/>
                <a:gd name="T28" fmla="*/ 0 w 16"/>
                <a:gd name="T29" fmla="*/ 2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8">
                  <a:moveTo>
                    <a:pt x="0" y="23"/>
                  </a:moveTo>
                  <a:cubicBezTo>
                    <a:pt x="2" y="24"/>
                    <a:pt x="4" y="25"/>
                    <a:pt x="7" y="25"/>
                  </a:cubicBezTo>
                  <a:cubicBezTo>
                    <a:pt x="10" y="25"/>
                    <a:pt x="12" y="23"/>
                    <a:pt x="12" y="20"/>
                  </a:cubicBezTo>
                  <a:cubicBezTo>
                    <a:pt x="12" y="18"/>
                    <a:pt x="11" y="16"/>
                    <a:pt x="7" y="15"/>
                  </a:cubicBezTo>
                  <a:cubicBezTo>
                    <a:pt x="3" y="13"/>
                    <a:pt x="0" y="11"/>
                    <a:pt x="0" y="7"/>
                  </a:cubicBezTo>
                  <a:cubicBezTo>
                    <a:pt x="0" y="3"/>
                    <a:pt x="4" y="0"/>
                    <a:pt x="9" y="0"/>
                  </a:cubicBezTo>
                  <a:cubicBezTo>
                    <a:pt x="12" y="0"/>
                    <a:pt x="14" y="0"/>
                    <a:pt x="15" y="1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3"/>
                    <a:pt x="11" y="3"/>
                    <a:pt x="9" y="3"/>
                  </a:cubicBezTo>
                  <a:cubicBezTo>
                    <a:pt x="5" y="3"/>
                    <a:pt x="4" y="5"/>
                    <a:pt x="4" y="7"/>
                  </a:cubicBezTo>
                  <a:cubicBezTo>
                    <a:pt x="4" y="9"/>
                    <a:pt x="5" y="10"/>
                    <a:pt x="9" y="12"/>
                  </a:cubicBezTo>
                  <a:cubicBezTo>
                    <a:pt x="14" y="14"/>
                    <a:pt x="16" y="16"/>
                    <a:pt x="16" y="20"/>
                  </a:cubicBezTo>
                  <a:cubicBezTo>
                    <a:pt x="16" y="24"/>
                    <a:pt x="13" y="28"/>
                    <a:pt x="6" y="28"/>
                  </a:cubicBezTo>
                  <a:cubicBezTo>
                    <a:pt x="4" y="28"/>
                    <a:pt x="1" y="27"/>
                    <a:pt x="0" y="26"/>
                  </a:cubicBez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9">
              <a:extLst>
                <a:ext uri="{FF2B5EF4-FFF2-40B4-BE49-F238E27FC236}">
                  <a16:creationId xmlns:a16="http://schemas.microsoft.com/office/drawing/2014/main" id="{247624E7-4EB5-4DB2-9486-BBD12321D9A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7" y="1154"/>
              <a:ext cx="1617" cy="449"/>
            </a:xfrm>
            <a:custGeom>
              <a:avLst/>
              <a:gdLst>
                <a:gd name="T0" fmla="*/ 380 w 826"/>
                <a:gd name="T1" fmla="*/ 0 h 229"/>
                <a:gd name="T2" fmla="*/ 85 w 826"/>
                <a:gd name="T3" fmla="*/ 85 h 229"/>
                <a:gd name="T4" fmla="*/ 48 w 826"/>
                <a:gd name="T5" fmla="*/ 68 h 229"/>
                <a:gd name="T6" fmla="*/ 0 w 826"/>
                <a:gd name="T7" fmla="*/ 117 h 229"/>
                <a:gd name="T8" fmla="*/ 48 w 826"/>
                <a:gd name="T9" fmla="*/ 165 h 229"/>
                <a:gd name="T10" fmla="*/ 97 w 826"/>
                <a:gd name="T11" fmla="*/ 117 h 229"/>
                <a:gd name="T12" fmla="*/ 92 w 826"/>
                <a:gd name="T13" fmla="*/ 95 h 229"/>
                <a:gd name="T14" fmla="*/ 380 w 826"/>
                <a:gd name="T15" fmla="*/ 12 h 229"/>
                <a:gd name="T16" fmla="*/ 815 w 826"/>
                <a:gd name="T17" fmla="*/ 229 h 229"/>
                <a:gd name="T18" fmla="*/ 826 w 826"/>
                <a:gd name="T19" fmla="*/ 221 h 229"/>
                <a:gd name="T20" fmla="*/ 380 w 826"/>
                <a:gd name="T21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6" h="229">
                  <a:moveTo>
                    <a:pt x="380" y="0"/>
                  </a:moveTo>
                  <a:cubicBezTo>
                    <a:pt x="272" y="0"/>
                    <a:pt x="170" y="31"/>
                    <a:pt x="85" y="85"/>
                  </a:cubicBezTo>
                  <a:cubicBezTo>
                    <a:pt x="76" y="75"/>
                    <a:pt x="63" y="68"/>
                    <a:pt x="48" y="68"/>
                  </a:cubicBezTo>
                  <a:cubicBezTo>
                    <a:pt x="22" y="68"/>
                    <a:pt x="0" y="90"/>
                    <a:pt x="0" y="117"/>
                  </a:cubicBezTo>
                  <a:cubicBezTo>
                    <a:pt x="0" y="143"/>
                    <a:pt x="22" y="165"/>
                    <a:pt x="48" y="165"/>
                  </a:cubicBezTo>
                  <a:cubicBezTo>
                    <a:pt x="75" y="165"/>
                    <a:pt x="97" y="143"/>
                    <a:pt x="97" y="117"/>
                  </a:cubicBezTo>
                  <a:cubicBezTo>
                    <a:pt x="97" y="109"/>
                    <a:pt x="95" y="102"/>
                    <a:pt x="92" y="95"/>
                  </a:cubicBezTo>
                  <a:cubicBezTo>
                    <a:pt x="176" y="43"/>
                    <a:pt x="274" y="12"/>
                    <a:pt x="380" y="12"/>
                  </a:cubicBezTo>
                  <a:cubicBezTo>
                    <a:pt x="553" y="12"/>
                    <a:pt x="711" y="91"/>
                    <a:pt x="815" y="229"/>
                  </a:cubicBezTo>
                  <a:cubicBezTo>
                    <a:pt x="826" y="221"/>
                    <a:pt x="826" y="221"/>
                    <a:pt x="826" y="221"/>
                  </a:cubicBezTo>
                  <a:cubicBezTo>
                    <a:pt x="719" y="80"/>
                    <a:pt x="557" y="0"/>
                    <a:pt x="380" y="0"/>
                  </a:cubicBez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0">
              <a:extLst>
                <a:ext uri="{FF2B5EF4-FFF2-40B4-BE49-F238E27FC236}">
                  <a16:creationId xmlns:a16="http://schemas.microsoft.com/office/drawing/2014/main" id="{B1157FB9-3D65-4010-8E7E-29FDBDC0DF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93" y="1362"/>
              <a:ext cx="52" cy="53"/>
            </a:xfrm>
            <a:custGeom>
              <a:avLst/>
              <a:gdLst>
                <a:gd name="T0" fmla="*/ 23 w 27"/>
                <a:gd name="T1" fmla="*/ 15 h 27"/>
                <a:gd name="T2" fmla="*/ 23 w 27"/>
                <a:gd name="T3" fmla="*/ 3 h 27"/>
                <a:gd name="T4" fmla="*/ 22 w 27"/>
                <a:gd name="T5" fmla="*/ 3 h 27"/>
                <a:gd name="T6" fmla="*/ 19 w 27"/>
                <a:gd name="T7" fmla="*/ 14 h 27"/>
                <a:gd name="T8" fmla="*/ 14 w 27"/>
                <a:gd name="T9" fmla="*/ 27 h 27"/>
                <a:gd name="T10" fmla="*/ 12 w 27"/>
                <a:gd name="T11" fmla="*/ 27 h 27"/>
                <a:gd name="T12" fmla="*/ 7 w 27"/>
                <a:gd name="T13" fmla="*/ 14 h 27"/>
                <a:gd name="T14" fmla="*/ 4 w 27"/>
                <a:gd name="T15" fmla="*/ 3 h 27"/>
                <a:gd name="T16" fmla="*/ 4 w 27"/>
                <a:gd name="T17" fmla="*/ 3 h 27"/>
                <a:gd name="T18" fmla="*/ 4 w 27"/>
                <a:gd name="T19" fmla="*/ 15 h 27"/>
                <a:gd name="T20" fmla="*/ 3 w 27"/>
                <a:gd name="T21" fmla="*/ 27 h 27"/>
                <a:gd name="T22" fmla="*/ 0 w 27"/>
                <a:gd name="T23" fmla="*/ 27 h 27"/>
                <a:gd name="T24" fmla="*/ 1 w 27"/>
                <a:gd name="T25" fmla="*/ 0 h 27"/>
                <a:gd name="T26" fmla="*/ 6 w 27"/>
                <a:gd name="T27" fmla="*/ 0 h 27"/>
                <a:gd name="T28" fmla="*/ 10 w 27"/>
                <a:gd name="T29" fmla="*/ 13 h 27"/>
                <a:gd name="T30" fmla="*/ 13 w 27"/>
                <a:gd name="T31" fmla="*/ 22 h 27"/>
                <a:gd name="T32" fmla="*/ 13 w 27"/>
                <a:gd name="T33" fmla="*/ 22 h 27"/>
                <a:gd name="T34" fmla="*/ 16 w 27"/>
                <a:gd name="T35" fmla="*/ 13 h 27"/>
                <a:gd name="T36" fmla="*/ 21 w 27"/>
                <a:gd name="T37" fmla="*/ 0 h 27"/>
                <a:gd name="T38" fmla="*/ 25 w 27"/>
                <a:gd name="T39" fmla="*/ 0 h 27"/>
                <a:gd name="T40" fmla="*/ 27 w 27"/>
                <a:gd name="T41" fmla="*/ 27 h 27"/>
                <a:gd name="T42" fmla="*/ 24 w 27"/>
                <a:gd name="T43" fmla="*/ 27 h 27"/>
                <a:gd name="T44" fmla="*/ 23 w 27"/>
                <a:gd name="T45" fmla="*/ 1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" h="27">
                  <a:moveTo>
                    <a:pt x="23" y="15"/>
                  </a:moveTo>
                  <a:cubicBezTo>
                    <a:pt x="23" y="11"/>
                    <a:pt x="23" y="7"/>
                    <a:pt x="23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7"/>
                    <a:pt x="20" y="10"/>
                    <a:pt x="19" y="14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0"/>
                    <a:pt x="5" y="7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7"/>
                    <a:pt x="4" y="11"/>
                    <a:pt x="4" y="15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2" y="16"/>
                    <a:pt x="12" y="19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4" y="19"/>
                    <a:pt x="15" y="16"/>
                    <a:pt x="16" y="1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4" y="27"/>
                    <a:pt x="24" y="27"/>
                    <a:pt x="24" y="27"/>
                  </a:cubicBezTo>
                  <a:lnTo>
                    <a:pt x="23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1">
              <a:extLst>
                <a:ext uri="{FF2B5EF4-FFF2-40B4-BE49-F238E27FC236}">
                  <a16:creationId xmlns:a16="http://schemas.microsoft.com/office/drawing/2014/main" id="{67038AF4-5957-400D-A0FC-28ED6BD7C930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3" y="1362"/>
              <a:ext cx="43" cy="53"/>
            </a:xfrm>
            <a:custGeom>
              <a:avLst/>
              <a:gdLst>
                <a:gd name="T0" fmla="*/ 22 w 22"/>
                <a:gd name="T1" fmla="*/ 26 h 27"/>
                <a:gd name="T2" fmla="*/ 14 w 22"/>
                <a:gd name="T3" fmla="*/ 27 h 27"/>
                <a:gd name="T4" fmla="*/ 4 w 22"/>
                <a:gd name="T5" fmla="*/ 24 h 27"/>
                <a:gd name="T6" fmla="*/ 0 w 22"/>
                <a:gd name="T7" fmla="*/ 14 h 27"/>
                <a:gd name="T8" fmla="*/ 14 w 22"/>
                <a:gd name="T9" fmla="*/ 0 h 27"/>
                <a:gd name="T10" fmla="*/ 21 w 22"/>
                <a:gd name="T11" fmla="*/ 1 h 27"/>
                <a:gd name="T12" fmla="*/ 20 w 22"/>
                <a:gd name="T13" fmla="*/ 4 h 27"/>
                <a:gd name="T14" fmla="*/ 14 w 22"/>
                <a:gd name="T15" fmla="*/ 3 h 27"/>
                <a:gd name="T16" fmla="*/ 4 w 22"/>
                <a:gd name="T17" fmla="*/ 13 h 27"/>
                <a:gd name="T18" fmla="*/ 14 w 22"/>
                <a:gd name="T19" fmla="*/ 24 h 27"/>
                <a:gd name="T20" fmla="*/ 19 w 22"/>
                <a:gd name="T21" fmla="*/ 24 h 27"/>
                <a:gd name="T22" fmla="*/ 19 w 22"/>
                <a:gd name="T23" fmla="*/ 16 h 27"/>
                <a:gd name="T24" fmla="*/ 13 w 22"/>
                <a:gd name="T25" fmla="*/ 16 h 27"/>
                <a:gd name="T26" fmla="*/ 13 w 22"/>
                <a:gd name="T27" fmla="*/ 13 h 27"/>
                <a:gd name="T28" fmla="*/ 22 w 22"/>
                <a:gd name="T29" fmla="*/ 13 h 27"/>
                <a:gd name="T30" fmla="*/ 22 w 22"/>
                <a:gd name="T3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7">
                  <a:moveTo>
                    <a:pt x="22" y="26"/>
                  </a:moveTo>
                  <a:cubicBezTo>
                    <a:pt x="20" y="26"/>
                    <a:pt x="17" y="27"/>
                    <a:pt x="14" y="27"/>
                  </a:cubicBezTo>
                  <a:cubicBezTo>
                    <a:pt x="10" y="27"/>
                    <a:pt x="6" y="26"/>
                    <a:pt x="4" y="24"/>
                  </a:cubicBezTo>
                  <a:cubicBezTo>
                    <a:pt x="1" y="21"/>
                    <a:pt x="0" y="18"/>
                    <a:pt x="0" y="14"/>
                  </a:cubicBezTo>
                  <a:cubicBezTo>
                    <a:pt x="0" y="6"/>
                    <a:pt x="5" y="0"/>
                    <a:pt x="14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7" y="3"/>
                    <a:pt x="14" y="3"/>
                  </a:cubicBezTo>
                  <a:cubicBezTo>
                    <a:pt x="8" y="3"/>
                    <a:pt x="4" y="7"/>
                    <a:pt x="4" y="13"/>
                  </a:cubicBezTo>
                  <a:cubicBezTo>
                    <a:pt x="4" y="20"/>
                    <a:pt x="8" y="24"/>
                    <a:pt x="14" y="24"/>
                  </a:cubicBezTo>
                  <a:cubicBezTo>
                    <a:pt x="16" y="24"/>
                    <a:pt x="18" y="24"/>
                    <a:pt x="19" y="24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22" y="13"/>
                    <a:pt x="22" y="13"/>
                    <a:pt x="22" y="13"/>
                  </a:cubicBezTo>
                  <a:lnTo>
                    <a:pt x="22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Rectangle 42">
              <a:extLst>
                <a:ext uri="{FF2B5EF4-FFF2-40B4-BE49-F238E27FC236}">
                  <a16:creationId xmlns:a16="http://schemas.microsoft.com/office/drawing/2014/main" id="{CB99A304-6452-4831-A8E8-53A2DDDC9B7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09" y="2216"/>
              <a:ext cx="235" cy="19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Rectangle 43">
              <a:extLst>
                <a:ext uri="{FF2B5EF4-FFF2-40B4-BE49-F238E27FC236}">
                  <a16:creationId xmlns:a16="http://schemas.microsoft.com/office/drawing/2014/main" id="{C04C2489-B25D-48AA-BDEC-C56D70A1BCA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35" y="2198"/>
              <a:ext cx="15" cy="34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Rectangle 44">
              <a:extLst>
                <a:ext uri="{FF2B5EF4-FFF2-40B4-BE49-F238E27FC236}">
                  <a16:creationId xmlns:a16="http://schemas.microsoft.com/office/drawing/2014/main" id="{2929B4EA-1723-4BB3-B826-AC55007CD09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68" y="2198"/>
              <a:ext cx="18" cy="34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Rectangle 45">
              <a:extLst>
                <a:ext uri="{FF2B5EF4-FFF2-40B4-BE49-F238E27FC236}">
                  <a16:creationId xmlns:a16="http://schemas.microsoft.com/office/drawing/2014/main" id="{31C751A5-857E-486B-B805-02B82951CDE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3" y="2198"/>
              <a:ext cx="16" cy="34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Rectangle 46">
              <a:extLst>
                <a:ext uri="{FF2B5EF4-FFF2-40B4-BE49-F238E27FC236}">
                  <a16:creationId xmlns:a16="http://schemas.microsoft.com/office/drawing/2014/main" id="{01AD0DC2-A885-48C0-8C14-1B1DCAD6296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36" y="2198"/>
              <a:ext cx="16" cy="34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Rectangle 47">
              <a:extLst>
                <a:ext uri="{FF2B5EF4-FFF2-40B4-BE49-F238E27FC236}">
                  <a16:creationId xmlns:a16="http://schemas.microsoft.com/office/drawing/2014/main" id="{F761F167-0258-4548-B042-F6A4FC0BB4F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70" y="2198"/>
              <a:ext cx="15" cy="34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8">
              <a:extLst>
                <a:ext uri="{FF2B5EF4-FFF2-40B4-BE49-F238E27FC236}">
                  <a16:creationId xmlns:a16="http://schemas.microsoft.com/office/drawing/2014/main" id="{E6D87F39-2650-4AA5-8C45-F848562C5E6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03" y="2198"/>
              <a:ext cx="16" cy="34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Rectangle 49">
              <a:extLst>
                <a:ext uri="{FF2B5EF4-FFF2-40B4-BE49-F238E27FC236}">
                  <a16:creationId xmlns:a16="http://schemas.microsoft.com/office/drawing/2014/main" id="{965A7A9F-CF76-4EF4-93EC-959451EB4F9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43" y="2275"/>
              <a:ext cx="33" cy="33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Rectangle 50">
              <a:extLst>
                <a:ext uri="{FF2B5EF4-FFF2-40B4-BE49-F238E27FC236}">
                  <a16:creationId xmlns:a16="http://schemas.microsoft.com/office/drawing/2014/main" id="{0661E8F0-3C6E-4B8D-A5C9-4A6A1BF4FD2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11" y="2275"/>
              <a:ext cx="33" cy="33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Rectangle 51">
              <a:extLst>
                <a:ext uri="{FF2B5EF4-FFF2-40B4-BE49-F238E27FC236}">
                  <a16:creationId xmlns:a16="http://schemas.microsoft.com/office/drawing/2014/main" id="{91864522-1A21-409F-96D1-F997AC3EDB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78" y="2275"/>
              <a:ext cx="33" cy="33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Rectangle 52">
              <a:extLst>
                <a:ext uri="{FF2B5EF4-FFF2-40B4-BE49-F238E27FC236}">
                  <a16:creationId xmlns:a16="http://schemas.microsoft.com/office/drawing/2014/main" id="{1A3152A4-0DCE-4A85-88AB-DE94E79E968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43" y="2337"/>
              <a:ext cx="33" cy="34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Rectangle 53">
              <a:extLst>
                <a:ext uri="{FF2B5EF4-FFF2-40B4-BE49-F238E27FC236}">
                  <a16:creationId xmlns:a16="http://schemas.microsoft.com/office/drawing/2014/main" id="{8FFA9BE7-5340-4D69-93B1-76DFFBA115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11" y="2337"/>
              <a:ext cx="33" cy="34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Rectangle 54">
              <a:extLst>
                <a:ext uri="{FF2B5EF4-FFF2-40B4-BE49-F238E27FC236}">
                  <a16:creationId xmlns:a16="http://schemas.microsoft.com/office/drawing/2014/main" id="{2CC738E7-5027-4595-A6FB-11D3D3097D2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78" y="2337"/>
              <a:ext cx="33" cy="34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5">
              <a:extLst>
                <a:ext uri="{FF2B5EF4-FFF2-40B4-BE49-F238E27FC236}">
                  <a16:creationId xmlns:a16="http://schemas.microsoft.com/office/drawing/2014/main" id="{AC3240CA-0690-4822-9361-99866AB69D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72" y="2124"/>
              <a:ext cx="77" cy="117"/>
            </a:xfrm>
            <a:custGeom>
              <a:avLst/>
              <a:gdLst>
                <a:gd name="T0" fmla="*/ 20 w 39"/>
                <a:gd name="T1" fmla="*/ 0 h 60"/>
                <a:gd name="T2" fmla="*/ 0 w 39"/>
                <a:gd name="T3" fmla="*/ 20 h 60"/>
                <a:gd name="T4" fmla="*/ 20 w 39"/>
                <a:gd name="T5" fmla="*/ 60 h 60"/>
                <a:gd name="T6" fmla="*/ 39 w 39"/>
                <a:gd name="T7" fmla="*/ 20 h 60"/>
                <a:gd name="T8" fmla="*/ 20 w 39"/>
                <a:gd name="T9" fmla="*/ 0 h 60"/>
                <a:gd name="T10" fmla="*/ 20 w 39"/>
                <a:gd name="T11" fmla="*/ 31 h 60"/>
                <a:gd name="T12" fmla="*/ 9 w 39"/>
                <a:gd name="T13" fmla="*/ 20 h 60"/>
                <a:gd name="T14" fmla="*/ 20 w 39"/>
                <a:gd name="T15" fmla="*/ 10 h 60"/>
                <a:gd name="T16" fmla="*/ 30 w 39"/>
                <a:gd name="T17" fmla="*/ 20 h 60"/>
                <a:gd name="T18" fmla="*/ 20 w 39"/>
                <a:gd name="T19" fmla="*/ 3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60">
                  <a:moveTo>
                    <a:pt x="20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40"/>
                    <a:pt x="20" y="60"/>
                    <a:pt x="20" y="60"/>
                  </a:cubicBezTo>
                  <a:cubicBezTo>
                    <a:pt x="20" y="60"/>
                    <a:pt x="39" y="39"/>
                    <a:pt x="39" y="20"/>
                  </a:cubicBezTo>
                  <a:cubicBezTo>
                    <a:pt x="39" y="9"/>
                    <a:pt x="30" y="0"/>
                    <a:pt x="20" y="0"/>
                  </a:cubicBezTo>
                  <a:close/>
                  <a:moveTo>
                    <a:pt x="20" y="31"/>
                  </a:moveTo>
                  <a:cubicBezTo>
                    <a:pt x="14" y="31"/>
                    <a:pt x="9" y="26"/>
                    <a:pt x="9" y="20"/>
                  </a:cubicBezTo>
                  <a:cubicBezTo>
                    <a:pt x="9" y="15"/>
                    <a:pt x="14" y="10"/>
                    <a:pt x="20" y="10"/>
                  </a:cubicBezTo>
                  <a:cubicBezTo>
                    <a:pt x="25" y="10"/>
                    <a:pt x="30" y="15"/>
                    <a:pt x="30" y="20"/>
                  </a:cubicBezTo>
                  <a:cubicBezTo>
                    <a:pt x="30" y="26"/>
                    <a:pt x="25" y="31"/>
                    <a:pt x="20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6">
              <a:extLst>
                <a:ext uri="{FF2B5EF4-FFF2-40B4-BE49-F238E27FC236}">
                  <a16:creationId xmlns:a16="http://schemas.microsoft.com/office/drawing/2014/main" id="{FDAC1E59-ED07-44AC-A2B1-C05BFD74B1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79" y="1932"/>
              <a:ext cx="78" cy="117"/>
            </a:xfrm>
            <a:custGeom>
              <a:avLst/>
              <a:gdLst>
                <a:gd name="T0" fmla="*/ 20 w 40"/>
                <a:gd name="T1" fmla="*/ 0 h 60"/>
                <a:gd name="T2" fmla="*/ 0 w 40"/>
                <a:gd name="T3" fmla="*/ 20 h 60"/>
                <a:gd name="T4" fmla="*/ 20 w 40"/>
                <a:gd name="T5" fmla="*/ 60 h 60"/>
                <a:gd name="T6" fmla="*/ 40 w 40"/>
                <a:gd name="T7" fmla="*/ 20 h 60"/>
                <a:gd name="T8" fmla="*/ 20 w 40"/>
                <a:gd name="T9" fmla="*/ 0 h 60"/>
                <a:gd name="T10" fmla="*/ 20 w 40"/>
                <a:gd name="T11" fmla="*/ 30 h 60"/>
                <a:gd name="T12" fmla="*/ 10 w 40"/>
                <a:gd name="T13" fmla="*/ 20 h 60"/>
                <a:gd name="T14" fmla="*/ 20 w 40"/>
                <a:gd name="T15" fmla="*/ 10 h 60"/>
                <a:gd name="T16" fmla="*/ 30 w 40"/>
                <a:gd name="T17" fmla="*/ 20 h 60"/>
                <a:gd name="T18" fmla="*/ 20 w 40"/>
                <a:gd name="T19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60">
                  <a:moveTo>
                    <a:pt x="20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40"/>
                    <a:pt x="20" y="60"/>
                    <a:pt x="20" y="60"/>
                  </a:cubicBezTo>
                  <a:cubicBezTo>
                    <a:pt x="20" y="60"/>
                    <a:pt x="40" y="38"/>
                    <a:pt x="40" y="20"/>
                  </a:cubicBezTo>
                  <a:cubicBezTo>
                    <a:pt x="40" y="9"/>
                    <a:pt x="31" y="0"/>
                    <a:pt x="20" y="0"/>
                  </a:cubicBezTo>
                  <a:close/>
                  <a:moveTo>
                    <a:pt x="20" y="30"/>
                  </a:moveTo>
                  <a:cubicBezTo>
                    <a:pt x="14" y="30"/>
                    <a:pt x="10" y="26"/>
                    <a:pt x="10" y="20"/>
                  </a:cubicBezTo>
                  <a:cubicBezTo>
                    <a:pt x="10" y="14"/>
                    <a:pt x="14" y="10"/>
                    <a:pt x="20" y="10"/>
                  </a:cubicBezTo>
                  <a:cubicBezTo>
                    <a:pt x="26" y="10"/>
                    <a:pt x="30" y="14"/>
                    <a:pt x="30" y="20"/>
                  </a:cubicBezTo>
                  <a:cubicBezTo>
                    <a:pt x="30" y="26"/>
                    <a:pt x="26" y="30"/>
                    <a:pt x="20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7">
              <a:extLst>
                <a:ext uri="{FF2B5EF4-FFF2-40B4-BE49-F238E27FC236}">
                  <a16:creationId xmlns:a16="http://schemas.microsoft.com/office/drawing/2014/main" id="{4E287996-2CAE-4E57-BF78-6E07979A769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82" y="2298"/>
              <a:ext cx="78" cy="118"/>
            </a:xfrm>
            <a:custGeom>
              <a:avLst/>
              <a:gdLst>
                <a:gd name="T0" fmla="*/ 20 w 40"/>
                <a:gd name="T1" fmla="*/ 0 h 60"/>
                <a:gd name="T2" fmla="*/ 0 w 40"/>
                <a:gd name="T3" fmla="*/ 19 h 60"/>
                <a:gd name="T4" fmla="*/ 20 w 40"/>
                <a:gd name="T5" fmla="*/ 60 h 60"/>
                <a:gd name="T6" fmla="*/ 40 w 40"/>
                <a:gd name="T7" fmla="*/ 19 h 60"/>
                <a:gd name="T8" fmla="*/ 20 w 40"/>
                <a:gd name="T9" fmla="*/ 0 h 60"/>
                <a:gd name="T10" fmla="*/ 20 w 40"/>
                <a:gd name="T11" fmla="*/ 30 h 60"/>
                <a:gd name="T12" fmla="*/ 10 w 40"/>
                <a:gd name="T13" fmla="*/ 20 h 60"/>
                <a:gd name="T14" fmla="*/ 20 w 40"/>
                <a:gd name="T15" fmla="*/ 9 h 60"/>
                <a:gd name="T16" fmla="*/ 30 w 40"/>
                <a:gd name="T17" fmla="*/ 20 h 60"/>
                <a:gd name="T18" fmla="*/ 20 w 40"/>
                <a:gd name="T19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60">
                  <a:moveTo>
                    <a:pt x="20" y="0"/>
                  </a:moveTo>
                  <a:cubicBezTo>
                    <a:pt x="9" y="0"/>
                    <a:pt x="0" y="8"/>
                    <a:pt x="0" y="19"/>
                  </a:cubicBezTo>
                  <a:cubicBezTo>
                    <a:pt x="0" y="39"/>
                    <a:pt x="20" y="60"/>
                    <a:pt x="20" y="60"/>
                  </a:cubicBezTo>
                  <a:cubicBezTo>
                    <a:pt x="20" y="60"/>
                    <a:pt x="40" y="38"/>
                    <a:pt x="40" y="19"/>
                  </a:cubicBezTo>
                  <a:cubicBezTo>
                    <a:pt x="40" y="8"/>
                    <a:pt x="31" y="0"/>
                    <a:pt x="20" y="0"/>
                  </a:cubicBezTo>
                  <a:close/>
                  <a:moveTo>
                    <a:pt x="20" y="30"/>
                  </a:moveTo>
                  <a:cubicBezTo>
                    <a:pt x="14" y="30"/>
                    <a:pt x="10" y="25"/>
                    <a:pt x="10" y="20"/>
                  </a:cubicBezTo>
                  <a:cubicBezTo>
                    <a:pt x="10" y="14"/>
                    <a:pt x="14" y="9"/>
                    <a:pt x="20" y="9"/>
                  </a:cubicBezTo>
                  <a:cubicBezTo>
                    <a:pt x="26" y="9"/>
                    <a:pt x="30" y="14"/>
                    <a:pt x="30" y="20"/>
                  </a:cubicBezTo>
                  <a:cubicBezTo>
                    <a:pt x="30" y="25"/>
                    <a:pt x="26" y="30"/>
                    <a:pt x="20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8">
              <a:extLst>
                <a:ext uri="{FF2B5EF4-FFF2-40B4-BE49-F238E27FC236}">
                  <a16:creationId xmlns:a16="http://schemas.microsoft.com/office/drawing/2014/main" id="{6A53E4DB-21BF-4D0F-8586-8D9B953B9F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80" y="1818"/>
              <a:ext cx="76" cy="120"/>
            </a:xfrm>
            <a:custGeom>
              <a:avLst/>
              <a:gdLst>
                <a:gd name="T0" fmla="*/ 19 w 39"/>
                <a:gd name="T1" fmla="*/ 0 h 61"/>
                <a:gd name="T2" fmla="*/ 0 w 39"/>
                <a:gd name="T3" fmla="*/ 20 h 61"/>
                <a:gd name="T4" fmla="*/ 19 w 39"/>
                <a:gd name="T5" fmla="*/ 61 h 61"/>
                <a:gd name="T6" fmla="*/ 39 w 39"/>
                <a:gd name="T7" fmla="*/ 20 h 61"/>
                <a:gd name="T8" fmla="*/ 19 w 39"/>
                <a:gd name="T9" fmla="*/ 0 h 61"/>
                <a:gd name="T10" fmla="*/ 19 w 39"/>
                <a:gd name="T11" fmla="*/ 31 h 61"/>
                <a:gd name="T12" fmla="*/ 9 w 39"/>
                <a:gd name="T13" fmla="*/ 21 h 61"/>
                <a:gd name="T14" fmla="*/ 19 w 39"/>
                <a:gd name="T15" fmla="*/ 10 h 61"/>
                <a:gd name="T16" fmla="*/ 30 w 39"/>
                <a:gd name="T17" fmla="*/ 21 h 61"/>
                <a:gd name="T18" fmla="*/ 19 w 39"/>
                <a:gd name="T19" fmla="*/ 3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61">
                  <a:moveTo>
                    <a:pt x="19" y="0"/>
                  </a:moveTo>
                  <a:cubicBezTo>
                    <a:pt x="8" y="0"/>
                    <a:pt x="0" y="9"/>
                    <a:pt x="0" y="20"/>
                  </a:cubicBezTo>
                  <a:cubicBezTo>
                    <a:pt x="0" y="40"/>
                    <a:pt x="19" y="61"/>
                    <a:pt x="19" y="61"/>
                  </a:cubicBezTo>
                  <a:cubicBezTo>
                    <a:pt x="19" y="61"/>
                    <a:pt x="39" y="39"/>
                    <a:pt x="39" y="20"/>
                  </a:cubicBezTo>
                  <a:cubicBezTo>
                    <a:pt x="39" y="9"/>
                    <a:pt x="30" y="0"/>
                    <a:pt x="19" y="0"/>
                  </a:cubicBezTo>
                  <a:close/>
                  <a:moveTo>
                    <a:pt x="19" y="31"/>
                  </a:moveTo>
                  <a:cubicBezTo>
                    <a:pt x="14" y="31"/>
                    <a:pt x="9" y="26"/>
                    <a:pt x="9" y="21"/>
                  </a:cubicBezTo>
                  <a:cubicBezTo>
                    <a:pt x="9" y="15"/>
                    <a:pt x="14" y="10"/>
                    <a:pt x="19" y="10"/>
                  </a:cubicBezTo>
                  <a:cubicBezTo>
                    <a:pt x="25" y="10"/>
                    <a:pt x="30" y="15"/>
                    <a:pt x="30" y="21"/>
                  </a:cubicBezTo>
                  <a:cubicBezTo>
                    <a:pt x="30" y="26"/>
                    <a:pt x="25" y="31"/>
                    <a:pt x="19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9">
              <a:extLst>
                <a:ext uri="{FF2B5EF4-FFF2-40B4-BE49-F238E27FC236}">
                  <a16:creationId xmlns:a16="http://schemas.microsoft.com/office/drawing/2014/main" id="{60AE295A-701C-4468-94BA-0C215202510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21" y="1801"/>
              <a:ext cx="77" cy="117"/>
            </a:xfrm>
            <a:custGeom>
              <a:avLst/>
              <a:gdLst>
                <a:gd name="T0" fmla="*/ 20 w 39"/>
                <a:gd name="T1" fmla="*/ 0 h 60"/>
                <a:gd name="T2" fmla="*/ 0 w 39"/>
                <a:gd name="T3" fmla="*/ 19 h 60"/>
                <a:gd name="T4" fmla="*/ 20 w 39"/>
                <a:gd name="T5" fmla="*/ 60 h 60"/>
                <a:gd name="T6" fmla="*/ 39 w 39"/>
                <a:gd name="T7" fmla="*/ 19 h 60"/>
                <a:gd name="T8" fmla="*/ 20 w 39"/>
                <a:gd name="T9" fmla="*/ 0 h 60"/>
                <a:gd name="T10" fmla="*/ 20 w 39"/>
                <a:gd name="T11" fmla="*/ 30 h 60"/>
                <a:gd name="T12" fmla="*/ 9 w 39"/>
                <a:gd name="T13" fmla="*/ 20 h 60"/>
                <a:gd name="T14" fmla="*/ 20 w 39"/>
                <a:gd name="T15" fmla="*/ 9 h 60"/>
                <a:gd name="T16" fmla="*/ 30 w 39"/>
                <a:gd name="T17" fmla="*/ 20 h 60"/>
                <a:gd name="T18" fmla="*/ 20 w 39"/>
                <a:gd name="T19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60">
                  <a:moveTo>
                    <a:pt x="20" y="0"/>
                  </a:moveTo>
                  <a:cubicBezTo>
                    <a:pt x="9" y="0"/>
                    <a:pt x="0" y="8"/>
                    <a:pt x="0" y="19"/>
                  </a:cubicBezTo>
                  <a:cubicBezTo>
                    <a:pt x="0" y="39"/>
                    <a:pt x="20" y="60"/>
                    <a:pt x="20" y="60"/>
                  </a:cubicBezTo>
                  <a:cubicBezTo>
                    <a:pt x="20" y="60"/>
                    <a:pt x="39" y="38"/>
                    <a:pt x="39" y="19"/>
                  </a:cubicBezTo>
                  <a:cubicBezTo>
                    <a:pt x="39" y="8"/>
                    <a:pt x="31" y="0"/>
                    <a:pt x="20" y="0"/>
                  </a:cubicBezTo>
                  <a:close/>
                  <a:moveTo>
                    <a:pt x="20" y="30"/>
                  </a:moveTo>
                  <a:cubicBezTo>
                    <a:pt x="14" y="30"/>
                    <a:pt x="9" y="26"/>
                    <a:pt x="9" y="20"/>
                  </a:cubicBezTo>
                  <a:cubicBezTo>
                    <a:pt x="9" y="14"/>
                    <a:pt x="14" y="9"/>
                    <a:pt x="20" y="9"/>
                  </a:cubicBezTo>
                  <a:cubicBezTo>
                    <a:pt x="25" y="9"/>
                    <a:pt x="30" y="14"/>
                    <a:pt x="30" y="20"/>
                  </a:cubicBezTo>
                  <a:cubicBezTo>
                    <a:pt x="30" y="26"/>
                    <a:pt x="25" y="30"/>
                    <a:pt x="20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60">
              <a:extLst>
                <a:ext uri="{FF2B5EF4-FFF2-40B4-BE49-F238E27FC236}">
                  <a16:creationId xmlns:a16="http://schemas.microsoft.com/office/drawing/2014/main" id="{8F95C22B-B1D9-46AD-9E6A-540640657148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8" y="3107"/>
              <a:ext cx="530" cy="227"/>
            </a:xfrm>
            <a:custGeom>
              <a:avLst/>
              <a:gdLst>
                <a:gd name="T0" fmla="*/ 252 w 271"/>
                <a:gd name="T1" fmla="*/ 59 h 116"/>
                <a:gd name="T2" fmla="*/ 168 w 271"/>
                <a:gd name="T3" fmla="*/ 2 h 116"/>
                <a:gd name="T4" fmla="*/ 75 w 271"/>
                <a:gd name="T5" fmla="*/ 17 h 116"/>
                <a:gd name="T6" fmla="*/ 0 w 271"/>
                <a:gd name="T7" fmla="*/ 100 h 116"/>
                <a:gd name="T8" fmla="*/ 42 w 271"/>
                <a:gd name="T9" fmla="*/ 116 h 116"/>
                <a:gd name="T10" fmla="*/ 252 w 271"/>
                <a:gd name="T11" fmla="*/ 116 h 116"/>
                <a:gd name="T12" fmla="*/ 271 w 271"/>
                <a:gd name="T13" fmla="*/ 113 h 116"/>
                <a:gd name="T14" fmla="*/ 252 w 271"/>
                <a:gd name="T15" fmla="*/ 5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116">
                  <a:moveTo>
                    <a:pt x="252" y="59"/>
                  </a:moveTo>
                  <a:cubicBezTo>
                    <a:pt x="240" y="23"/>
                    <a:pt x="206" y="0"/>
                    <a:pt x="168" y="2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16" y="36"/>
                    <a:pt x="3" y="77"/>
                    <a:pt x="0" y="100"/>
                  </a:cubicBezTo>
                  <a:cubicBezTo>
                    <a:pt x="12" y="110"/>
                    <a:pt x="26" y="116"/>
                    <a:pt x="42" y="116"/>
                  </a:cubicBezTo>
                  <a:cubicBezTo>
                    <a:pt x="252" y="116"/>
                    <a:pt x="252" y="116"/>
                    <a:pt x="252" y="116"/>
                  </a:cubicBezTo>
                  <a:cubicBezTo>
                    <a:pt x="259" y="116"/>
                    <a:pt x="265" y="115"/>
                    <a:pt x="271" y="113"/>
                  </a:cubicBezTo>
                  <a:lnTo>
                    <a:pt x="252" y="59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61">
              <a:extLst>
                <a:ext uri="{FF2B5EF4-FFF2-40B4-BE49-F238E27FC236}">
                  <a16:creationId xmlns:a16="http://schemas.microsoft.com/office/drawing/2014/main" id="{58069DE7-00D3-49FE-B502-0FCBB176119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3" y="2727"/>
              <a:ext cx="327" cy="448"/>
            </a:xfrm>
            <a:custGeom>
              <a:avLst/>
              <a:gdLst>
                <a:gd name="T0" fmla="*/ 133 w 167"/>
                <a:gd name="T1" fmla="*/ 174 h 229"/>
                <a:gd name="T2" fmla="*/ 133 w 167"/>
                <a:gd name="T3" fmla="*/ 172 h 229"/>
                <a:gd name="T4" fmla="*/ 160 w 167"/>
                <a:gd name="T5" fmla="*/ 97 h 229"/>
                <a:gd name="T6" fmla="*/ 136 w 167"/>
                <a:gd name="T7" fmla="*/ 0 h 229"/>
                <a:gd name="T8" fmla="*/ 64 w 167"/>
                <a:gd name="T9" fmla="*/ 18 h 229"/>
                <a:gd name="T10" fmla="*/ 15 w 167"/>
                <a:gd name="T11" fmla="*/ 100 h 229"/>
                <a:gd name="T12" fmla="*/ 17 w 167"/>
                <a:gd name="T13" fmla="*/ 110 h 229"/>
                <a:gd name="T14" fmla="*/ 16 w 167"/>
                <a:gd name="T15" fmla="*/ 110 h 229"/>
                <a:gd name="T16" fmla="*/ 3 w 167"/>
                <a:gd name="T17" fmla="*/ 133 h 229"/>
                <a:gd name="T18" fmla="*/ 25 w 167"/>
                <a:gd name="T19" fmla="*/ 146 h 229"/>
                <a:gd name="T20" fmla="*/ 28 w 167"/>
                <a:gd name="T21" fmla="*/ 145 h 229"/>
                <a:gd name="T22" fmla="*/ 62 w 167"/>
                <a:gd name="T23" fmla="*/ 179 h 229"/>
                <a:gd name="T24" fmla="*/ 53 w 167"/>
                <a:gd name="T25" fmla="*/ 210 h 229"/>
                <a:gd name="T26" fmla="*/ 52 w 167"/>
                <a:gd name="T27" fmla="*/ 211 h 229"/>
                <a:gd name="T28" fmla="*/ 95 w 167"/>
                <a:gd name="T29" fmla="*/ 224 h 229"/>
                <a:gd name="T30" fmla="*/ 136 w 167"/>
                <a:gd name="T31" fmla="*/ 211 h 229"/>
                <a:gd name="T32" fmla="*/ 148 w 167"/>
                <a:gd name="T33" fmla="*/ 196 h 229"/>
                <a:gd name="T34" fmla="*/ 133 w 167"/>
                <a:gd name="T35" fmla="*/ 174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7" h="229">
                  <a:moveTo>
                    <a:pt x="133" y="174"/>
                  </a:moveTo>
                  <a:cubicBezTo>
                    <a:pt x="133" y="172"/>
                    <a:pt x="133" y="172"/>
                    <a:pt x="133" y="172"/>
                  </a:cubicBezTo>
                  <a:cubicBezTo>
                    <a:pt x="156" y="155"/>
                    <a:pt x="167" y="126"/>
                    <a:pt x="160" y="9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28" y="27"/>
                    <a:pt x="6" y="63"/>
                    <a:pt x="15" y="10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6" y="113"/>
                    <a:pt x="0" y="123"/>
                    <a:pt x="3" y="133"/>
                  </a:cubicBezTo>
                  <a:cubicBezTo>
                    <a:pt x="5" y="142"/>
                    <a:pt x="15" y="148"/>
                    <a:pt x="25" y="146"/>
                  </a:cubicBezTo>
                  <a:cubicBezTo>
                    <a:pt x="28" y="145"/>
                    <a:pt x="28" y="145"/>
                    <a:pt x="28" y="145"/>
                  </a:cubicBezTo>
                  <a:cubicBezTo>
                    <a:pt x="35" y="160"/>
                    <a:pt x="47" y="172"/>
                    <a:pt x="62" y="179"/>
                  </a:cubicBezTo>
                  <a:cubicBezTo>
                    <a:pt x="63" y="190"/>
                    <a:pt x="60" y="201"/>
                    <a:pt x="53" y="210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95" y="224"/>
                    <a:pt x="95" y="224"/>
                    <a:pt x="95" y="224"/>
                  </a:cubicBezTo>
                  <a:cubicBezTo>
                    <a:pt x="110" y="229"/>
                    <a:pt x="126" y="224"/>
                    <a:pt x="136" y="211"/>
                  </a:cubicBezTo>
                  <a:cubicBezTo>
                    <a:pt x="148" y="196"/>
                    <a:pt x="148" y="196"/>
                    <a:pt x="148" y="196"/>
                  </a:cubicBezTo>
                  <a:cubicBezTo>
                    <a:pt x="140" y="192"/>
                    <a:pt x="134" y="183"/>
                    <a:pt x="133" y="174"/>
                  </a:cubicBez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2">
              <a:extLst>
                <a:ext uri="{FF2B5EF4-FFF2-40B4-BE49-F238E27FC236}">
                  <a16:creationId xmlns:a16="http://schemas.microsoft.com/office/drawing/2014/main" id="{ABA5D57B-203F-47C0-BAEF-239793A7DB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60" y="2876"/>
              <a:ext cx="170" cy="266"/>
            </a:xfrm>
            <a:custGeom>
              <a:avLst/>
              <a:gdLst>
                <a:gd name="T0" fmla="*/ 53 w 87"/>
                <a:gd name="T1" fmla="*/ 98 h 136"/>
                <a:gd name="T2" fmla="*/ 53 w 87"/>
                <a:gd name="T3" fmla="*/ 96 h 136"/>
                <a:gd name="T4" fmla="*/ 53 w 87"/>
                <a:gd name="T5" fmla="*/ 96 h 136"/>
                <a:gd name="T6" fmla="*/ 80 w 87"/>
                <a:gd name="T7" fmla="*/ 21 h 136"/>
                <a:gd name="T8" fmla="*/ 75 w 87"/>
                <a:gd name="T9" fmla="*/ 0 h 136"/>
                <a:gd name="T10" fmla="*/ 53 w 87"/>
                <a:gd name="T11" fmla="*/ 5 h 136"/>
                <a:gd name="T12" fmla="*/ 50 w 87"/>
                <a:gd name="T13" fmla="*/ 21 h 136"/>
                <a:gd name="T14" fmla="*/ 62 w 87"/>
                <a:gd name="T15" fmla="*/ 29 h 136"/>
                <a:gd name="T16" fmla="*/ 60 w 87"/>
                <a:gd name="T17" fmla="*/ 40 h 136"/>
                <a:gd name="T18" fmla="*/ 42 w 87"/>
                <a:gd name="T19" fmla="*/ 44 h 136"/>
                <a:gd name="T20" fmla="*/ 44 w 87"/>
                <a:gd name="T21" fmla="*/ 52 h 136"/>
                <a:gd name="T22" fmla="*/ 47 w 87"/>
                <a:gd name="T23" fmla="*/ 100 h 136"/>
                <a:gd name="T24" fmla="*/ 47 w 87"/>
                <a:gd name="T25" fmla="*/ 99 h 136"/>
                <a:gd name="T26" fmla="*/ 47 w 87"/>
                <a:gd name="T27" fmla="*/ 100 h 136"/>
                <a:gd name="T28" fmla="*/ 28 w 87"/>
                <a:gd name="T29" fmla="*/ 107 h 136"/>
                <a:gd name="T30" fmla="*/ 28 w 87"/>
                <a:gd name="T31" fmla="*/ 107 h 136"/>
                <a:gd name="T32" fmla="*/ 0 w 87"/>
                <a:gd name="T33" fmla="*/ 108 h 136"/>
                <a:gd name="T34" fmla="*/ 56 w 87"/>
                <a:gd name="T35" fmla="*/ 136 h 136"/>
                <a:gd name="T36" fmla="*/ 56 w 87"/>
                <a:gd name="T37" fmla="*/ 135 h 136"/>
                <a:gd name="T38" fmla="*/ 68 w 87"/>
                <a:gd name="T39" fmla="*/ 120 h 136"/>
                <a:gd name="T40" fmla="*/ 53 w 87"/>
                <a:gd name="T41" fmla="*/ 9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7" h="136">
                  <a:moveTo>
                    <a:pt x="53" y="98"/>
                  </a:moveTo>
                  <a:cubicBezTo>
                    <a:pt x="53" y="96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75" y="79"/>
                    <a:pt x="87" y="50"/>
                    <a:pt x="80" y="21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45" y="7"/>
                    <a:pt x="43" y="17"/>
                    <a:pt x="50" y="21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66" y="32"/>
                    <a:pt x="65" y="39"/>
                    <a:pt x="60" y="4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54" y="66"/>
                    <a:pt x="55" y="85"/>
                    <a:pt x="47" y="100"/>
                  </a:cubicBezTo>
                  <a:cubicBezTo>
                    <a:pt x="47" y="100"/>
                    <a:pt x="47" y="100"/>
                    <a:pt x="47" y="99"/>
                  </a:cubicBezTo>
                  <a:cubicBezTo>
                    <a:pt x="47" y="99"/>
                    <a:pt x="47" y="100"/>
                    <a:pt x="47" y="100"/>
                  </a:cubicBezTo>
                  <a:cubicBezTo>
                    <a:pt x="41" y="103"/>
                    <a:pt x="35" y="105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19" y="109"/>
                    <a:pt x="9" y="110"/>
                    <a:pt x="0" y="108"/>
                  </a:cubicBezTo>
                  <a:cubicBezTo>
                    <a:pt x="8" y="118"/>
                    <a:pt x="25" y="134"/>
                    <a:pt x="56" y="136"/>
                  </a:cubicBezTo>
                  <a:cubicBezTo>
                    <a:pt x="56" y="136"/>
                    <a:pt x="56" y="136"/>
                    <a:pt x="56" y="135"/>
                  </a:cubicBezTo>
                  <a:cubicBezTo>
                    <a:pt x="68" y="120"/>
                    <a:pt x="68" y="120"/>
                    <a:pt x="68" y="120"/>
                  </a:cubicBezTo>
                  <a:cubicBezTo>
                    <a:pt x="60" y="116"/>
                    <a:pt x="54" y="107"/>
                    <a:pt x="53" y="98"/>
                  </a:cubicBezTo>
                  <a:close/>
                </a:path>
              </a:pathLst>
            </a:custGeom>
            <a:solidFill>
              <a:srgbClr val="BA8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3">
              <a:extLst>
                <a:ext uri="{FF2B5EF4-FFF2-40B4-BE49-F238E27FC236}">
                  <a16:creationId xmlns:a16="http://schemas.microsoft.com/office/drawing/2014/main" id="{CAEECF2F-5424-4F1F-800F-494925046F7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3" y="2970"/>
              <a:ext cx="86" cy="47"/>
            </a:xfrm>
            <a:custGeom>
              <a:avLst/>
              <a:gdLst>
                <a:gd name="T0" fmla="*/ 0 w 44"/>
                <a:gd name="T1" fmla="*/ 11 h 24"/>
                <a:gd name="T2" fmla="*/ 26 w 44"/>
                <a:gd name="T3" fmla="*/ 21 h 24"/>
                <a:gd name="T4" fmla="*/ 44 w 44"/>
                <a:gd name="T5" fmla="*/ 0 h 24"/>
                <a:gd name="T6" fmla="*/ 0 w 44"/>
                <a:gd name="T7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4">
                  <a:moveTo>
                    <a:pt x="0" y="11"/>
                  </a:moveTo>
                  <a:cubicBezTo>
                    <a:pt x="5" y="20"/>
                    <a:pt x="16" y="24"/>
                    <a:pt x="26" y="21"/>
                  </a:cubicBezTo>
                  <a:cubicBezTo>
                    <a:pt x="36" y="19"/>
                    <a:pt x="43" y="10"/>
                    <a:pt x="44" y="0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64">
              <a:extLst>
                <a:ext uri="{FF2B5EF4-FFF2-40B4-BE49-F238E27FC236}">
                  <a16:creationId xmlns:a16="http://schemas.microsoft.com/office/drawing/2014/main" id="{9A4C3EB0-B531-4D10-9674-8A7462D92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8" y="2915"/>
              <a:ext cx="30" cy="31"/>
            </a:xfrm>
            <a:custGeom>
              <a:avLst/>
              <a:gdLst>
                <a:gd name="T0" fmla="*/ 14 w 15"/>
                <a:gd name="T1" fmla="*/ 6 h 16"/>
                <a:gd name="T2" fmla="*/ 9 w 15"/>
                <a:gd name="T3" fmla="*/ 15 h 16"/>
                <a:gd name="T4" fmla="*/ 1 w 15"/>
                <a:gd name="T5" fmla="*/ 9 h 16"/>
                <a:gd name="T6" fmla="*/ 6 w 15"/>
                <a:gd name="T7" fmla="*/ 1 h 16"/>
                <a:gd name="T8" fmla="*/ 14 w 15"/>
                <a:gd name="T9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4" y="6"/>
                  </a:moveTo>
                  <a:cubicBezTo>
                    <a:pt x="15" y="10"/>
                    <a:pt x="13" y="14"/>
                    <a:pt x="9" y="15"/>
                  </a:cubicBezTo>
                  <a:cubicBezTo>
                    <a:pt x="6" y="16"/>
                    <a:pt x="2" y="13"/>
                    <a:pt x="1" y="9"/>
                  </a:cubicBezTo>
                  <a:cubicBezTo>
                    <a:pt x="0" y="6"/>
                    <a:pt x="2" y="2"/>
                    <a:pt x="6" y="1"/>
                  </a:cubicBezTo>
                  <a:cubicBezTo>
                    <a:pt x="10" y="0"/>
                    <a:pt x="14" y="2"/>
                    <a:pt x="14" y="6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65">
              <a:extLst>
                <a:ext uri="{FF2B5EF4-FFF2-40B4-BE49-F238E27FC236}">
                  <a16:creationId xmlns:a16="http://schemas.microsoft.com/office/drawing/2014/main" id="{EB93395D-2639-4846-BC45-7361A5F88999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1" y="2880"/>
              <a:ext cx="31" cy="29"/>
            </a:xfrm>
            <a:custGeom>
              <a:avLst/>
              <a:gdLst>
                <a:gd name="T0" fmla="*/ 15 w 16"/>
                <a:gd name="T1" fmla="*/ 6 h 15"/>
                <a:gd name="T2" fmla="*/ 10 w 16"/>
                <a:gd name="T3" fmla="*/ 14 h 15"/>
                <a:gd name="T4" fmla="*/ 1 w 16"/>
                <a:gd name="T5" fmla="*/ 9 h 15"/>
                <a:gd name="T6" fmla="*/ 6 w 16"/>
                <a:gd name="T7" fmla="*/ 1 h 15"/>
                <a:gd name="T8" fmla="*/ 15 w 16"/>
                <a:gd name="T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5" y="6"/>
                  </a:moveTo>
                  <a:cubicBezTo>
                    <a:pt x="16" y="10"/>
                    <a:pt x="13" y="13"/>
                    <a:pt x="10" y="14"/>
                  </a:cubicBezTo>
                  <a:cubicBezTo>
                    <a:pt x="6" y="15"/>
                    <a:pt x="2" y="13"/>
                    <a:pt x="1" y="9"/>
                  </a:cubicBezTo>
                  <a:cubicBezTo>
                    <a:pt x="0" y="5"/>
                    <a:pt x="2" y="2"/>
                    <a:pt x="6" y="1"/>
                  </a:cubicBezTo>
                  <a:cubicBezTo>
                    <a:pt x="10" y="0"/>
                    <a:pt x="14" y="2"/>
                    <a:pt x="15" y="6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6">
              <a:extLst>
                <a:ext uri="{FF2B5EF4-FFF2-40B4-BE49-F238E27FC236}">
                  <a16:creationId xmlns:a16="http://schemas.microsoft.com/office/drawing/2014/main" id="{291D5C45-6460-435D-9413-673F1E0F7B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9" y="2713"/>
              <a:ext cx="358" cy="280"/>
            </a:xfrm>
            <a:custGeom>
              <a:avLst/>
              <a:gdLst>
                <a:gd name="T0" fmla="*/ 157 w 183"/>
                <a:gd name="T1" fmla="*/ 54 h 143"/>
                <a:gd name="T2" fmla="*/ 174 w 183"/>
                <a:gd name="T3" fmla="*/ 51 h 143"/>
                <a:gd name="T4" fmla="*/ 159 w 183"/>
                <a:gd name="T5" fmla="*/ 27 h 143"/>
                <a:gd name="T6" fmla="*/ 115 w 183"/>
                <a:gd name="T7" fmla="*/ 4 h 143"/>
                <a:gd name="T8" fmla="*/ 61 w 183"/>
                <a:gd name="T9" fmla="*/ 18 h 143"/>
                <a:gd name="T10" fmla="*/ 9 w 183"/>
                <a:gd name="T11" fmla="*/ 104 h 143"/>
                <a:gd name="T12" fmla="*/ 13 w 183"/>
                <a:gd name="T13" fmla="*/ 119 h 143"/>
                <a:gd name="T14" fmla="*/ 18 w 183"/>
                <a:gd name="T15" fmla="*/ 117 h 143"/>
                <a:gd name="T16" fmla="*/ 25 w 183"/>
                <a:gd name="T17" fmla="*/ 115 h 143"/>
                <a:gd name="T18" fmla="*/ 32 w 183"/>
                <a:gd name="T19" fmla="*/ 143 h 143"/>
                <a:gd name="T20" fmla="*/ 47 w 183"/>
                <a:gd name="T21" fmla="*/ 140 h 143"/>
                <a:gd name="T22" fmla="*/ 41 w 183"/>
                <a:gd name="T23" fmla="*/ 113 h 143"/>
                <a:gd name="T24" fmla="*/ 69 w 183"/>
                <a:gd name="T25" fmla="*/ 99 h 143"/>
                <a:gd name="T26" fmla="*/ 84 w 183"/>
                <a:gd name="T27" fmla="*/ 95 h 143"/>
                <a:gd name="T28" fmla="*/ 87 w 183"/>
                <a:gd name="T29" fmla="*/ 91 h 143"/>
                <a:gd name="T30" fmla="*/ 83 w 183"/>
                <a:gd name="T31" fmla="*/ 88 h 143"/>
                <a:gd name="T32" fmla="*/ 81 w 183"/>
                <a:gd name="T33" fmla="*/ 89 h 143"/>
                <a:gd name="T34" fmla="*/ 99 w 183"/>
                <a:gd name="T35" fmla="*/ 36 h 143"/>
                <a:gd name="T36" fmla="*/ 141 w 183"/>
                <a:gd name="T37" fmla="*/ 68 h 143"/>
                <a:gd name="T38" fmla="*/ 113 w 183"/>
                <a:gd name="T39" fmla="*/ 43 h 143"/>
                <a:gd name="T40" fmla="*/ 150 w 183"/>
                <a:gd name="T41" fmla="*/ 54 h 143"/>
                <a:gd name="T42" fmla="*/ 154 w 183"/>
                <a:gd name="T43" fmla="*/ 71 h 143"/>
                <a:gd name="T44" fmla="*/ 128 w 183"/>
                <a:gd name="T45" fmla="*/ 77 h 143"/>
                <a:gd name="T46" fmla="*/ 126 w 183"/>
                <a:gd name="T47" fmla="*/ 81 h 143"/>
                <a:gd name="T48" fmla="*/ 130 w 183"/>
                <a:gd name="T49" fmla="*/ 84 h 143"/>
                <a:gd name="T50" fmla="*/ 155 w 183"/>
                <a:gd name="T51" fmla="*/ 78 h 143"/>
                <a:gd name="T52" fmla="*/ 158 w 183"/>
                <a:gd name="T53" fmla="*/ 88 h 143"/>
                <a:gd name="T54" fmla="*/ 183 w 183"/>
                <a:gd name="T55" fmla="*/ 62 h 143"/>
                <a:gd name="T56" fmla="*/ 157 w 183"/>
                <a:gd name="T57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43">
                  <a:moveTo>
                    <a:pt x="157" y="54"/>
                  </a:moveTo>
                  <a:cubicBezTo>
                    <a:pt x="162" y="53"/>
                    <a:pt x="168" y="53"/>
                    <a:pt x="174" y="51"/>
                  </a:cubicBezTo>
                  <a:cubicBezTo>
                    <a:pt x="168" y="48"/>
                    <a:pt x="163" y="37"/>
                    <a:pt x="159" y="27"/>
                  </a:cubicBezTo>
                  <a:cubicBezTo>
                    <a:pt x="152" y="9"/>
                    <a:pt x="133" y="0"/>
                    <a:pt x="115" y="4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23" y="27"/>
                    <a:pt x="0" y="66"/>
                    <a:pt x="9" y="104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5" y="118"/>
                    <a:pt x="16" y="118"/>
                    <a:pt x="18" y="117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2" y="143"/>
                    <a:pt x="32" y="143"/>
                    <a:pt x="32" y="143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50" y="110"/>
                    <a:pt x="60" y="105"/>
                    <a:pt x="69" y="99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86" y="95"/>
                    <a:pt x="87" y="93"/>
                    <a:pt x="87" y="91"/>
                  </a:cubicBezTo>
                  <a:cubicBezTo>
                    <a:pt x="87" y="89"/>
                    <a:pt x="85" y="88"/>
                    <a:pt x="83" y="88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93" y="77"/>
                    <a:pt x="101" y="60"/>
                    <a:pt x="99" y="36"/>
                  </a:cubicBezTo>
                  <a:cubicBezTo>
                    <a:pt x="105" y="80"/>
                    <a:pt x="141" y="68"/>
                    <a:pt x="141" y="68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21" y="48"/>
                    <a:pt x="133" y="53"/>
                    <a:pt x="150" y="54"/>
                  </a:cubicBezTo>
                  <a:cubicBezTo>
                    <a:pt x="154" y="71"/>
                    <a:pt x="154" y="71"/>
                    <a:pt x="154" y="71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7" y="77"/>
                    <a:pt x="125" y="79"/>
                    <a:pt x="126" y="81"/>
                  </a:cubicBezTo>
                  <a:cubicBezTo>
                    <a:pt x="126" y="83"/>
                    <a:pt x="128" y="84"/>
                    <a:pt x="130" y="84"/>
                  </a:cubicBezTo>
                  <a:cubicBezTo>
                    <a:pt x="155" y="78"/>
                    <a:pt x="155" y="78"/>
                    <a:pt x="155" y="78"/>
                  </a:cubicBezTo>
                  <a:cubicBezTo>
                    <a:pt x="158" y="88"/>
                    <a:pt x="158" y="88"/>
                    <a:pt x="158" y="88"/>
                  </a:cubicBezTo>
                  <a:cubicBezTo>
                    <a:pt x="169" y="86"/>
                    <a:pt x="178" y="77"/>
                    <a:pt x="183" y="62"/>
                  </a:cubicBezTo>
                  <a:cubicBezTo>
                    <a:pt x="173" y="68"/>
                    <a:pt x="164" y="62"/>
                    <a:pt x="157" y="5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67">
              <a:extLst>
                <a:ext uri="{FF2B5EF4-FFF2-40B4-BE49-F238E27FC236}">
                  <a16:creationId xmlns:a16="http://schemas.microsoft.com/office/drawing/2014/main" id="{563BC5C9-44C0-4192-AB43-E7DD46949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971" y="2972"/>
              <a:ext cx="30" cy="35"/>
            </a:xfrm>
            <a:custGeom>
              <a:avLst/>
              <a:gdLst>
                <a:gd name="T0" fmla="*/ 15 w 15"/>
                <a:gd name="T1" fmla="*/ 1 h 18"/>
                <a:gd name="T2" fmla="*/ 3 w 15"/>
                <a:gd name="T3" fmla="*/ 6 h 18"/>
                <a:gd name="T4" fmla="*/ 4 w 15"/>
                <a:gd name="T5" fmla="*/ 18 h 18"/>
                <a:gd name="T6" fmla="*/ 15 w 15"/>
                <a:gd name="T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8">
                  <a:moveTo>
                    <a:pt x="15" y="1"/>
                  </a:moveTo>
                  <a:cubicBezTo>
                    <a:pt x="10" y="0"/>
                    <a:pt x="5" y="1"/>
                    <a:pt x="3" y="6"/>
                  </a:cubicBezTo>
                  <a:cubicBezTo>
                    <a:pt x="0" y="10"/>
                    <a:pt x="1" y="15"/>
                    <a:pt x="4" y="18"/>
                  </a:cubicBezTo>
                  <a:lnTo>
                    <a:pt x="15" y="1"/>
                  </a:lnTo>
                  <a:close/>
                </a:path>
              </a:pathLst>
            </a:custGeom>
            <a:solidFill>
              <a:srgbClr val="BA8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Oval 68">
              <a:extLst>
                <a:ext uri="{FF2B5EF4-FFF2-40B4-BE49-F238E27FC236}">
                  <a16:creationId xmlns:a16="http://schemas.microsoft.com/office/drawing/2014/main" id="{82976413-3D96-4758-990D-86DC3C69A53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13" y="2986"/>
              <a:ext cx="194" cy="191"/>
            </a:xfrm>
            <a:prstGeom prst="ellipse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69">
              <a:extLst>
                <a:ext uri="{FF2B5EF4-FFF2-40B4-BE49-F238E27FC236}">
                  <a16:creationId xmlns:a16="http://schemas.microsoft.com/office/drawing/2014/main" id="{E8852A45-BA76-4C1E-9C71-70921DD7A8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8" y="3060"/>
              <a:ext cx="22" cy="49"/>
            </a:xfrm>
            <a:custGeom>
              <a:avLst/>
              <a:gdLst>
                <a:gd name="T0" fmla="*/ 11 w 11"/>
                <a:gd name="T1" fmla="*/ 16 h 25"/>
                <a:gd name="T2" fmla="*/ 9 w 11"/>
                <a:gd name="T3" fmla="*/ 22 h 25"/>
                <a:gd name="T4" fmla="*/ 3 w 11"/>
                <a:gd name="T5" fmla="*/ 25 h 25"/>
                <a:gd name="T6" fmla="*/ 0 w 11"/>
                <a:gd name="T7" fmla="*/ 24 h 25"/>
                <a:gd name="T8" fmla="*/ 0 w 11"/>
                <a:gd name="T9" fmla="*/ 21 h 25"/>
                <a:gd name="T10" fmla="*/ 3 w 11"/>
                <a:gd name="T11" fmla="*/ 21 h 25"/>
                <a:gd name="T12" fmla="*/ 7 w 11"/>
                <a:gd name="T13" fmla="*/ 15 h 25"/>
                <a:gd name="T14" fmla="*/ 7 w 11"/>
                <a:gd name="T15" fmla="*/ 0 h 25"/>
                <a:gd name="T16" fmla="*/ 11 w 11"/>
                <a:gd name="T17" fmla="*/ 0 h 25"/>
                <a:gd name="T18" fmla="*/ 11 w 11"/>
                <a:gd name="T19" fmla="*/ 1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25">
                  <a:moveTo>
                    <a:pt x="11" y="16"/>
                  </a:moveTo>
                  <a:cubicBezTo>
                    <a:pt x="11" y="19"/>
                    <a:pt x="10" y="21"/>
                    <a:pt x="9" y="22"/>
                  </a:cubicBezTo>
                  <a:cubicBezTo>
                    <a:pt x="7" y="24"/>
                    <a:pt x="6" y="25"/>
                    <a:pt x="3" y="25"/>
                  </a:cubicBezTo>
                  <a:cubicBezTo>
                    <a:pt x="2" y="25"/>
                    <a:pt x="1" y="25"/>
                    <a:pt x="0" y="2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2" y="21"/>
                    <a:pt x="3" y="21"/>
                  </a:cubicBezTo>
                  <a:cubicBezTo>
                    <a:pt x="6" y="21"/>
                    <a:pt x="7" y="19"/>
                    <a:pt x="7" y="15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70">
              <a:extLst>
                <a:ext uri="{FF2B5EF4-FFF2-40B4-BE49-F238E27FC236}">
                  <a16:creationId xmlns:a16="http://schemas.microsoft.com/office/drawing/2014/main" id="{21285BC4-851E-4907-887A-FEF8E434C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1" y="3060"/>
              <a:ext cx="49" cy="47"/>
            </a:xfrm>
            <a:custGeom>
              <a:avLst/>
              <a:gdLst>
                <a:gd name="T0" fmla="*/ 25 w 25"/>
                <a:gd name="T1" fmla="*/ 24 h 24"/>
                <a:gd name="T2" fmla="*/ 21 w 25"/>
                <a:gd name="T3" fmla="*/ 24 h 24"/>
                <a:gd name="T4" fmla="*/ 21 w 25"/>
                <a:gd name="T5" fmla="*/ 9 h 24"/>
                <a:gd name="T6" fmla="*/ 22 w 25"/>
                <a:gd name="T7" fmla="*/ 4 h 24"/>
                <a:gd name="T8" fmla="*/ 21 w 25"/>
                <a:gd name="T9" fmla="*/ 4 h 24"/>
                <a:gd name="T10" fmla="*/ 21 w 25"/>
                <a:gd name="T11" fmla="*/ 6 h 24"/>
                <a:gd name="T12" fmla="*/ 14 w 25"/>
                <a:gd name="T13" fmla="*/ 24 h 24"/>
                <a:gd name="T14" fmla="*/ 11 w 25"/>
                <a:gd name="T15" fmla="*/ 24 h 24"/>
                <a:gd name="T16" fmla="*/ 4 w 25"/>
                <a:gd name="T17" fmla="*/ 7 h 24"/>
                <a:gd name="T18" fmla="*/ 3 w 25"/>
                <a:gd name="T19" fmla="*/ 4 h 24"/>
                <a:gd name="T20" fmla="*/ 3 w 25"/>
                <a:gd name="T21" fmla="*/ 4 h 24"/>
                <a:gd name="T22" fmla="*/ 3 w 25"/>
                <a:gd name="T23" fmla="*/ 9 h 24"/>
                <a:gd name="T24" fmla="*/ 3 w 25"/>
                <a:gd name="T25" fmla="*/ 24 h 24"/>
                <a:gd name="T26" fmla="*/ 0 w 25"/>
                <a:gd name="T27" fmla="*/ 24 h 24"/>
                <a:gd name="T28" fmla="*/ 0 w 25"/>
                <a:gd name="T29" fmla="*/ 0 h 24"/>
                <a:gd name="T30" fmla="*/ 5 w 25"/>
                <a:gd name="T31" fmla="*/ 0 h 24"/>
                <a:gd name="T32" fmla="*/ 11 w 25"/>
                <a:gd name="T33" fmla="*/ 16 h 24"/>
                <a:gd name="T34" fmla="*/ 12 w 25"/>
                <a:gd name="T35" fmla="*/ 19 h 24"/>
                <a:gd name="T36" fmla="*/ 12 w 25"/>
                <a:gd name="T37" fmla="*/ 19 h 24"/>
                <a:gd name="T38" fmla="*/ 13 w 25"/>
                <a:gd name="T39" fmla="*/ 16 h 24"/>
                <a:gd name="T40" fmla="*/ 20 w 25"/>
                <a:gd name="T41" fmla="*/ 0 h 24"/>
                <a:gd name="T42" fmla="*/ 25 w 25"/>
                <a:gd name="T43" fmla="*/ 0 h 24"/>
                <a:gd name="T44" fmla="*/ 25 w 25"/>
                <a:gd name="T4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" h="24">
                  <a:moveTo>
                    <a:pt x="25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6"/>
                    <a:pt x="22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5"/>
                    <a:pt x="21" y="6"/>
                    <a:pt x="21" y="6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3" y="5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7"/>
                    <a:pt x="3" y="9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2" y="18"/>
                    <a:pt x="12" y="18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3" y="18"/>
                    <a:pt x="13" y="17"/>
                    <a:pt x="13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71">
              <a:extLst>
                <a:ext uri="{FF2B5EF4-FFF2-40B4-BE49-F238E27FC236}">
                  <a16:creationId xmlns:a16="http://schemas.microsoft.com/office/drawing/2014/main" id="{34E76ED3-19D4-46AB-9311-BDD2A275E70D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5" y="1566"/>
              <a:ext cx="268" cy="137"/>
            </a:xfrm>
            <a:custGeom>
              <a:avLst/>
              <a:gdLst>
                <a:gd name="T0" fmla="*/ 0 w 137"/>
                <a:gd name="T1" fmla="*/ 7 h 70"/>
                <a:gd name="T2" fmla="*/ 16 w 137"/>
                <a:gd name="T3" fmla="*/ 5 h 70"/>
                <a:gd name="T4" fmla="*/ 119 w 137"/>
                <a:gd name="T5" fmla="*/ 16 h 70"/>
                <a:gd name="T6" fmla="*/ 133 w 137"/>
                <a:gd name="T7" fmla="*/ 20 h 70"/>
                <a:gd name="T8" fmla="*/ 137 w 137"/>
                <a:gd name="T9" fmla="*/ 70 h 70"/>
                <a:gd name="T10" fmla="*/ 8 w 137"/>
                <a:gd name="T11" fmla="*/ 70 h 70"/>
                <a:gd name="T12" fmla="*/ 0 w 137"/>
                <a:gd name="T13" fmla="*/ 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70">
                  <a:moveTo>
                    <a:pt x="0" y="7"/>
                  </a:moveTo>
                  <a:cubicBezTo>
                    <a:pt x="16" y="5"/>
                    <a:pt x="16" y="5"/>
                    <a:pt x="16" y="5"/>
                  </a:cubicBezTo>
                  <a:cubicBezTo>
                    <a:pt x="51" y="0"/>
                    <a:pt x="86" y="4"/>
                    <a:pt x="119" y="16"/>
                  </a:cubicBezTo>
                  <a:cubicBezTo>
                    <a:pt x="133" y="20"/>
                    <a:pt x="133" y="20"/>
                    <a:pt x="133" y="20"/>
                  </a:cubicBezTo>
                  <a:cubicBezTo>
                    <a:pt x="137" y="70"/>
                    <a:pt x="137" y="70"/>
                    <a:pt x="137" y="70"/>
                  </a:cubicBezTo>
                  <a:cubicBezTo>
                    <a:pt x="8" y="70"/>
                    <a:pt x="8" y="70"/>
                    <a:pt x="8" y="7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72">
              <a:extLst>
                <a:ext uri="{FF2B5EF4-FFF2-40B4-BE49-F238E27FC236}">
                  <a16:creationId xmlns:a16="http://schemas.microsoft.com/office/drawing/2014/main" id="{95A310BD-6219-45A7-AAE0-FE6ADFEBF2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9" y="1211"/>
              <a:ext cx="435" cy="596"/>
            </a:xfrm>
            <a:custGeom>
              <a:avLst/>
              <a:gdLst>
                <a:gd name="T0" fmla="*/ 201 w 222"/>
                <a:gd name="T1" fmla="*/ 218 h 304"/>
                <a:gd name="T2" fmla="*/ 168 w 222"/>
                <a:gd name="T3" fmla="*/ 197 h 304"/>
                <a:gd name="T4" fmla="*/ 207 w 222"/>
                <a:gd name="T5" fmla="*/ 137 h 304"/>
                <a:gd name="T6" fmla="*/ 212 w 222"/>
                <a:gd name="T7" fmla="*/ 96 h 304"/>
                <a:gd name="T8" fmla="*/ 141 w 222"/>
                <a:gd name="T9" fmla="*/ 6 h 304"/>
                <a:gd name="T10" fmla="*/ 141 w 222"/>
                <a:gd name="T11" fmla="*/ 6 h 304"/>
                <a:gd name="T12" fmla="*/ 51 w 222"/>
                <a:gd name="T13" fmla="*/ 76 h 304"/>
                <a:gd name="T14" fmla="*/ 50 w 222"/>
                <a:gd name="T15" fmla="*/ 79 h 304"/>
                <a:gd name="T16" fmla="*/ 45 w 222"/>
                <a:gd name="T17" fmla="*/ 76 h 304"/>
                <a:gd name="T18" fmla="*/ 28 w 222"/>
                <a:gd name="T19" fmla="*/ 80 h 304"/>
                <a:gd name="T20" fmla="*/ 27 w 222"/>
                <a:gd name="T21" fmla="*/ 82 h 304"/>
                <a:gd name="T22" fmla="*/ 29 w 222"/>
                <a:gd name="T23" fmla="*/ 122 h 304"/>
                <a:gd name="T24" fmla="*/ 43 w 222"/>
                <a:gd name="T25" fmla="*/ 129 h 304"/>
                <a:gd name="T26" fmla="*/ 45 w 222"/>
                <a:gd name="T27" fmla="*/ 129 h 304"/>
                <a:gd name="T28" fmla="*/ 69 w 222"/>
                <a:gd name="T29" fmla="*/ 185 h 304"/>
                <a:gd name="T30" fmla="*/ 68 w 222"/>
                <a:gd name="T31" fmla="*/ 194 h 304"/>
                <a:gd name="T32" fmla="*/ 39 w 222"/>
                <a:gd name="T33" fmla="*/ 224 h 304"/>
                <a:gd name="T34" fmla="*/ 26 w 222"/>
                <a:gd name="T35" fmla="*/ 226 h 304"/>
                <a:gd name="T36" fmla="*/ 0 w 222"/>
                <a:gd name="T37" fmla="*/ 279 h 304"/>
                <a:gd name="T38" fmla="*/ 26 w 222"/>
                <a:gd name="T39" fmla="*/ 304 h 304"/>
                <a:gd name="T40" fmla="*/ 161 w 222"/>
                <a:gd name="T41" fmla="*/ 304 h 304"/>
                <a:gd name="T42" fmla="*/ 222 w 222"/>
                <a:gd name="T43" fmla="*/ 252 h 304"/>
                <a:gd name="T44" fmla="*/ 222 w 222"/>
                <a:gd name="T45" fmla="*/ 238 h 304"/>
                <a:gd name="T46" fmla="*/ 201 w 222"/>
                <a:gd name="T47" fmla="*/ 218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2" h="304">
                  <a:moveTo>
                    <a:pt x="201" y="218"/>
                  </a:moveTo>
                  <a:cubicBezTo>
                    <a:pt x="186" y="218"/>
                    <a:pt x="173" y="210"/>
                    <a:pt x="168" y="197"/>
                  </a:cubicBezTo>
                  <a:cubicBezTo>
                    <a:pt x="188" y="184"/>
                    <a:pt x="204" y="163"/>
                    <a:pt x="207" y="137"/>
                  </a:cubicBezTo>
                  <a:cubicBezTo>
                    <a:pt x="212" y="96"/>
                    <a:pt x="212" y="96"/>
                    <a:pt x="212" y="96"/>
                  </a:cubicBezTo>
                  <a:cubicBezTo>
                    <a:pt x="217" y="52"/>
                    <a:pt x="185" y="11"/>
                    <a:pt x="141" y="6"/>
                  </a:cubicBezTo>
                  <a:cubicBezTo>
                    <a:pt x="141" y="6"/>
                    <a:pt x="141" y="6"/>
                    <a:pt x="141" y="6"/>
                  </a:cubicBezTo>
                  <a:cubicBezTo>
                    <a:pt x="97" y="0"/>
                    <a:pt x="56" y="32"/>
                    <a:pt x="51" y="76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39" y="71"/>
                    <a:pt x="31" y="74"/>
                    <a:pt x="28" y="80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2" y="95"/>
                    <a:pt x="22" y="110"/>
                    <a:pt x="29" y="122"/>
                  </a:cubicBezTo>
                  <a:cubicBezTo>
                    <a:pt x="32" y="127"/>
                    <a:pt x="37" y="130"/>
                    <a:pt x="43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6" y="150"/>
                    <a:pt x="55" y="170"/>
                    <a:pt x="69" y="185"/>
                  </a:cubicBezTo>
                  <a:cubicBezTo>
                    <a:pt x="68" y="194"/>
                    <a:pt x="68" y="194"/>
                    <a:pt x="68" y="194"/>
                  </a:cubicBezTo>
                  <a:cubicBezTo>
                    <a:pt x="67" y="209"/>
                    <a:pt x="55" y="222"/>
                    <a:pt x="39" y="224"/>
                  </a:cubicBezTo>
                  <a:cubicBezTo>
                    <a:pt x="26" y="226"/>
                    <a:pt x="26" y="226"/>
                    <a:pt x="26" y="226"/>
                  </a:cubicBezTo>
                  <a:cubicBezTo>
                    <a:pt x="1" y="230"/>
                    <a:pt x="0" y="254"/>
                    <a:pt x="0" y="279"/>
                  </a:cubicBezTo>
                  <a:cubicBezTo>
                    <a:pt x="26" y="304"/>
                    <a:pt x="26" y="304"/>
                    <a:pt x="26" y="304"/>
                  </a:cubicBezTo>
                  <a:cubicBezTo>
                    <a:pt x="161" y="304"/>
                    <a:pt x="161" y="304"/>
                    <a:pt x="161" y="304"/>
                  </a:cubicBezTo>
                  <a:cubicBezTo>
                    <a:pt x="222" y="252"/>
                    <a:pt x="222" y="252"/>
                    <a:pt x="222" y="252"/>
                  </a:cubicBezTo>
                  <a:cubicBezTo>
                    <a:pt x="222" y="238"/>
                    <a:pt x="222" y="238"/>
                    <a:pt x="222" y="238"/>
                  </a:cubicBezTo>
                  <a:cubicBezTo>
                    <a:pt x="222" y="227"/>
                    <a:pt x="213" y="217"/>
                    <a:pt x="201" y="218"/>
                  </a:cubicBezTo>
                  <a:close/>
                </a:path>
              </a:pathLst>
            </a:custGeom>
            <a:solidFill>
              <a:srgbClr val="725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73">
              <a:extLst>
                <a:ext uri="{FF2B5EF4-FFF2-40B4-BE49-F238E27FC236}">
                  <a16:creationId xmlns:a16="http://schemas.microsoft.com/office/drawing/2014/main" id="{3DB7B1C3-C847-4C1C-AE89-289059A0128A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0" y="1370"/>
              <a:ext cx="39" cy="88"/>
            </a:xfrm>
            <a:custGeom>
              <a:avLst/>
              <a:gdLst>
                <a:gd name="T0" fmla="*/ 20 w 20"/>
                <a:gd name="T1" fmla="*/ 4 h 45"/>
                <a:gd name="T2" fmla="*/ 19 w 20"/>
                <a:gd name="T3" fmla="*/ 4 h 45"/>
                <a:gd name="T4" fmla="*/ 5 w 20"/>
                <a:gd name="T5" fmla="*/ 7 h 45"/>
                <a:gd name="T6" fmla="*/ 4 w 20"/>
                <a:gd name="T7" fmla="*/ 9 h 45"/>
                <a:gd name="T8" fmla="*/ 6 w 20"/>
                <a:gd name="T9" fmla="*/ 39 h 45"/>
                <a:gd name="T10" fmla="*/ 6 w 20"/>
                <a:gd name="T11" fmla="*/ 39 h 45"/>
                <a:gd name="T12" fmla="*/ 17 w 20"/>
                <a:gd name="T13" fmla="*/ 45 h 45"/>
                <a:gd name="T14" fmla="*/ 18 w 20"/>
                <a:gd name="T15" fmla="*/ 40 h 45"/>
                <a:gd name="T16" fmla="*/ 20 w 20"/>
                <a:gd name="T17" fmla="*/ 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45">
                  <a:moveTo>
                    <a:pt x="20" y="4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14" y="0"/>
                    <a:pt x="7" y="2"/>
                    <a:pt x="5" y="7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0" y="19"/>
                    <a:pt x="1" y="30"/>
                    <a:pt x="6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8" y="43"/>
                    <a:pt x="12" y="45"/>
                    <a:pt x="17" y="45"/>
                  </a:cubicBezTo>
                  <a:cubicBezTo>
                    <a:pt x="18" y="40"/>
                    <a:pt x="18" y="40"/>
                    <a:pt x="18" y="40"/>
                  </a:cubicBezTo>
                  <a:lnTo>
                    <a:pt x="20" y="4"/>
                  </a:lnTo>
                  <a:close/>
                </a:path>
              </a:pathLst>
            </a:custGeom>
            <a:solidFill>
              <a:srgbClr val="66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74">
              <a:extLst>
                <a:ext uri="{FF2B5EF4-FFF2-40B4-BE49-F238E27FC236}">
                  <a16:creationId xmlns:a16="http://schemas.microsoft.com/office/drawing/2014/main" id="{441B7E00-FF65-4E81-B8C0-73F87A4C01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4" y="1397"/>
              <a:ext cx="284" cy="317"/>
            </a:xfrm>
            <a:custGeom>
              <a:avLst/>
              <a:gdLst>
                <a:gd name="T0" fmla="*/ 125 w 145"/>
                <a:gd name="T1" fmla="*/ 54 h 162"/>
                <a:gd name="T2" fmla="*/ 132 w 145"/>
                <a:gd name="T3" fmla="*/ 50 h 162"/>
                <a:gd name="T4" fmla="*/ 143 w 145"/>
                <a:gd name="T5" fmla="*/ 15 h 162"/>
                <a:gd name="T6" fmla="*/ 142 w 145"/>
                <a:gd name="T7" fmla="*/ 13 h 162"/>
                <a:gd name="T8" fmla="*/ 132 w 145"/>
                <a:gd name="T9" fmla="*/ 4 h 162"/>
                <a:gd name="T10" fmla="*/ 131 w 145"/>
                <a:gd name="T11" fmla="*/ 17 h 162"/>
                <a:gd name="T12" fmla="*/ 131 w 145"/>
                <a:gd name="T13" fmla="*/ 17 h 162"/>
                <a:gd name="T14" fmla="*/ 124 w 145"/>
                <a:gd name="T15" fmla="*/ 12 h 162"/>
                <a:gd name="T16" fmla="*/ 83 w 145"/>
                <a:gd name="T17" fmla="*/ 4 h 162"/>
                <a:gd name="T18" fmla="*/ 73 w 145"/>
                <a:gd name="T19" fmla="*/ 24 h 162"/>
                <a:gd name="T20" fmla="*/ 79 w 145"/>
                <a:gd name="T21" fmla="*/ 40 h 162"/>
                <a:gd name="T22" fmla="*/ 71 w 145"/>
                <a:gd name="T23" fmla="*/ 54 h 162"/>
                <a:gd name="T24" fmla="*/ 53 w 145"/>
                <a:gd name="T25" fmla="*/ 57 h 162"/>
                <a:gd name="T26" fmla="*/ 51 w 145"/>
                <a:gd name="T27" fmla="*/ 76 h 162"/>
                <a:gd name="T28" fmla="*/ 52 w 145"/>
                <a:gd name="T29" fmla="*/ 78 h 162"/>
                <a:gd name="T30" fmla="*/ 57 w 145"/>
                <a:gd name="T31" fmla="*/ 94 h 162"/>
                <a:gd name="T32" fmla="*/ 0 w 145"/>
                <a:gd name="T33" fmla="*/ 100 h 162"/>
                <a:gd name="T34" fmla="*/ 76 w 145"/>
                <a:gd name="T35" fmla="*/ 157 h 162"/>
                <a:gd name="T36" fmla="*/ 125 w 145"/>
                <a:gd name="T37" fmla="*/ 142 h 162"/>
                <a:gd name="T38" fmla="*/ 110 w 145"/>
                <a:gd name="T39" fmla="*/ 121 h 162"/>
                <a:gd name="T40" fmla="*/ 89 w 145"/>
                <a:gd name="T41" fmla="*/ 102 h 162"/>
                <a:gd name="T42" fmla="*/ 125 w 145"/>
                <a:gd name="T43" fmla="*/ 5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5" h="162">
                  <a:moveTo>
                    <a:pt x="125" y="54"/>
                  </a:moveTo>
                  <a:cubicBezTo>
                    <a:pt x="128" y="54"/>
                    <a:pt x="130" y="52"/>
                    <a:pt x="132" y="50"/>
                  </a:cubicBezTo>
                  <a:cubicBezTo>
                    <a:pt x="141" y="41"/>
                    <a:pt x="145" y="28"/>
                    <a:pt x="143" y="15"/>
                  </a:cubicBezTo>
                  <a:cubicBezTo>
                    <a:pt x="142" y="13"/>
                    <a:pt x="142" y="13"/>
                    <a:pt x="142" y="13"/>
                  </a:cubicBezTo>
                  <a:cubicBezTo>
                    <a:pt x="142" y="8"/>
                    <a:pt x="137" y="5"/>
                    <a:pt x="132" y="4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24" y="12"/>
                    <a:pt x="124" y="12"/>
                    <a:pt x="124" y="12"/>
                  </a:cubicBezTo>
                  <a:cubicBezTo>
                    <a:pt x="112" y="3"/>
                    <a:pt x="97" y="0"/>
                    <a:pt x="83" y="4"/>
                  </a:cubicBezTo>
                  <a:cubicBezTo>
                    <a:pt x="74" y="7"/>
                    <a:pt x="70" y="16"/>
                    <a:pt x="73" y="24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82" y="46"/>
                    <a:pt x="78" y="53"/>
                    <a:pt x="71" y="54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5" y="83"/>
                    <a:pt x="57" y="88"/>
                    <a:pt x="57" y="94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0"/>
                    <a:pt x="61" y="152"/>
                    <a:pt x="76" y="157"/>
                  </a:cubicBezTo>
                  <a:cubicBezTo>
                    <a:pt x="91" y="162"/>
                    <a:pt x="125" y="142"/>
                    <a:pt x="125" y="142"/>
                  </a:cubicBezTo>
                  <a:cubicBezTo>
                    <a:pt x="110" y="121"/>
                    <a:pt x="110" y="121"/>
                    <a:pt x="110" y="121"/>
                  </a:cubicBezTo>
                  <a:cubicBezTo>
                    <a:pt x="101" y="118"/>
                    <a:pt x="93" y="111"/>
                    <a:pt x="89" y="102"/>
                  </a:cubicBezTo>
                  <a:cubicBezTo>
                    <a:pt x="106" y="91"/>
                    <a:pt x="119" y="75"/>
                    <a:pt x="125" y="54"/>
                  </a:cubicBezTo>
                  <a:close/>
                </a:path>
              </a:pathLst>
            </a:custGeom>
            <a:solidFill>
              <a:srgbClr val="66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75">
              <a:extLst>
                <a:ext uri="{FF2B5EF4-FFF2-40B4-BE49-F238E27FC236}">
                  <a16:creationId xmlns:a16="http://schemas.microsoft.com/office/drawing/2014/main" id="{2035E088-8C53-4F7D-92B2-ACB0B00A55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8" y="1401"/>
              <a:ext cx="31" cy="31"/>
            </a:xfrm>
            <a:custGeom>
              <a:avLst/>
              <a:gdLst>
                <a:gd name="T0" fmla="*/ 15 w 16"/>
                <a:gd name="T1" fmla="*/ 9 h 16"/>
                <a:gd name="T2" fmla="*/ 7 w 16"/>
                <a:gd name="T3" fmla="*/ 15 h 16"/>
                <a:gd name="T4" fmla="*/ 0 w 16"/>
                <a:gd name="T5" fmla="*/ 7 h 16"/>
                <a:gd name="T6" fmla="*/ 9 w 16"/>
                <a:gd name="T7" fmla="*/ 0 h 16"/>
                <a:gd name="T8" fmla="*/ 15 w 16"/>
                <a:gd name="T9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5" y="9"/>
                  </a:moveTo>
                  <a:cubicBezTo>
                    <a:pt x="15" y="13"/>
                    <a:pt x="11" y="16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1" y="3"/>
                    <a:pt x="4" y="0"/>
                    <a:pt x="9" y="0"/>
                  </a:cubicBezTo>
                  <a:cubicBezTo>
                    <a:pt x="13" y="1"/>
                    <a:pt x="16" y="4"/>
                    <a:pt x="15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76">
              <a:extLst>
                <a:ext uri="{FF2B5EF4-FFF2-40B4-BE49-F238E27FC236}">
                  <a16:creationId xmlns:a16="http://schemas.microsoft.com/office/drawing/2014/main" id="{2FC73F63-DDE4-42FC-8FA3-060885A619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4" y="1423"/>
              <a:ext cx="31" cy="31"/>
            </a:xfrm>
            <a:custGeom>
              <a:avLst/>
              <a:gdLst>
                <a:gd name="T0" fmla="*/ 16 w 16"/>
                <a:gd name="T1" fmla="*/ 9 h 16"/>
                <a:gd name="T2" fmla="*/ 7 w 16"/>
                <a:gd name="T3" fmla="*/ 15 h 16"/>
                <a:gd name="T4" fmla="*/ 1 w 16"/>
                <a:gd name="T5" fmla="*/ 7 h 16"/>
                <a:gd name="T6" fmla="*/ 9 w 16"/>
                <a:gd name="T7" fmla="*/ 0 h 16"/>
                <a:gd name="T8" fmla="*/ 16 w 16"/>
                <a:gd name="T9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6" y="9"/>
                  </a:moveTo>
                  <a:cubicBezTo>
                    <a:pt x="15" y="13"/>
                    <a:pt x="11" y="16"/>
                    <a:pt x="7" y="15"/>
                  </a:cubicBezTo>
                  <a:cubicBezTo>
                    <a:pt x="3" y="15"/>
                    <a:pt x="0" y="11"/>
                    <a:pt x="1" y="7"/>
                  </a:cubicBezTo>
                  <a:cubicBezTo>
                    <a:pt x="1" y="3"/>
                    <a:pt x="5" y="0"/>
                    <a:pt x="9" y="0"/>
                  </a:cubicBezTo>
                  <a:cubicBezTo>
                    <a:pt x="13" y="1"/>
                    <a:pt x="16" y="4"/>
                    <a:pt x="16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77">
              <a:extLst>
                <a:ext uri="{FF2B5EF4-FFF2-40B4-BE49-F238E27FC236}">
                  <a16:creationId xmlns:a16="http://schemas.microsoft.com/office/drawing/2014/main" id="{F98430CF-CB77-4328-B357-42D8B0C8B9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8" y="1405"/>
              <a:ext cx="328" cy="235"/>
            </a:xfrm>
            <a:custGeom>
              <a:avLst/>
              <a:gdLst>
                <a:gd name="T0" fmla="*/ 92 w 168"/>
                <a:gd name="T1" fmla="*/ 53 h 120"/>
                <a:gd name="T2" fmla="*/ 51 w 168"/>
                <a:gd name="T3" fmla="*/ 45 h 120"/>
                <a:gd name="T4" fmla="*/ 35 w 168"/>
                <a:gd name="T5" fmla="*/ 51 h 120"/>
                <a:gd name="T6" fmla="*/ 26 w 168"/>
                <a:gd name="T7" fmla="*/ 44 h 120"/>
                <a:gd name="T8" fmla="*/ 27 w 168"/>
                <a:gd name="T9" fmla="*/ 14 h 120"/>
                <a:gd name="T10" fmla="*/ 18 w 168"/>
                <a:gd name="T11" fmla="*/ 3 h 120"/>
                <a:gd name="T12" fmla="*/ 6 w 168"/>
                <a:gd name="T13" fmla="*/ 0 h 120"/>
                <a:gd name="T14" fmla="*/ 2 w 168"/>
                <a:gd name="T15" fmla="*/ 32 h 120"/>
                <a:gd name="T16" fmla="*/ 22 w 168"/>
                <a:gd name="T17" fmla="*/ 84 h 120"/>
                <a:gd name="T18" fmla="*/ 38 w 168"/>
                <a:gd name="T19" fmla="*/ 99 h 120"/>
                <a:gd name="T20" fmla="*/ 79 w 168"/>
                <a:gd name="T21" fmla="*/ 117 h 120"/>
                <a:gd name="T22" fmla="*/ 79 w 168"/>
                <a:gd name="T23" fmla="*/ 117 h 120"/>
                <a:gd name="T24" fmla="*/ 135 w 168"/>
                <a:gd name="T25" fmla="*/ 102 h 120"/>
                <a:gd name="T26" fmla="*/ 145 w 168"/>
                <a:gd name="T27" fmla="*/ 94 h 120"/>
                <a:gd name="T28" fmla="*/ 164 w 168"/>
                <a:gd name="T29" fmla="*/ 61 h 120"/>
                <a:gd name="T30" fmla="*/ 168 w 168"/>
                <a:gd name="T31" fmla="*/ 26 h 120"/>
                <a:gd name="T32" fmla="*/ 168 w 168"/>
                <a:gd name="T33" fmla="*/ 26 h 120"/>
                <a:gd name="T34" fmla="*/ 156 w 168"/>
                <a:gd name="T35" fmla="*/ 34 h 120"/>
                <a:gd name="T36" fmla="*/ 149 w 168"/>
                <a:gd name="T37" fmla="*/ 57 h 120"/>
                <a:gd name="T38" fmla="*/ 135 w 168"/>
                <a:gd name="T39" fmla="*/ 62 h 120"/>
                <a:gd name="T40" fmla="*/ 128 w 168"/>
                <a:gd name="T41" fmla="*/ 57 h 120"/>
                <a:gd name="T42" fmla="*/ 104 w 168"/>
                <a:gd name="T43" fmla="*/ 52 h 120"/>
                <a:gd name="T44" fmla="*/ 92 w 168"/>
                <a:gd name="T45" fmla="*/ 5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120">
                  <a:moveTo>
                    <a:pt x="92" y="53"/>
                  </a:moveTo>
                  <a:cubicBezTo>
                    <a:pt x="92" y="53"/>
                    <a:pt x="67" y="39"/>
                    <a:pt x="51" y="45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1" y="52"/>
                    <a:pt x="26" y="49"/>
                    <a:pt x="26" y="4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9"/>
                    <a:pt x="23" y="4"/>
                    <a:pt x="18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0" y="52"/>
                    <a:pt x="7" y="71"/>
                    <a:pt x="22" y="84"/>
                  </a:cubicBezTo>
                  <a:cubicBezTo>
                    <a:pt x="38" y="99"/>
                    <a:pt x="38" y="99"/>
                    <a:pt x="38" y="99"/>
                  </a:cubicBezTo>
                  <a:cubicBezTo>
                    <a:pt x="49" y="109"/>
                    <a:pt x="64" y="115"/>
                    <a:pt x="79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99" y="120"/>
                    <a:pt x="120" y="114"/>
                    <a:pt x="135" y="102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55" y="86"/>
                    <a:pt x="162" y="74"/>
                    <a:pt x="164" y="61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3" y="25"/>
                    <a:pt x="158" y="29"/>
                    <a:pt x="156" y="34"/>
                  </a:cubicBezTo>
                  <a:cubicBezTo>
                    <a:pt x="149" y="57"/>
                    <a:pt x="149" y="57"/>
                    <a:pt x="149" y="57"/>
                  </a:cubicBezTo>
                  <a:cubicBezTo>
                    <a:pt x="147" y="63"/>
                    <a:pt x="140" y="65"/>
                    <a:pt x="135" y="62"/>
                  </a:cubicBezTo>
                  <a:cubicBezTo>
                    <a:pt x="128" y="57"/>
                    <a:pt x="128" y="57"/>
                    <a:pt x="128" y="57"/>
                  </a:cubicBezTo>
                  <a:cubicBezTo>
                    <a:pt x="121" y="53"/>
                    <a:pt x="113" y="51"/>
                    <a:pt x="104" y="52"/>
                  </a:cubicBezTo>
                  <a:lnTo>
                    <a:pt x="92" y="5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78">
              <a:extLst>
                <a:ext uri="{FF2B5EF4-FFF2-40B4-BE49-F238E27FC236}">
                  <a16:creationId xmlns:a16="http://schemas.microsoft.com/office/drawing/2014/main" id="{EBD982EA-37BA-4113-B780-0452CAF020F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1" y="1519"/>
              <a:ext cx="131" cy="62"/>
            </a:xfrm>
            <a:custGeom>
              <a:avLst/>
              <a:gdLst>
                <a:gd name="T0" fmla="*/ 0 w 67"/>
                <a:gd name="T1" fmla="*/ 0 h 32"/>
                <a:gd name="T2" fmla="*/ 12 w 67"/>
                <a:gd name="T3" fmla="*/ 6 h 32"/>
                <a:gd name="T4" fmla="*/ 55 w 67"/>
                <a:gd name="T5" fmla="*/ 12 h 32"/>
                <a:gd name="T6" fmla="*/ 67 w 67"/>
                <a:gd name="T7" fmla="*/ 11 h 32"/>
                <a:gd name="T8" fmla="*/ 49 w 67"/>
                <a:gd name="T9" fmla="*/ 25 h 32"/>
                <a:gd name="T10" fmla="*/ 29 w 67"/>
                <a:gd name="T11" fmla="*/ 31 h 32"/>
                <a:gd name="T12" fmla="*/ 29 w 67"/>
                <a:gd name="T13" fmla="*/ 31 h 32"/>
                <a:gd name="T14" fmla="*/ 10 w 67"/>
                <a:gd name="T15" fmla="*/ 17 h 32"/>
                <a:gd name="T16" fmla="*/ 0 w 67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32">
                  <a:moveTo>
                    <a:pt x="0" y="0"/>
                  </a:moveTo>
                  <a:cubicBezTo>
                    <a:pt x="12" y="6"/>
                    <a:pt x="12" y="6"/>
                    <a:pt x="12" y="6"/>
                  </a:cubicBezTo>
                  <a:cubicBezTo>
                    <a:pt x="26" y="12"/>
                    <a:pt x="40" y="14"/>
                    <a:pt x="55" y="12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4" y="30"/>
                    <a:pt x="36" y="32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1" y="30"/>
                    <a:pt x="14" y="25"/>
                    <a:pt x="10" y="1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79">
              <a:extLst>
                <a:ext uri="{FF2B5EF4-FFF2-40B4-BE49-F238E27FC236}">
                  <a16:creationId xmlns:a16="http://schemas.microsoft.com/office/drawing/2014/main" id="{7A55AB6A-A24F-48AE-809B-A3C988F324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5" y="1348"/>
              <a:ext cx="94" cy="43"/>
            </a:xfrm>
            <a:custGeom>
              <a:avLst/>
              <a:gdLst>
                <a:gd name="T0" fmla="*/ 44 w 48"/>
                <a:gd name="T1" fmla="*/ 22 h 22"/>
                <a:gd name="T2" fmla="*/ 43 w 48"/>
                <a:gd name="T3" fmla="*/ 21 h 22"/>
                <a:gd name="T4" fmla="*/ 6 w 48"/>
                <a:gd name="T5" fmla="*/ 20 h 22"/>
                <a:gd name="T6" fmla="*/ 2 w 48"/>
                <a:gd name="T7" fmla="*/ 20 h 22"/>
                <a:gd name="T8" fmla="*/ 2 w 48"/>
                <a:gd name="T9" fmla="*/ 16 h 22"/>
                <a:gd name="T10" fmla="*/ 46 w 48"/>
                <a:gd name="T11" fmla="*/ 16 h 22"/>
                <a:gd name="T12" fmla="*/ 47 w 48"/>
                <a:gd name="T13" fmla="*/ 20 h 22"/>
                <a:gd name="T14" fmla="*/ 44 w 48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22">
                  <a:moveTo>
                    <a:pt x="44" y="22"/>
                  </a:moveTo>
                  <a:cubicBezTo>
                    <a:pt x="44" y="22"/>
                    <a:pt x="43" y="21"/>
                    <a:pt x="43" y="21"/>
                  </a:cubicBezTo>
                  <a:cubicBezTo>
                    <a:pt x="21" y="8"/>
                    <a:pt x="6" y="20"/>
                    <a:pt x="6" y="20"/>
                  </a:cubicBezTo>
                  <a:cubicBezTo>
                    <a:pt x="5" y="21"/>
                    <a:pt x="3" y="21"/>
                    <a:pt x="2" y="20"/>
                  </a:cubicBezTo>
                  <a:cubicBezTo>
                    <a:pt x="0" y="19"/>
                    <a:pt x="1" y="17"/>
                    <a:pt x="2" y="16"/>
                  </a:cubicBezTo>
                  <a:cubicBezTo>
                    <a:pt x="3" y="15"/>
                    <a:pt x="20" y="0"/>
                    <a:pt x="46" y="16"/>
                  </a:cubicBezTo>
                  <a:cubicBezTo>
                    <a:pt x="47" y="17"/>
                    <a:pt x="48" y="19"/>
                    <a:pt x="47" y="20"/>
                  </a:cubicBezTo>
                  <a:cubicBezTo>
                    <a:pt x="46" y="21"/>
                    <a:pt x="45" y="22"/>
                    <a:pt x="44" y="2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80">
              <a:extLst>
                <a:ext uri="{FF2B5EF4-FFF2-40B4-BE49-F238E27FC236}">
                  <a16:creationId xmlns:a16="http://schemas.microsoft.com/office/drawing/2014/main" id="{29D3ED05-C68C-42D7-BC0F-09AD042D04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817" y="1378"/>
              <a:ext cx="92" cy="49"/>
            </a:xfrm>
            <a:custGeom>
              <a:avLst/>
              <a:gdLst>
                <a:gd name="T0" fmla="*/ 44 w 47"/>
                <a:gd name="T1" fmla="*/ 25 h 25"/>
                <a:gd name="T2" fmla="*/ 42 w 47"/>
                <a:gd name="T3" fmla="*/ 24 h 25"/>
                <a:gd name="T4" fmla="*/ 6 w 47"/>
                <a:gd name="T5" fmla="*/ 18 h 25"/>
                <a:gd name="T6" fmla="*/ 1 w 47"/>
                <a:gd name="T7" fmla="*/ 17 h 25"/>
                <a:gd name="T8" fmla="*/ 2 w 47"/>
                <a:gd name="T9" fmla="*/ 13 h 25"/>
                <a:gd name="T10" fmla="*/ 46 w 47"/>
                <a:gd name="T11" fmla="*/ 20 h 25"/>
                <a:gd name="T12" fmla="*/ 46 w 47"/>
                <a:gd name="T13" fmla="*/ 24 h 25"/>
                <a:gd name="T14" fmla="*/ 44 w 47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25">
                  <a:moveTo>
                    <a:pt x="44" y="25"/>
                  </a:moveTo>
                  <a:cubicBezTo>
                    <a:pt x="43" y="25"/>
                    <a:pt x="42" y="25"/>
                    <a:pt x="42" y="24"/>
                  </a:cubicBezTo>
                  <a:cubicBezTo>
                    <a:pt x="22" y="8"/>
                    <a:pt x="6" y="18"/>
                    <a:pt x="6" y="18"/>
                  </a:cubicBezTo>
                  <a:cubicBezTo>
                    <a:pt x="4" y="19"/>
                    <a:pt x="2" y="19"/>
                    <a:pt x="1" y="17"/>
                  </a:cubicBezTo>
                  <a:cubicBezTo>
                    <a:pt x="0" y="16"/>
                    <a:pt x="1" y="14"/>
                    <a:pt x="2" y="13"/>
                  </a:cubicBezTo>
                  <a:cubicBezTo>
                    <a:pt x="3" y="13"/>
                    <a:pt x="22" y="0"/>
                    <a:pt x="46" y="20"/>
                  </a:cubicBezTo>
                  <a:cubicBezTo>
                    <a:pt x="47" y="21"/>
                    <a:pt x="47" y="23"/>
                    <a:pt x="46" y="24"/>
                  </a:cubicBezTo>
                  <a:cubicBezTo>
                    <a:pt x="45" y="25"/>
                    <a:pt x="45" y="25"/>
                    <a:pt x="44" y="2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81">
              <a:extLst>
                <a:ext uri="{FF2B5EF4-FFF2-40B4-BE49-F238E27FC236}">
                  <a16:creationId xmlns:a16="http://schemas.microsoft.com/office/drawing/2014/main" id="{B8545115-7021-4D0B-AF49-6A5DF5C6A54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4" y="1248"/>
              <a:ext cx="106" cy="75"/>
            </a:xfrm>
            <a:custGeom>
              <a:avLst/>
              <a:gdLst>
                <a:gd name="T0" fmla="*/ 51 w 54"/>
                <a:gd name="T1" fmla="*/ 9 h 38"/>
                <a:gd name="T2" fmla="*/ 21 w 54"/>
                <a:gd name="T3" fmla="*/ 6 h 38"/>
                <a:gd name="T4" fmla="*/ 3 w 54"/>
                <a:gd name="T5" fmla="*/ 29 h 38"/>
                <a:gd name="T6" fmla="*/ 33 w 54"/>
                <a:gd name="T7" fmla="*/ 32 h 38"/>
                <a:gd name="T8" fmla="*/ 51 w 54"/>
                <a:gd name="T9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8">
                  <a:moveTo>
                    <a:pt x="51" y="9"/>
                  </a:moveTo>
                  <a:cubicBezTo>
                    <a:pt x="48" y="2"/>
                    <a:pt x="34" y="0"/>
                    <a:pt x="21" y="6"/>
                  </a:cubicBezTo>
                  <a:cubicBezTo>
                    <a:pt x="8" y="11"/>
                    <a:pt x="0" y="22"/>
                    <a:pt x="3" y="29"/>
                  </a:cubicBezTo>
                  <a:cubicBezTo>
                    <a:pt x="6" y="36"/>
                    <a:pt x="19" y="38"/>
                    <a:pt x="33" y="32"/>
                  </a:cubicBezTo>
                  <a:cubicBezTo>
                    <a:pt x="46" y="27"/>
                    <a:pt x="54" y="16"/>
                    <a:pt x="51" y="9"/>
                  </a:cubicBezTo>
                  <a:close/>
                </a:path>
              </a:pathLst>
            </a:custGeom>
            <a:solidFill>
              <a:srgbClr val="8E7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82">
              <a:extLst>
                <a:ext uri="{FF2B5EF4-FFF2-40B4-BE49-F238E27FC236}">
                  <a16:creationId xmlns:a16="http://schemas.microsoft.com/office/drawing/2014/main" id="{5D3BE4D0-7D41-4DFE-AE27-F61CBD5E874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4" y="1579"/>
              <a:ext cx="548" cy="349"/>
            </a:xfrm>
            <a:custGeom>
              <a:avLst/>
              <a:gdLst>
                <a:gd name="T0" fmla="*/ 280 w 280"/>
                <a:gd name="T1" fmla="*/ 70 h 178"/>
                <a:gd name="T2" fmla="*/ 214 w 280"/>
                <a:gd name="T3" fmla="*/ 29 h 178"/>
                <a:gd name="T4" fmla="*/ 205 w 280"/>
                <a:gd name="T5" fmla="*/ 29 h 178"/>
                <a:gd name="T6" fmla="*/ 200 w 280"/>
                <a:gd name="T7" fmla="*/ 13 h 178"/>
                <a:gd name="T8" fmla="*/ 158 w 280"/>
                <a:gd name="T9" fmla="*/ 36 h 178"/>
                <a:gd name="T10" fmla="*/ 134 w 280"/>
                <a:gd name="T11" fmla="*/ 88 h 178"/>
                <a:gd name="T12" fmla="*/ 111 w 280"/>
                <a:gd name="T13" fmla="*/ 35 h 178"/>
                <a:gd name="T14" fmla="*/ 67 w 280"/>
                <a:gd name="T15" fmla="*/ 0 h 178"/>
                <a:gd name="T16" fmla="*/ 64 w 280"/>
                <a:gd name="T17" fmla="*/ 26 h 178"/>
                <a:gd name="T18" fmla="*/ 21 w 280"/>
                <a:gd name="T19" fmla="*/ 37 h 178"/>
                <a:gd name="T20" fmla="*/ 0 w 280"/>
                <a:gd name="T21" fmla="*/ 48 h 178"/>
                <a:gd name="T22" fmla="*/ 0 w 280"/>
                <a:gd name="T23" fmla="*/ 113 h 178"/>
                <a:gd name="T24" fmla="*/ 66 w 280"/>
                <a:gd name="T25" fmla="*/ 178 h 178"/>
                <a:gd name="T26" fmla="*/ 138 w 280"/>
                <a:gd name="T27" fmla="*/ 178 h 178"/>
                <a:gd name="T28" fmla="*/ 280 w 280"/>
                <a:gd name="T29" fmla="*/ 7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0" h="178">
                  <a:moveTo>
                    <a:pt x="280" y="70"/>
                  </a:moveTo>
                  <a:cubicBezTo>
                    <a:pt x="268" y="45"/>
                    <a:pt x="242" y="29"/>
                    <a:pt x="214" y="29"/>
                  </a:cubicBezTo>
                  <a:cubicBezTo>
                    <a:pt x="205" y="29"/>
                    <a:pt x="205" y="29"/>
                    <a:pt x="205" y="29"/>
                  </a:cubicBezTo>
                  <a:cubicBezTo>
                    <a:pt x="200" y="13"/>
                    <a:pt x="200" y="13"/>
                    <a:pt x="200" y="13"/>
                  </a:cubicBezTo>
                  <a:cubicBezTo>
                    <a:pt x="158" y="36"/>
                    <a:pt x="158" y="36"/>
                    <a:pt x="158" y="36"/>
                  </a:cubicBezTo>
                  <a:cubicBezTo>
                    <a:pt x="134" y="88"/>
                    <a:pt x="134" y="88"/>
                    <a:pt x="134" y="88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13" y="39"/>
                    <a:pt x="6" y="43"/>
                    <a:pt x="0" y="48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49"/>
                    <a:pt x="30" y="178"/>
                    <a:pt x="66" y="178"/>
                  </a:cubicBezTo>
                  <a:cubicBezTo>
                    <a:pt x="138" y="178"/>
                    <a:pt x="138" y="178"/>
                    <a:pt x="138" y="178"/>
                  </a:cubicBezTo>
                  <a:lnTo>
                    <a:pt x="28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83">
              <a:extLst>
                <a:ext uri="{FF2B5EF4-FFF2-40B4-BE49-F238E27FC236}">
                  <a16:creationId xmlns:a16="http://schemas.microsoft.com/office/drawing/2014/main" id="{0D8F918E-8AC5-445D-92BC-B111FC6E4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9" y="1654"/>
              <a:ext cx="74" cy="80"/>
            </a:xfrm>
            <a:custGeom>
              <a:avLst/>
              <a:gdLst>
                <a:gd name="T0" fmla="*/ 74 w 74"/>
                <a:gd name="T1" fmla="*/ 59 h 80"/>
                <a:gd name="T2" fmla="*/ 54 w 74"/>
                <a:gd name="T3" fmla="*/ 0 h 80"/>
                <a:gd name="T4" fmla="*/ 0 w 74"/>
                <a:gd name="T5" fmla="*/ 80 h 80"/>
                <a:gd name="T6" fmla="*/ 54 w 74"/>
                <a:gd name="T7" fmla="*/ 55 h 80"/>
                <a:gd name="T8" fmla="*/ 74 w 74"/>
                <a:gd name="T9" fmla="*/ 5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0">
                  <a:moveTo>
                    <a:pt x="74" y="59"/>
                  </a:moveTo>
                  <a:lnTo>
                    <a:pt x="54" y="0"/>
                  </a:lnTo>
                  <a:lnTo>
                    <a:pt x="0" y="80"/>
                  </a:lnTo>
                  <a:lnTo>
                    <a:pt x="54" y="55"/>
                  </a:lnTo>
                  <a:lnTo>
                    <a:pt x="74" y="59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84">
              <a:extLst>
                <a:ext uri="{FF2B5EF4-FFF2-40B4-BE49-F238E27FC236}">
                  <a16:creationId xmlns:a16="http://schemas.microsoft.com/office/drawing/2014/main" id="{0F32AFD5-8C32-4625-B5E9-FFA025C3525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5" y="1654"/>
              <a:ext cx="82" cy="96"/>
            </a:xfrm>
            <a:custGeom>
              <a:avLst/>
              <a:gdLst>
                <a:gd name="T0" fmla="*/ 0 w 82"/>
                <a:gd name="T1" fmla="*/ 6 h 96"/>
                <a:gd name="T2" fmla="*/ 47 w 82"/>
                <a:gd name="T3" fmla="*/ 55 h 96"/>
                <a:gd name="T4" fmla="*/ 82 w 82"/>
                <a:gd name="T5" fmla="*/ 0 h 96"/>
                <a:gd name="T6" fmla="*/ 45 w 82"/>
                <a:gd name="T7" fmla="*/ 96 h 96"/>
                <a:gd name="T8" fmla="*/ 0 w 82"/>
                <a:gd name="T9" fmla="*/ 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96">
                  <a:moveTo>
                    <a:pt x="0" y="6"/>
                  </a:moveTo>
                  <a:lnTo>
                    <a:pt x="47" y="55"/>
                  </a:lnTo>
                  <a:lnTo>
                    <a:pt x="82" y="0"/>
                  </a:lnTo>
                  <a:lnTo>
                    <a:pt x="45" y="9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Oval 85">
              <a:extLst>
                <a:ext uri="{FF2B5EF4-FFF2-40B4-BE49-F238E27FC236}">
                  <a16:creationId xmlns:a16="http://schemas.microsoft.com/office/drawing/2014/main" id="{17D24998-3F77-460E-9E67-9B1255BDA25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7" y="1758"/>
              <a:ext cx="20" cy="19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86">
              <a:extLst>
                <a:ext uri="{FF2B5EF4-FFF2-40B4-BE49-F238E27FC236}">
                  <a16:creationId xmlns:a16="http://schemas.microsoft.com/office/drawing/2014/main" id="{87D7C0F9-9855-464C-9973-DD67B4F5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7" y="2935"/>
              <a:ext cx="452" cy="450"/>
            </a:xfrm>
            <a:custGeom>
              <a:avLst/>
              <a:gdLst>
                <a:gd name="T0" fmla="*/ 132 w 231"/>
                <a:gd name="T1" fmla="*/ 3 h 230"/>
                <a:gd name="T2" fmla="*/ 3 w 231"/>
                <a:gd name="T3" fmla="*/ 130 h 230"/>
                <a:gd name="T4" fmla="*/ 3 w 231"/>
                <a:gd name="T5" fmla="*/ 141 h 230"/>
                <a:gd name="T6" fmla="*/ 87 w 231"/>
                <a:gd name="T7" fmla="*/ 227 h 230"/>
                <a:gd name="T8" fmla="*/ 99 w 231"/>
                <a:gd name="T9" fmla="*/ 227 h 230"/>
                <a:gd name="T10" fmla="*/ 228 w 231"/>
                <a:gd name="T11" fmla="*/ 100 h 230"/>
                <a:gd name="T12" fmla="*/ 190 w 231"/>
                <a:gd name="T13" fmla="*/ 41 h 230"/>
                <a:gd name="T14" fmla="*/ 187 w 231"/>
                <a:gd name="T15" fmla="*/ 38 h 230"/>
                <a:gd name="T16" fmla="*/ 132 w 231"/>
                <a:gd name="T17" fmla="*/ 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230">
                  <a:moveTo>
                    <a:pt x="132" y="3"/>
                  </a:moveTo>
                  <a:cubicBezTo>
                    <a:pt x="3" y="130"/>
                    <a:pt x="3" y="130"/>
                    <a:pt x="3" y="130"/>
                  </a:cubicBezTo>
                  <a:cubicBezTo>
                    <a:pt x="0" y="133"/>
                    <a:pt x="0" y="138"/>
                    <a:pt x="3" y="141"/>
                  </a:cubicBezTo>
                  <a:cubicBezTo>
                    <a:pt x="87" y="227"/>
                    <a:pt x="87" y="227"/>
                    <a:pt x="87" y="227"/>
                  </a:cubicBezTo>
                  <a:cubicBezTo>
                    <a:pt x="91" y="230"/>
                    <a:pt x="96" y="230"/>
                    <a:pt x="99" y="227"/>
                  </a:cubicBezTo>
                  <a:cubicBezTo>
                    <a:pt x="228" y="100"/>
                    <a:pt x="228" y="100"/>
                    <a:pt x="228" y="100"/>
                  </a:cubicBezTo>
                  <a:cubicBezTo>
                    <a:pt x="231" y="97"/>
                    <a:pt x="193" y="44"/>
                    <a:pt x="190" y="41"/>
                  </a:cubicBezTo>
                  <a:cubicBezTo>
                    <a:pt x="187" y="38"/>
                    <a:pt x="187" y="38"/>
                    <a:pt x="187" y="38"/>
                  </a:cubicBezTo>
                  <a:cubicBezTo>
                    <a:pt x="184" y="35"/>
                    <a:pt x="135" y="0"/>
                    <a:pt x="132" y="3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87">
              <a:extLst>
                <a:ext uri="{FF2B5EF4-FFF2-40B4-BE49-F238E27FC236}">
                  <a16:creationId xmlns:a16="http://schemas.microsoft.com/office/drawing/2014/main" id="{04E3B04D-680A-4963-8CA0-B190D2F550B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3" y="3015"/>
              <a:ext cx="364" cy="360"/>
            </a:xfrm>
            <a:custGeom>
              <a:avLst/>
              <a:gdLst>
                <a:gd name="T0" fmla="*/ 183 w 186"/>
                <a:gd name="T1" fmla="*/ 43 h 184"/>
                <a:gd name="T2" fmla="*/ 141 w 186"/>
                <a:gd name="T3" fmla="*/ 0 h 184"/>
                <a:gd name="T4" fmla="*/ 1 w 186"/>
                <a:gd name="T5" fmla="*/ 138 h 184"/>
                <a:gd name="T6" fmla="*/ 0 w 186"/>
                <a:gd name="T7" fmla="*/ 137 h 184"/>
                <a:gd name="T8" fmla="*/ 43 w 186"/>
                <a:gd name="T9" fmla="*/ 181 h 184"/>
                <a:gd name="T10" fmla="*/ 54 w 186"/>
                <a:gd name="T11" fmla="*/ 181 h 184"/>
                <a:gd name="T12" fmla="*/ 183 w 186"/>
                <a:gd name="T13" fmla="*/ 55 h 184"/>
                <a:gd name="T14" fmla="*/ 183 w 186"/>
                <a:gd name="T15" fmla="*/ 4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6" h="184">
                  <a:moveTo>
                    <a:pt x="183" y="43"/>
                  </a:moveTo>
                  <a:cubicBezTo>
                    <a:pt x="141" y="0"/>
                    <a:pt x="141" y="0"/>
                    <a:pt x="141" y="0"/>
                  </a:cubicBezTo>
                  <a:cubicBezTo>
                    <a:pt x="1" y="138"/>
                    <a:pt x="1" y="138"/>
                    <a:pt x="1" y="138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43" y="181"/>
                    <a:pt x="43" y="181"/>
                    <a:pt x="43" y="181"/>
                  </a:cubicBezTo>
                  <a:cubicBezTo>
                    <a:pt x="46" y="184"/>
                    <a:pt x="51" y="184"/>
                    <a:pt x="54" y="181"/>
                  </a:cubicBezTo>
                  <a:cubicBezTo>
                    <a:pt x="183" y="55"/>
                    <a:pt x="183" y="55"/>
                    <a:pt x="183" y="55"/>
                  </a:cubicBezTo>
                  <a:cubicBezTo>
                    <a:pt x="186" y="51"/>
                    <a:pt x="186" y="46"/>
                    <a:pt x="183" y="43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88">
              <a:extLst>
                <a:ext uri="{FF2B5EF4-FFF2-40B4-BE49-F238E27FC236}">
                  <a16:creationId xmlns:a16="http://schemas.microsoft.com/office/drawing/2014/main" id="{020C2833-9567-4EC6-ADA9-134EC4739B4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7" y="2925"/>
              <a:ext cx="360" cy="354"/>
            </a:xfrm>
            <a:custGeom>
              <a:avLst/>
              <a:gdLst>
                <a:gd name="T0" fmla="*/ 182 w 184"/>
                <a:gd name="T1" fmla="*/ 43 h 181"/>
                <a:gd name="T2" fmla="*/ 184 w 184"/>
                <a:gd name="T3" fmla="*/ 45 h 181"/>
                <a:gd name="T4" fmla="*/ 143 w 184"/>
                <a:gd name="T5" fmla="*/ 4 h 181"/>
                <a:gd name="T6" fmla="*/ 132 w 184"/>
                <a:gd name="T7" fmla="*/ 3 h 181"/>
                <a:gd name="T8" fmla="*/ 3 w 184"/>
                <a:gd name="T9" fmla="*/ 130 h 181"/>
                <a:gd name="T10" fmla="*/ 3 w 184"/>
                <a:gd name="T11" fmla="*/ 141 h 181"/>
                <a:gd name="T12" fmla="*/ 42 w 184"/>
                <a:gd name="T13" fmla="*/ 181 h 181"/>
                <a:gd name="T14" fmla="*/ 182 w 184"/>
                <a:gd name="T15" fmla="*/ 43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181">
                  <a:moveTo>
                    <a:pt x="182" y="43"/>
                  </a:moveTo>
                  <a:cubicBezTo>
                    <a:pt x="184" y="45"/>
                    <a:pt x="184" y="45"/>
                    <a:pt x="184" y="45"/>
                  </a:cubicBezTo>
                  <a:cubicBezTo>
                    <a:pt x="143" y="4"/>
                    <a:pt x="143" y="4"/>
                    <a:pt x="143" y="4"/>
                  </a:cubicBezTo>
                  <a:cubicBezTo>
                    <a:pt x="140" y="0"/>
                    <a:pt x="135" y="0"/>
                    <a:pt x="132" y="3"/>
                  </a:cubicBezTo>
                  <a:cubicBezTo>
                    <a:pt x="3" y="130"/>
                    <a:pt x="3" y="130"/>
                    <a:pt x="3" y="130"/>
                  </a:cubicBezTo>
                  <a:cubicBezTo>
                    <a:pt x="0" y="133"/>
                    <a:pt x="0" y="138"/>
                    <a:pt x="3" y="141"/>
                  </a:cubicBezTo>
                  <a:cubicBezTo>
                    <a:pt x="42" y="181"/>
                    <a:pt x="42" y="181"/>
                    <a:pt x="42" y="181"/>
                  </a:cubicBezTo>
                  <a:lnTo>
                    <a:pt x="182" y="43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89">
              <a:extLst>
                <a:ext uri="{FF2B5EF4-FFF2-40B4-BE49-F238E27FC236}">
                  <a16:creationId xmlns:a16="http://schemas.microsoft.com/office/drawing/2014/main" id="{62B0AC69-6923-4733-94D4-8602040B404F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7" y="2935"/>
              <a:ext cx="254" cy="344"/>
            </a:xfrm>
            <a:custGeom>
              <a:avLst/>
              <a:gdLst>
                <a:gd name="T0" fmla="*/ 129 w 130"/>
                <a:gd name="T1" fmla="*/ 90 h 176"/>
                <a:gd name="T2" fmla="*/ 130 w 130"/>
                <a:gd name="T3" fmla="*/ 0 h 176"/>
                <a:gd name="T4" fmla="*/ 3 w 130"/>
                <a:gd name="T5" fmla="*/ 125 h 176"/>
                <a:gd name="T6" fmla="*/ 3 w 130"/>
                <a:gd name="T7" fmla="*/ 136 h 176"/>
                <a:gd name="T8" fmla="*/ 42 w 130"/>
                <a:gd name="T9" fmla="*/ 176 h 176"/>
                <a:gd name="T10" fmla="*/ 129 w 130"/>
                <a:gd name="T11" fmla="*/ 9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176">
                  <a:moveTo>
                    <a:pt x="129" y="90"/>
                  </a:moveTo>
                  <a:cubicBezTo>
                    <a:pt x="130" y="0"/>
                    <a:pt x="130" y="0"/>
                    <a:pt x="130" y="0"/>
                  </a:cubicBezTo>
                  <a:cubicBezTo>
                    <a:pt x="3" y="125"/>
                    <a:pt x="3" y="125"/>
                    <a:pt x="3" y="125"/>
                  </a:cubicBezTo>
                  <a:cubicBezTo>
                    <a:pt x="0" y="128"/>
                    <a:pt x="0" y="133"/>
                    <a:pt x="3" y="136"/>
                  </a:cubicBezTo>
                  <a:cubicBezTo>
                    <a:pt x="42" y="176"/>
                    <a:pt x="42" y="176"/>
                    <a:pt x="42" y="176"/>
                  </a:cubicBezTo>
                  <a:lnTo>
                    <a:pt x="129" y="9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90">
              <a:extLst>
                <a:ext uri="{FF2B5EF4-FFF2-40B4-BE49-F238E27FC236}">
                  <a16:creationId xmlns:a16="http://schemas.microsoft.com/office/drawing/2014/main" id="{FCE7456A-5556-4509-BD0E-56DBCD079E9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5" y="3123"/>
              <a:ext cx="164" cy="252"/>
            </a:xfrm>
            <a:custGeom>
              <a:avLst/>
              <a:gdLst>
                <a:gd name="T0" fmla="*/ 0 w 84"/>
                <a:gd name="T1" fmla="*/ 83 h 129"/>
                <a:gd name="T2" fmla="*/ 42 w 84"/>
                <a:gd name="T3" fmla="*/ 126 h 129"/>
                <a:gd name="T4" fmla="*/ 53 w 84"/>
                <a:gd name="T5" fmla="*/ 126 h 129"/>
                <a:gd name="T6" fmla="*/ 83 w 84"/>
                <a:gd name="T7" fmla="*/ 97 h 129"/>
                <a:gd name="T8" fmla="*/ 84 w 84"/>
                <a:gd name="T9" fmla="*/ 0 h 129"/>
                <a:gd name="T10" fmla="*/ 0 w 84"/>
                <a:gd name="T11" fmla="*/ 8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129">
                  <a:moveTo>
                    <a:pt x="0" y="83"/>
                  </a:moveTo>
                  <a:cubicBezTo>
                    <a:pt x="42" y="126"/>
                    <a:pt x="42" y="126"/>
                    <a:pt x="42" y="126"/>
                  </a:cubicBezTo>
                  <a:cubicBezTo>
                    <a:pt x="45" y="129"/>
                    <a:pt x="50" y="129"/>
                    <a:pt x="53" y="126"/>
                  </a:cubicBezTo>
                  <a:cubicBezTo>
                    <a:pt x="83" y="97"/>
                    <a:pt x="83" y="97"/>
                    <a:pt x="83" y="97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0" y="83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91">
              <a:extLst>
                <a:ext uri="{FF2B5EF4-FFF2-40B4-BE49-F238E27FC236}">
                  <a16:creationId xmlns:a16="http://schemas.microsoft.com/office/drawing/2014/main" id="{0D2D2988-90F3-4E87-8BCF-69591994DB57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4" y="3179"/>
              <a:ext cx="27" cy="26"/>
            </a:xfrm>
            <a:custGeom>
              <a:avLst/>
              <a:gdLst>
                <a:gd name="T0" fmla="*/ 27 w 27"/>
                <a:gd name="T1" fmla="*/ 12 h 26"/>
                <a:gd name="T2" fmla="*/ 13 w 27"/>
                <a:gd name="T3" fmla="*/ 0 h 26"/>
                <a:gd name="T4" fmla="*/ 0 w 27"/>
                <a:gd name="T5" fmla="*/ 12 h 26"/>
                <a:gd name="T6" fmla="*/ 13 w 27"/>
                <a:gd name="T7" fmla="*/ 26 h 26"/>
                <a:gd name="T8" fmla="*/ 27 w 27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6">
                  <a:moveTo>
                    <a:pt x="27" y="12"/>
                  </a:moveTo>
                  <a:lnTo>
                    <a:pt x="13" y="0"/>
                  </a:lnTo>
                  <a:lnTo>
                    <a:pt x="0" y="12"/>
                  </a:lnTo>
                  <a:lnTo>
                    <a:pt x="13" y="26"/>
                  </a:lnTo>
                  <a:lnTo>
                    <a:pt x="27" y="12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92">
              <a:extLst>
                <a:ext uri="{FF2B5EF4-FFF2-40B4-BE49-F238E27FC236}">
                  <a16:creationId xmlns:a16="http://schemas.microsoft.com/office/drawing/2014/main" id="{9FE96377-D42E-42A3-964C-443A910EFB91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9" y="3164"/>
              <a:ext cx="26" cy="25"/>
            </a:xfrm>
            <a:custGeom>
              <a:avLst/>
              <a:gdLst>
                <a:gd name="T0" fmla="*/ 14 w 26"/>
                <a:gd name="T1" fmla="*/ 25 h 25"/>
                <a:gd name="T2" fmla="*/ 26 w 26"/>
                <a:gd name="T3" fmla="*/ 13 h 25"/>
                <a:gd name="T4" fmla="*/ 14 w 26"/>
                <a:gd name="T5" fmla="*/ 0 h 25"/>
                <a:gd name="T6" fmla="*/ 0 w 26"/>
                <a:gd name="T7" fmla="*/ 13 h 25"/>
                <a:gd name="T8" fmla="*/ 14 w 26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5">
                  <a:moveTo>
                    <a:pt x="14" y="25"/>
                  </a:moveTo>
                  <a:lnTo>
                    <a:pt x="26" y="13"/>
                  </a:lnTo>
                  <a:lnTo>
                    <a:pt x="14" y="0"/>
                  </a:lnTo>
                  <a:lnTo>
                    <a:pt x="0" y="13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93">
              <a:extLst>
                <a:ext uri="{FF2B5EF4-FFF2-40B4-BE49-F238E27FC236}">
                  <a16:creationId xmlns:a16="http://schemas.microsoft.com/office/drawing/2014/main" id="{B66456DA-78B0-4924-B249-275C79991970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5" y="3179"/>
              <a:ext cx="25" cy="26"/>
            </a:xfrm>
            <a:custGeom>
              <a:avLst/>
              <a:gdLst>
                <a:gd name="T0" fmla="*/ 0 w 25"/>
                <a:gd name="T1" fmla="*/ 12 h 26"/>
                <a:gd name="T2" fmla="*/ 12 w 25"/>
                <a:gd name="T3" fmla="*/ 26 h 26"/>
                <a:gd name="T4" fmla="*/ 25 w 25"/>
                <a:gd name="T5" fmla="*/ 12 h 26"/>
                <a:gd name="T6" fmla="*/ 12 w 25"/>
                <a:gd name="T7" fmla="*/ 0 h 26"/>
                <a:gd name="T8" fmla="*/ 0 w 25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6">
                  <a:moveTo>
                    <a:pt x="0" y="12"/>
                  </a:moveTo>
                  <a:lnTo>
                    <a:pt x="12" y="26"/>
                  </a:lnTo>
                  <a:lnTo>
                    <a:pt x="25" y="12"/>
                  </a:lnTo>
                  <a:lnTo>
                    <a:pt x="12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94">
              <a:extLst>
                <a:ext uri="{FF2B5EF4-FFF2-40B4-BE49-F238E27FC236}">
                  <a16:creationId xmlns:a16="http://schemas.microsoft.com/office/drawing/2014/main" id="{174DF994-2124-4FC7-BB8A-99B8D6902E59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9" y="3193"/>
              <a:ext cx="26" cy="26"/>
            </a:xfrm>
            <a:custGeom>
              <a:avLst/>
              <a:gdLst>
                <a:gd name="T0" fmla="*/ 14 w 26"/>
                <a:gd name="T1" fmla="*/ 0 h 26"/>
                <a:gd name="T2" fmla="*/ 0 w 26"/>
                <a:gd name="T3" fmla="*/ 14 h 26"/>
                <a:gd name="T4" fmla="*/ 14 w 26"/>
                <a:gd name="T5" fmla="*/ 26 h 26"/>
                <a:gd name="T6" fmla="*/ 26 w 26"/>
                <a:gd name="T7" fmla="*/ 14 h 26"/>
                <a:gd name="T8" fmla="*/ 14 w 26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6">
                  <a:moveTo>
                    <a:pt x="14" y="0"/>
                  </a:moveTo>
                  <a:lnTo>
                    <a:pt x="0" y="14"/>
                  </a:lnTo>
                  <a:lnTo>
                    <a:pt x="14" y="26"/>
                  </a:lnTo>
                  <a:lnTo>
                    <a:pt x="26" y="14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95">
              <a:extLst>
                <a:ext uri="{FF2B5EF4-FFF2-40B4-BE49-F238E27FC236}">
                  <a16:creationId xmlns:a16="http://schemas.microsoft.com/office/drawing/2014/main" id="{3EE0F57F-51A6-4F4F-83EB-7AE6BBFBEE2D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" y="3199"/>
              <a:ext cx="139" cy="172"/>
            </a:xfrm>
            <a:custGeom>
              <a:avLst/>
              <a:gdLst>
                <a:gd name="T0" fmla="*/ 71 w 71"/>
                <a:gd name="T1" fmla="*/ 35 h 88"/>
                <a:gd name="T2" fmla="*/ 67 w 71"/>
                <a:gd name="T3" fmla="*/ 6 h 88"/>
                <a:gd name="T4" fmla="*/ 60 w 71"/>
                <a:gd name="T5" fmla="*/ 0 h 88"/>
                <a:gd name="T6" fmla="*/ 54 w 71"/>
                <a:gd name="T7" fmla="*/ 7 h 88"/>
                <a:gd name="T8" fmla="*/ 53 w 71"/>
                <a:gd name="T9" fmla="*/ 27 h 88"/>
                <a:gd name="T10" fmla="*/ 49 w 71"/>
                <a:gd name="T11" fmla="*/ 7 h 88"/>
                <a:gd name="T12" fmla="*/ 40 w 71"/>
                <a:gd name="T13" fmla="*/ 2 h 88"/>
                <a:gd name="T14" fmla="*/ 40 w 71"/>
                <a:gd name="T15" fmla="*/ 2 h 88"/>
                <a:gd name="T16" fmla="*/ 34 w 71"/>
                <a:gd name="T17" fmla="*/ 10 h 88"/>
                <a:gd name="T18" fmla="*/ 36 w 71"/>
                <a:gd name="T19" fmla="*/ 33 h 88"/>
                <a:gd name="T20" fmla="*/ 33 w 71"/>
                <a:gd name="T21" fmla="*/ 22 h 88"/>
                <a:gd name="T22" fmla="*/ 24 w 71"/>
                <a:gd name="T23" fmla="*/ 18 h 88"/>
                <a:gd name="T24" fmla="*/ 20 w 71"/>
                <a:gd name="T25" fmla="*/ 26 h 88"/>
                <a:gd name="T26" fmla="*/ 27 w 71"/>
                <a:gd name="T27" fmla="*/ 61 h 88"/>
                <a:gd name="T28" fmla="*/ 26 w 71"/>
                <a:gd name="T29" fmla="*/ 62 h 88"/>
                <a:gd name="T30" fmla="*/ 15 w 71"/>
                <a:gd name="T31" fmla="*/ 42 h 88"/>
                <a:gd name="T32" fmla="*/ 5 w 71"/>
                <a:gd name="T33" fmla="*/ 40 h 88"/>
                <a:gd name="T34" fmla="*/ 2 w 71"/>
                <a:gd name="T35" fmla="*/ 48 h 88"/>
                <a:gd name="T36" fmla="*/ 12 w 71"/>
                <a:gd name="T37" fmla="*/ 75 h 88"/>
                <a:gd name="T38" fmla="*/ 7 w 71"/>
                <a:gd name="T39" fmla="*/ 81 h 88"/>
                <a:gd name="T40" fmla="*/ 0 w 71"/>
                <a:gd name="T41" fmla="*/ 87 h 88"/>
                <a:gd name="T42" fmla="*/ 21 w 71"/>
                <a:gd name="T43" fmla="*/ 88 h 88"/>
                <a:gd name="T44" fmla="*/ 51 w 71"/>
                <a:gd name="T45" fmla="*/ 71 h 88"/>
                <a:gd name="T46" fmla="*/ 68 w 71"/>
                <a:gd name="T47" fmla="*/ 43 h 88"/>
                <a:gd name="T48" fmla="*/ 68 w 71"/>
                <a:gd name="T49" fmla="*/ 43 h 88"/>
                <a:gd name="T50" fmla="*/ 71 w 71"/>
                <a:gd name="T51" fmla="*/ 3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88">
                  <a:moveTo>
                    <a:pt x="71" y="35"/>
                  </a:moveTo>
                  <a:cubicBezTo>
                    <a:pt x="67" y="6"/>
                    <a:pt x="67" y="6"/>
                    <a:pt x="67" y="6"/>
                  </a:cubicBezTo>
                  <a:cubicBezTo>
                    <a:pt x="67" y="3"/>
                    <a:pt x="64" y="0"/>
                    <a:pt x="60" y="0"/>
                  </a:cubicBezTo>
                  <a:cubicBezTo>
                    <a:pt x="57" y="1"/>
                    <a:pt x="54" y="4"/>
                    <a:pt x="54" y="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8" y="3"/>
                    <a:pt x="44" y="1"/>
                    <a:pt x="40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36" y="3"/>
                    <a:pt x="34" y="6"/>
                    <a:pt x="34" y="10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1" y="19"/>
                    <a:pt x="27" y="17"/>
                    <a:pt x="24" y="18"/>
                  </a:cubicBezTo>
                  <a:cubicBezTo>
                    <a:pt x="21" y="20"/>
                    <a:pt x="19" y="23"/>
                    <a:pt x="20" y="26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6" y="62"/>
                    <a:pt x="26" y="62"/>
                    <a:pt x="26" y="6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3" y="39"/>
                    <a:pt x="9" y="38"/>
                    <a:pt x="5" y="40"/>
                  </a:cubicBezTo>
                  <a:cubicBezTo>
                    <a:pt x="2" y="42"/>
                    <a:pt x="1" y="45"/>
                    <a:pt x="2" y="48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33" y="88"/>
                    <a:pt x="45" y="82"/>
                    <a:pt x="51" y="71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70" y="41"/>
                    <a:pt x="71" y="38"/>
                    <a:pt x="71" y="35"/>
                  </a:cubicBez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96">
              <a:extLst>
                <a:ext uri="{FF2B5EF4-FFF2-40B4-BE49-F238E27FC236}">
                  <a16:creationId xmlns:a16="http://schemas.microsoft.com/office/drawing/2014/main" id="{97202964-4B3A-4D26-931C-9ACADCCA353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4" y="1620"/>
              <a:ext cx="622" cy="308"/>
            </a:xfrm>
            <a:custGeom>
              <a:avLst/>
              <a:gdLst>
                <a:gd name="T0" fmla="*/ 305 w 318"/>
                <a:gd name="T1" fmla="*/ 0 h 157"/>
                <a:gd name="T2" fmla="*/ 84 w 318"/>
                <a:gd name="T3" fmla="*/ 0 h 157"/>
                <a:gd name="T4" fmla="*/ 66 w 318"/>
                <a:gd name="T5" fmla="*/ 12 h 157"/>
                <a:gd name="T6" fmla="*/ 0 w 318"/>
                <a:gd name="T7" fmla="*/ 157 h 157"/>
                <a:gd name="T8" fmla="*/ 251 w 318"/>
                <a:gd name="T9" fmla="*/ 157 h 157"/>
                <a:gd name="T10" fmla="*/ 315 w 318"/>
                <a:gd name="T11" fmla="*/ 16 h 157"/>
                <a:gd name="T12" fmla="*/ 305 w 318"/>
                <a:gd name="T1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8" h="157">
                  <a:moveTo>
                    <a:pt x="305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76" y="0"/>
                    <a:pt x="69" y="5"/>
                    <a:pt x="66" y="12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51" y="157"/>
                    <a:pt x="251" y="157"/>
                    <a:pt x="251" y="157"/>
                  </a:cubicBezTo>
                  <a:cubicBezTo>
                    <a:pt x="315" y="16"/>
                    <a:pt x="315" y="16"/>
                    <a:pt x="315" y="16"/>
                  </a:cubicBezTo>
                  <a:cubicBezTo>
                    <a:pt x="318" y="9"/>
                    <a:pt x="313" y="0"/>
                    <a:pt x="305" y="0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97">
              <a:extLst>
                <a:ext uri="{FF2B5EF4-FFF2-40B4-BE49-F238E27FC236}">
                  <a16:creationId xmlns:a16="http://schemas.microsoft.com/office/drawing/2014/main" id="{7542839E-7F9F-42C5-9BFC-BFB5DD8EFD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0" y="1620"/>
              <a:ext cx="624" cy="308"/>
            </a:xfrm>
            <a:custGeom>
              <a:avLst/>
              <a:gdLst>
                <a:gd name="T0" fmla="*/ 305 w 319"/>
                <a:gd name="T1" fmla="*/ 0 h 157"/>
                <a:gd name="T2" fmla="*/ 85 w 319"/>
                <a:gd name="T3" fmla="*/ 0 h 157"/>
                <a:gd name="T4" fmla="*/ 66 w 319"/>
                <a:gd name="T5" fmla="*/ 12 h 157"/>
                <a:gd name="T6" fmla="*/ 0 w 319"/>
                <a:gd name="T7" fmla="*/ 157 h 157"/>
                <a:gd name="T8" fmla="*/ 251 w 319"/>
                <a:gd name="T9" fmla="*/ 157 h 157"/>
                <a:gd name="T10" fmla="*/ 316 w 319"/>
                <a:gd name="T11" fmla="*/ 16 h 157"/>
                <a:gd name="T12" fmla="*/ 305 w 319"/>
                <a:gd name="T1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9" h="157">
                  <a:moveTo>
                    <a:pt x="305" y="0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77" y="0"/>
                    <a:pt x="70" y="5"/>
                    <a:pt x="66" y="12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51" y="157"/>
                    <a:pt x="251" y="157"/>
                    <a:pt x="251" y="157"/>
                  </a:cubicBezTo>
                  <a:cubicBezTo>
                    <a:pt x="316" y="16"/>
                    <a:pt x="316" y="16"/>
                    <a:pt x="316" y="16"/>
                  </a:cubicBezTo>
                  <a:cubicBezTo>
                    <a:pt x="319" y="9"/>
                    <a:pt x="314" y="0"/>
                    <a:pt x="305" y="0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98">
              <a:extLst>
                <a:ext uri="{FF2B5EF4-FFF2-40B4-BE49-F238E27FC236}">
                  <a16:creationId xmlns:a16="http://schemas.microsoft.com/office/drawing/2014/main" id="{3951C19F-2C0F-4498-90BE-4BF043F1B20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3" y="1765"/>
              <a:ext cx="39" cy="24"/>
            </a:xfrm>
            <a:custGeom>
              <a:avLst/>
              <a:gdLst>
                <a:gd name="T0" fmla="*/ 27 w 39"/>
                <a:gd name="T1" fmla="*/ 24 h 24"/>
                <a:gd name="T2" fmla="*/ 39 w 39"/>
                <a:gd name="T3" fmla="*/ 0 h 24"/>
                <a:gd name="T4" fmla="*/ 12 w 39"/>
                <a:gd name="T5" fmla="*/ 0 h 24"/>
                <a:gd name="T6" fmla="*/ 0 w 39"/>
                <a:gd name="T7" fmla="*/ 24 h 24"/>
                <a:gd name="T8" fmla="*/ 27 w 39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27" y="24"/>
                  </a:moveTo>
                  <a:lnTo>
                    <a:pt x="39" y="0"/>
                  </a:lnTo>
                  <a:lnTo>
                    <a:pt x="12" y="0"/>
                  </a:lnTo>
                  <a:lnTo>
                    <a:pt x="0" y="24"/>
                  </a:lnTo>
                  <a:lnTo>
                    <a:pt x="27" y="24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99">
              <a:extLst>
                <a:ext uri="{FF2B5EF4-FFF2-40B4-BE49-F238E27FC236}">
                  <a16:creationId xmlns:a16="http://schemas.microsoft.com/office/drawing/2014/main" id="{7E71789F-9304-4264-9ADB-D34B2C9237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1" y="1795"/>
              <a:ext cx="37" cy="21"/>
            </a:xfrm>
            <a:custGeom>
              <a:avLst/>
              <a:gdLst>
                <a:gd name="T0" fmla="*/ 10 w 37"/>
                <a:gd name="T1" fmla="*/ 0 h 21"/>
                <a:gd name="T2" fmla="*/ 0 w 37"/>
                <a:gd name="T3" fmla="*/ 21 h 21"/>
                <a:gd name="T4" fmla="*/ 28 w 37"/>
                <a:gd name="T5" fmla="*/ 21 h 21"/>
                <a:gd name="T6" fmla="*/ 37 w 37"/>
                <a:gd name="T7" fmla="*/ 0 h 21"/>
                <a:gd name="T8" fmla="*/ 10 w 3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1">
                  <a:moveTo>
                    <a:pt x="10" y="0"/>
                  </a:moveTo>
                  <a:lnTo>
                    <a:pt x="0" y="21"/>
                  </a:lnTo>
                  <a:lnTo>
                    <a:pt x="28" y="21"/>
                  </a:lnTo>
                  <a:lnTo>
                    <a:pt x="37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00">
              <a:extLst>
                <a:ext uri="{FF2B5EF4-FFF2-40B4-BE49-F238E27FC236}">
                  <a16:creationId xmlns:a16="http://schemas.microsoft.com/office/drawing/2014/main" id="{96793D17-A540-403F-87E1-F68355DB55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06" y="1765"/>
              <a:ext cx="37" cy="24"/>
            </a:xfrm>
            <a:custGeom>
              <a:avLst/>
              <a:gdLst>
                <a:gd name="T0" fmla="*/ 26 w 37"/>
                <a:gd name="T1" fmla="*/ 24 h 24"/>
                <a:gd name="T2" fmla="*/ 37 w 37"/>
                <a:gd name="T3" fmla="*/ 0 h 24"/>
                <a:gd name="T4" fmla="*/ 12 w 37"/>
                <a:gd name="T5" fmla="*/ 0 h 24"/>
                <a:gd name="T6" fmla="*/ 0 w 37"/>
                <a:gd name="T7" fmla="*/ 24 h 24"/>
                <a:gd name="T8" fmla="*/ 26 w 37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26" y="24"/>
                  </a:moveTo>
                  <a:lnTo>
                    <a:pt x="37" y="0"/>
                  </a:lnTo>
                  <a:lnTo>
                    <a:pt x="12" y="0"/>
                  </a:lnTo>
                  <a:lnTo>
                    <a:pt x="0" y="24"/>
                  </a:lnTo>
                  <a:lnTo>
                    <a:pt x="26" y="24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101">
              <a:extLst>
                <a:ext uri="{FF2B5EF4-FFF2-40B4-BE49-F238E27FC236}">
                  <a16:creationId xmlns:a16="http://schemas.microsoft.com/office/drawing/2014/main" id="{E9F80D4D-D512-4569-91DC-CA7388519A1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93" y="1795"/>
              <a:ext cx="37" cy="21"/>
            </a:xfrm>
            <a:custGeom>
              <a:avLst/>
              <a:gdLst>
                <a:gd name="T0" fmla="*/ 11 w 37"/>
                <a:gd name="T1" fmla="*/ 0 h 21"/>
                <a:gd name="T2" fmla="*/ 0 w 37"/>
                <a:gd name="T3" fmla="*/ 21 h 21"/>
                <a:gd name="T4" fmla="*/ 27 w 37"/>
                <a:gd name="T5" fmla="*/ 21 h 21"/>
                <a:gd name="T6" fmla="*/ 37 w 37"/>
                <a:gd name="T7" fmla="*/ 0 h 21"/>
                <a:gd name="T8" fmla="*/ 11 w 37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1">
                  <a:moveTo>
                    <a:pt x="11" y="0"/>
                  </a:moveTo>
                  <a:lnTo>
                    <a:pt x="0" y="21"/>
                  </a:lnTo>
                  <a:lnTo>
                    <a:pt x="27" y="21"/>
                  </a:lnTo>
                  <a:lnTo>
                    <a:pt x="37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Oval 102">
              <a:extLst>
                <a:ext uri="{FF2B5EF4-FFF2-40B4-BE49-F238E27FC236}">
                  <a16:creationId xmlns:a16="http://schemas.microsoft.com/office/drawing/2014/main" id="{9E42F3D9-4F11-442E-8F9C-14F41C91C93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66" y="2245"/>
              <a:ext cx="63" cy="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Oval 103">
              <a:extLst>
                <a:ext uri="{FF2B5EF4-FFF2-40B4-BE49-F238E27FC236}">
                  <a16:creationId xmlns:a16="http://schemas.microsoft.com/office/drawing/2014/main" id="{2C30C2A9-0CBC-49CE-9952-76564B7E1F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10" y="1043"/>
              <a:ext cx="35" cy="3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Oval 104">
              <a:extLst>
                <a:ext uri="{FF2B5EF4-FFF2-40B4-BE49-F238E27FC236}">
                  <a16:creationId xmlns:a16="http://schemas.microsoft.com/office/drawing/2014/main" id="{59B0FD40-76CD-4ED4-A917-9E7E22CBC1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92" y="1585"/>
              <a:ext cx="63" cy="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Oval 105">
              <a:extLst>
                <a:ext uri="{FF2B5EF4-FFF2-40B4-BE49-F238E27FC236}">
                  <a16:creationId xmlns:a16="http://schemas.microsoft.com/office/drawing/2014/main" id="{0D8775CC-995C-4654-87F5-BE5A5A380AA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43" y="3391"/>
              <a:ext cx="39" cy="4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Oval 106">
              <a:extLst>
                <a:ext uri="{FF2B5EF4-FFF2-40B4-BE49-F238E27FC236}">
                  <a16:creationId xmlns:a16="http://schemas.microsoft.com/office/drawing/2014/main" id="{56A2A59B-ACB0-4C14-BDB5-931ED327EAF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15" y="1066"/>
              <a:ext cx="211" cy="212"/>
            </a:xfrm>
            <a:prstGeom prst="ellipse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107">
              <a:extLst>
                <a:ext uri="{FF2B5EF4-FFF2-40B4-BE49-F238E27FC236}">
                  <a16:creationId xmlns:a16="http://schemas.microsoft.com/office/drawing/2014/main" id="{CCC9BC2E-398A-4414-AA12-C856D97D537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58" y="1109"/>
              <a:ext cx="129" cy="128"/>
            </a:xfrm>
            <a:custGeom>
              <a:avLst/>
              <a:gdLst>
                <a:gd name="T0" fmla="*/ 66 w 66"/>
                <a:gd name="T1" fmla="*/ 35 h 65"/>
                <a:gd name="T2" fmla="*/ 66 w 66"/>
                <a:gd name="T3" fmla="*/ 29 h 65"/>
                <a:gd name="T4" fmla="*/ 54 w 66"/>
                <a:gd name="T5" fmla="*/ 29 h 65"/>
                <a:gd name="T6" fmla="*/ 50 w 66"/>
                <a:gd name="T7" fmla="*/ 20 h 65"/>
                <a:gd name="T8" fmla="*/ 58 w 66"/>
                <a:gd name="T9" fmla="*/ 11 h 65"/>
                <a:gd name="T10" fmla="*/ 54 w 66"/>
                <a:gd name="T11" fmla="*/ 7 h 65"/>
                <a:gd name="T12" fmla="*/ 45 w 66"/>
                <a:gd name="T13" fmla="*/ 16 h 65"/>
                <a:gd name="T14" fmla="*/ 36 w 66"/>
                <a:gd name="T15" fmla="*/ 12 h 65"/>
                <a:gd name="T16" fmla="*/ 36 w 66"/>
                <a:gd name="T17" fmla="*/ 0 h 65"/>
                <a:gd name="T18" fmla="*/ 30 w 66"/>
                <a:gd name="T19" fmla="*/ 0 h 65"/>
                <a:gd name="T20" fmla="*/ 30 w 66"/>
                <a:gd name="T21" fmla="*/ 12 h 65"/>
                <a:gd name="T22" fmla="*/ 20 w 66"/>
                <a:gd name="T23" fmla="*/ 16 h 65"/>
                <a:gd name="T24" fmla="*/ 12 w 66"/>
                <a:gd name="T25" fmla="*/ 7 h 65"/>
                <a:gd name="T26" fmla="*/ 8 w 66"/>
                <a:gd name="T27" fmla="*/ 11 h 65"/>
                <a:gd name="T28" fmla="*/ 16 w 66"/>
                <a:gd name="T29" fmla="*/ 20 h 65"/>
                <a:gd name="T30" fmla="*/ 12 w 66"/>
                <a:gd name="T31" fmla="*/ 29 h 65"/>
                <a:gd name="T32" fmla="*/ 0 w 66"/>
                <a:gd name="T33" fmla="*/ 29 h 65"/>
                <a:gd name="T34" fmla="*/ 0 w 66"/>
                <a:gd name="T35" fmla="*/ 35 h 65"/>
                <a:gd name="T36" fmla="*/ 12 w 66"/>
                <a:gd name="T37" fmla="*/ 35 h 65"/>
                <a:gd name="T38" fmla="*/ 16 w 66"/>
                <a:gd name="T39" fmla="*/ 45 h 65"/>
                <a:gd name="T40" fmla="*/ 8 w 66"/>
                <a:gd name="T41" fmla="*/ 53 h 65"/>
                <a:gd name="T42" fmla="*/ 12 w 66"/>
                <a:gd name="T43" fmla="*/ 58 h 65"/>
                <a:gd name="T44" fmla="*/ 20 w 66"/>
                <a:gd name="T45" fmla="*/ 50 h 65"/>
                <a:gd name="T46" fmla="*/ 30 w 66"/>
                <a:gd name="T47" fmla="*/ 54 h 65"/>
                <a:gd name="T48" fmla="*/ 30 w 66"/>
                <a:gd name="T49" fmla="*/ 65 h 65"/>
                <a:gd name="T50" fmla="*/ 36 w 66"/>
                <a:gd name="T51" fmla="*/ 65 h 65"/>
                <a:gd name="T52" fmla="*/ 36 w 66"/>
                <a:gd name="T53" fmla="*/ 54 h 65"/>
                <a:gd name="T54" fmla="*/ 46 w 66"/>
                <a:gd name="T55" fmla="*/ 50 h 65"/>
                <a:gd name="T56" fmla="*/ 54 w 66"/>
                <a:gd name="T57" fmla="*/ 58 h 65"/>
                <a:gd name="T58" fmla="*/ 58 w 66"/>
                <a:gd name="T59" fmla="*/ 53 h 65"/>
                <a:gd name="T60" fmla="*/ 50 w 66"/>
                <a:gd name="T61" fmla="*/ 45 h 65"/>
                <a:gd name="T62" fmla="*/ 54 w 66"/>
                <a:gd name="T63" fmla="*/ 35 h 65"/>
                <a:gd name="T64" fmla="*/ 66 w 66"/>
                <a:gd name="T65" fmla="*/ 35 h 65"/>
                <a:gd name="T66" fmla="*/ 33 w 66"/>
                <a:gd name="T67" fmla="*/ 48 h 65"/>
                <a:gd name="T68" fmla="*/ 18 w 66"/>
                <a:gd name="T69" fmla="*/ 33 h 65"/>
                <a:gd name="T70" fmla="*/ 33 w 66"/>
                <a:gd name="T71" fmla="*/ 18 h 65"/>
                <a:gd name="T72" fmla="*/ 48 w 66"/>
                <a:gd name="T73" fmla="*/ 33 h 65"/>
                <a:gd name="T74" fmla="*/ 33 w 66"/>
                <a:gd name="T75" fmla="*/ 4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6" h="65">
                  <a:moveTo>
                    <a:pt x="66" y="35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3" y="26"/>
                    <a:pt x="52" y="23"/>
                    <a:pt x="50" y="20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3" y="14"/>
                    <a:pt x="39" y="12"/>
                    <a:pt x="36" y="12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6" y="12"/>
                    <a:pt x="23" y="14"/>
                    <a:pt x="20" y="1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4" y="23"/>
                    <a:pt x="13" y="26"/>
                    <a:pt x="12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9"/>
                    <a:pt x="14" y="42"/>
                    <a:pt x="16" y="45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3" y="52"/>
                    <a:pt x="26" y="53"/>
                    <a:pt x="30" y="54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40" y="53"/>
                    <a:pt x="43" y="52"/>
                    <a:pt x="46" y="50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8" y="53"/>
                    <a:pt x="58" y="53"/>
                    <a:pt x="58" y="53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2" y="42"/>
                    <a:pt x="53" y="39"/>
                    <a:pt x="54" y="35"/>
                  </a:cubicBezTo>
                  <a:lnTo>
                    <a:pt x="66" y="35"/>
                  </a:lnTo>
                  <a:close/>
                  <a:moveTo>
                    <a:pt x="33" y="48"/>
                  </a:moveTo>
                  <a:cubicBezTo>
                    <a:pt x="24" y="48"/>
                    <a:pt x="18" y="41"/>
                    <a:pt x="18" y="33"/>
                  </a:cubicBezTo>
                  <a:cubicBezTo>
                    <a:pt x="18" y="24"/>
                    <a:pt x="24" y="18"/>
                    <a:pt x="33" y="18"/>
                  </a:cubicBezTo>
                  <a:cubicBezTo>
                    <a:pt x="41" y="18"/>
                    <a:pt x="48" y="24"/>
                    <a:pt x="48" y="33"/>
                  </a:cubicBezTo>
                  <a:cubicBezTo>
                    <a:pt x="48" y="41"/>
                    <a:pt x="41" y="48"/>
                    <a:pt x="33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108">
              <a:extLst>
                <a:ext uri="{FF2B5EF4-FFF2-40B4-BE49-F238E27FC236}">
                  <a16:creationId xmlns:a16="http://schemas.microsoft.com/office/drawing/2014/main" id="{81FB0931-C204-4C41-9353-1DE34E09FFB4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1" y="1119"/>
              <a:ext cx="951" cy="774"/>
            </a:xfrm>
            <a:custGeom>
              <a:avLst/>
              <a:gdLst>
                <a:gd name="T0" fmla="*/ 486 w 486"/>
                <a:gd name="T1" fmla="*/ 75 h 395"/>
                <a:gd name="T2" fmla="*/ 486 w 486"/>
                <a:gd name="T3" fmla="*/ 320 h 395"/>
                <a:gd name="T4" fmla="*/ 453 w 486"/>
                <a:gd name="T5" fmla="*/ 382 h 395"/>
                <a:gd name="T6" fmla="*/ 411 w 486"/>
                <a:gd name="T7" fmla="*/ 387 h 395"/>
                <a:gd name="T8" fmla="*/ 124 w 486"/>
                <a:gd name="T9" fmla="*/ 395 h 395"/>
                <a:gd name="T10" fmla="*/ 0 w 486"/>
                <a:gd name="T11" fmla="*/ 395 h 395"/>
                <a:gd name="T12" fmla="*/ 105 w 486"/>
                <a:gd name="T13" fmla="*/ 324 h 395"/>
                <a:gd name="T14" fmla="*/ 105 w 486"/>
                <a:gd name="T15" fmla="*/ 75 h 395"/>
                <a:gd name="T16" fmla="*/ 180 w 486"/>
                <a:gd name="T17" fmla="*/ 0 h 395"/>
                <a:gd name="T18" fmla="*/ 411 w 486"/>
                <a:gd name="T19" fmla="*/ 0 h 395"/>
                <a:gd name="T20" fmla="*/ 486 w 486"/>
                <a:gd name="T21" fmla="*/ 7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6" h="395">
                  <a:moveTo>
                    <a:pt x="486" y="75"/>
                  </a:moveTo>
                  <a:cubicBezTo>
                    <a:pt x="486" y="320"/>
                    <a:pt x="486" y="320"/>
                    <a:pt x="486" y="320"/>
                  </a:cubicBezTo>
                  <a:cubicBezTo>
                    <a:pt x="486" y="346"/>
                    <a:pt x="473" y="369"/>
                    <a:pt x="453" y="382"/>
                  </a:cubicBezTo>
                  <a:cubicBezTo>
                    <a:pt x="441" y="391"/>
                    <a:pt x="426" y="387"/>
                    <a:pt x="411" y="387"/>
                  </a:cubicBezTo>
                  <a:cubicBezTo>
                    <a:pt x="124" y="395"/>
                    <a:pt x="124" y="395"/>
                    <a:pt x="124" y="395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105" y="324"/>
                    <a:pt x="105" y="324"/>
                    <a:pt x="105" y="324"/>
                  </a:cubicBezTo>
                  <a:cubicBezTo>
                    <a:pt x="105" y="323"/>
                    <a:pt x="105" y="75"/>
                    <a:pt x="105" y="75"/>
                  </a:cubicBezTo>
                  <a:cubicBezTo>
                    <a:pt x="105" y="34"/>
                    <a:pt x="139" y="0"/>
                    <a:pt x="180" y="0"/>
                  </a:cubicBezTo>
                  <a:cubicBezTo>
                    <a:pt x="411" y="0"/>
                    <a:pt x="411" y="0"/>
                    <a:pt x="411" y="0"/>
                  </a:cubicBezTo>
                  <a:cubicBezTo>
                    <a:pt x="452" y="0"/>
                    <a:pt x="486" y="34"/>
                    <a:pt x="486" y="75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Oval 109">
              <a:extLst>
                <a:ext uri="{FF2B5EF4-FFF2-40B4-BE49-F238E27FC236}">
                  <a16:creationId xmlns:a16="http://schemas.microsoft.com/office/drawing/2014/main" id="{0EE44580-75A3-42C3-AA46-B92CF47C27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16" y="1474"/>
              <a:ext cx="64" cy="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110">
              <a:extLst>
                <a:ext uri="{FF2B5EF4-FFF2-40B4-BE49-F238E27FC236}">
                  <a16:creationId xmlns:a16="http://schemas.microsoft.com/office/drawing/2014/main" id="{32EDF39F-13AF-4138-8E46-4F946931894E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4" y="1603"/>
              <a:ext cx="640" cy="290"/>
            </a:xfrm>
            <a:custGeom>
              <a:avLst/>
              <a:gdLst>
                <a:gd name="T0" fmla="*/ 326 w 327"/>
                <a:gd name="T1" fmla="*/ 75 h 148"/>
                <a:gd name="T2" fmla="*/ 264 w 327"/>
                <a:gd name="T3" fmla="*/ 0 h 148"/>
                <a:gd name="T4" fmla="*/ 264 w 327"/>
                <a:gd name="T5" fmla="*/ 0 h 148"/>
                <a:gd name="T6" fmla="*/ 67 w 327"/>
                <a:gd name="T7" fmla="*/ 18 h 148"/>
                <a:gd name="T8" fmla="*/ 10 w 327"/>
                <a:gd name="T9" fmla="*/ 87 h 148"/>
                <a:gd name="T10" fmla="*/ 0 w 327"/>
                <a:gd name="T11" fmla="*/ 148 h 148"/>
                <a:gd name="T12" fmla="*/ 287 w 327"/>
                <a:gd name="T13" fmla="*/ 148 h 148"/>
                <a:gd name="T14" fmla="*/ 327 w 327"/>
                <a:gd name="T15" fmla="*/ 136 h 148"/>
                <a:gd name="T16" fmla="*/ 326 w 327"/>
                <a:gd name="T17" fmla="*/ 75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148">
                  <a:moveTo>
                    <a:pt x="326" y="75"/>
                  </a:moveTo>
                  <a:cubicBezTo>
                    <a:pt x="324" y="39"/>
                    <a:pt x="299" y="8"/>
                    <a:pt x="26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36" y="28"/>
                    <a:pt x="14" y="54"/>
                    <a:pt x="10" y="87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287" y="148"/>
                    <a:pt x="287" y="148"/>
                    <a:pt x="287" y="148"/>
                  </a:cubicBezTo>
                  <a:cubicBezTo>
                    <a:pt x="302" y="148"/>
                    <a:pt x="316" y="144"/>
                    <a:pt x="327" y="136"/>
                  </a:cubicBezTo>
                  <a:lnTo>
                    <a:pt x="326" y="75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111">
              <a:extLst>
                <a:ext uri="{FF2B5EF4-FFF2-40B4-BE49-F238E27FC236}">
                  <a16:creationId xmlns:a16="http://schemas.microsoft.com/office/drawing/2014/main" id="{E3B43FAF-EB3A-4525-B093-BD785CC1A1B9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6" y="1242"/>
              <a:ext cx="143" cy="331"/>
            </a:xfrm>
            <a:custGeom>
              <a:avLst/>
              <a:gdLst>
                <a:gd name="T0" fmla="*/ 0 w 143"/>
                <a:gd name="T1" fmla="*/ 16 h 331"/>
                <a:gd name="T2" fmla="*/ 6 w 143"/>
                <a:gd name="T3" fmla="*/ 331 h 331"/>
                <a:gd name="T4" fmla="*/ 143 w 143"/>
                <a:gd name="T5" fmla="*/ 282 h 331"/>
                <a:gd name="T6" fmla="*/ 106 w 143"/>
                <a:gd name="T7" fmla="*/ 0 h 331"/>
                <a:gd name="T8" fmla="*/ 0 w 143"/>
                <a:gd name="T9" fmla="*/ 1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331">
                  <a:moveTo>
                    <a:pt x="0" y="16"/>
                  </a:moveTo>
                  <a:lnTo>
                    <a:pt x="6" y="331"/>
                  </a:lnTo>
                  <a:lnTo>
                    <a:pt x="143" y="282"/>
                  </a:lnTo>
                  <a:lnTo>
                    <a:pt x="106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301D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112">
              <a:extLst>
                <a:ext uri="{FF2B5EF4-FFF2-40B4-BE49-F238E27FC236}">
                  <a16:creationId xmlns:a16="http://schemas.microsoft.com/office/drawing/2014/main" id="{F2C86554-4E50-4A8C-BE74-554448C12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5" y="1432"/>
              <a:ext cx="51" cy="126"/>
            </a:xfrm>
            <a:custGeom>
              <a:avLst/>
              <a:gdLst>
                <a:gd name="T0" fmla="*/ 51 w 51"/>
                <a:gd name="T1" fmla="*/ 40 h 126"/>
                <a:gd name="T2" fmla="*/ 24 w 51"/>
                <a:gd name="T3" fmla="*/ 0 h 126"/>
                <a:gd name="T4" fmla="*/ 0 w 51"/>
                <a:gd name="T5" fmla="*/ 44 h 126"/>
                <a:gd name="T6" fmla="*/ 30 w 51"/>
                <a:gd name="T7" fmla="*/ 85 h 126"/>
                <a:gd name="T8" fmla="*/ 18 w 51"/>
                <a:gd name="T9" fmla="*/ 104 h 126"/>
                <a:gd name="T10" fmla="*/ 32 w 51"/>
                <a:gd name="T11" fmla="*/ 126 h 126"/>
                <a:gd name="T12" fmla="*/ 43 w 51"/>
                <a:gd name="T13" fmla="*/ 102 h 126"/>
                <a:gd name="T14" fmla="*/ 30 w 51"/>
                <a:gd name="T15" fmla="*/ 83 h 126"/>
                <a:gd name="T16" fmla="*/ 51 w 51"/>
                <a:gd name="T17" fmla="*/ 4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126">
                  <a:moveTo>
                    <a:pt x="51" y="40"/>
                  </a:moveTo>
                  <a:lnTo>
                    <a:pt x="24" y="0"/>
                  </a:lnTo>
                  <a:lnTo>
                    <a:pt x="0" y="44"/>
                  </a:lnTo>
                  <a:lnTo>
                    <a:pt x="30" y="85"/>
                  </a:lnTo>
                  <a:lnTo>
                    <a:pt x="18" y="104"/>
                  </a:lnTo>
                  <a:lnTo>
                    <a:pt x="32" y="126"/>
                  </a:lnTo>
                  <a:lnTo>
                    <a:pt x="43" y="102"/>
                  </a:lnTo>
                  <a:lnTo>
                    <a:pt x="30" y="83"/>
                  </a:lnTo>
                  <a:lnTo>
                    <a:pt x="51" y="40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113">
              <a:extLst>
                <a:ext uri="{FF2B5EF4-FFF2-40B4-BE49-F238E27FC236}">
                  <a16:creationId xmlns:a16="http://schemas.microsoft.com/office/drawing/2014/main" id="{8B754F86-E24E-4496-A6B7-04BF898C13A3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8" y="1096"/>
              <a:ext cx="360" cy="644"/>
            </a:xfrm>
            <a:custGeom>
              <a:avLst/>
              <a:gdLst>
                <a:gd name="T0" fmla="*/ 181 w 184"/>
                <a:gd name="T1" fmla="*/ 131 h 329"/>
                <a:gd name="T2" fmla="*/ 178 w 184"/>
                <a:gd name="T3" fmla="*/ 84 h 329"/>
                <a:gd name="T4" fmla="*/ 85 w 184"/>
                <a:gd name="T5" fmla="*/ 3 h 329"/>
                <a:gd name="T6" fmla="*/ 85 w 184"/>
                <a:gd name="T7" fmla="*/ 3 h 329"/>
                <a:gd name="T8" fmla="*/ 3 w 184"/>
                <a:gd name="T9" fmla="*/ 97 h 329"/>
                <a:gd name="T10" fmla="*/ 7 w 184"/>
                <a:gd name="T11" fmla="*/ 147 h 329"/>
                <a:gd name="T12" fmla="*/ 71 w 184"/>
                <a:gd name="T13" fmla="*/ 229 h 329"/>
                <a:gd name="T14" fmla="*/ 44 w 184"/>
                <a:gd name="T15" fmla="*/ 266 h 329"/>
                <a:gd name="T16" fmla="*/ 19 w 184"/>
                <a:gd name="T17" fmla="*/ 277 h 329"/>
                <a:gd name="T18" fmla="*/ 88 w 184"/>
                <a:gd name="T19" fmla="*/ 329 h 329"/>
                <a:gd name="T20" fmla="*/ 149 w 184"/>
                <a:gd name="T21" fmla="*/ 296 h 329"/>
                <a:gd name="T22" fmla="*/ 132 w 184"/>
                <a:gd name="T23" fmla="*/ 230 h 329"/>
                <a:gd name="T24" fmla="*/ 130 w 184"/>
                <a:gd name="T25" fmla="*/ 217 h 329"/>
                <a:gd name="T26" fmla="*/ 181 w 184"/>
                <a:gd name="T27" fmla="*/ 131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4" h="329">
                  <a:moveTo>
                    <a:pt x="181" y="131"/>
                  </a:moveTo>
                  <a:cubicBezTo>
                    <a:pt x="178" y="84"/>
                    <a:pt x="178" y="84"/>
                    <a:pt x="178" y="84"/>
                  </a:cubicBezTo>
                  <a:cubicBezTo>
                    <a:pt x="175" y="36"/>
                    <a:pt x="133" y="0"/>
                    <a:pt x="85" y="3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37" y="6"/>
                    <a:pt x="0" y="48"/>
                    <a:pt x="3" y="97"/>
                  </a:cubicBezTo>
                  <a:cubicBezTo>
                    <a:pt x="7" y="147"/>
                    <a:pt x="7" y="147"/>
                    <a:pt x="7" y="147"/>
                  </a:cubicBezTo>
                  <a:cubicBezTo>
                    <a:pt x="10" y="190"/>
                    <a:pt x="40" y="225"/>
                    <a:pt x="71" y="229"/>
                  </a:cubicBezTo>
                  <a:cubicBezTo>
                    <a:pt x="69" y="245"/>
                    <a:pt x="59" y="259"/>
                    <a:pt x="44" y="266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88" y="329"/>
                    <a:pt x="88" y="329"/>
                    <a:pt x="88" y="329"/>
                  </a:cubicBezTo>
                  <a:cubicBezTo>
                    <a:pt x="149" y="296"/>
                    <a:pt x="149" y="296"/>
                    <a:pt x="149" y="296"/>
                  </a:cubicBezTo>
                  <a:cubicBezTo>
                    <a:pt x="149" y="269"/>
                    <a:pt x="153" y="248"/>
                    <a:pt x="132" y="230"/>
                  </a:cubicBezTo>
                  <a:cubicBezTo>
                    <a:pt x="130" y="217"/>
                    <a:pt x="130" y="217"/>
                    <a:pt x="130" y="217"/>
                  </a:cubicBezTo>
                  <a:cubicBezTo>
                    <a:pt x="165" y="200"/>
                    <a:pt x="184" y="168"/>
                    <a:pt x="181" y="131"/>
                  </a:cubicBezTo>
                  <a:close/>
                </a:path>
              </a:pathLst>
            </a:custGeom>
            <a:solidFill>
              <a:srgbClr val="F0BE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114">
              <a:extLst>
                <a:ext uri="{FF2B5EF4-FFF2-40B4-BE49-F238E27FC236}">
                  <a16:creationId xmlns:a16="http://schemas.microsoft.com/office/drawing/2014/main" id="{8BD11845-3CEC-4215-980D-C5C01D3569E7}"/>
                </a:ext>
              </a:extLst>
            </p:cNvPr>
            <p:cNvSpPr>
              <a:spLocks/>
            </p:cNvSpPr>
            <p:nvPr/>
          </p:nvSpPr>
          <p:spPr bwMode="gray">
            <a:xfrm>
              <a:off x="6666" y="1152"/>
              <a:ext cx="325" cy="531"/>
            </a:xfrm>
            <a:custGeom>
              <a:avLst/>
              <a:gdLst>
                <a:gd name="T0" fmla="*/ 135 w 166"/>
                <a:gd name="T1" fmla="*/ 220 h 271"/>
                <a:gd name="T2" fmla="*/ 102 w 166"/>
                <a:gd name="T3" fmla="*/ 189 h 271"/>
                <a:gd name="T4" fmla="*/ 95 w 166"/>
                <a:gd name="T5" fmla="*/ 171 h 271"/>
                <a:gd name="T6" fmla="*/ 98 w 166"/>
                <a:gd name="T7" fmla="*/ 167 h 271"/>
                <a:gd name="T8" fmla="*/ 139 w 166"/>
                <a:gd name="T9" fmla="*/ 98 h 271"/>
                <a:gd name="T10" fmla="*/ 134 w 166"/>
                <a:gd name="T11" fmla="*/ 56 h 271"/>
                <a:gd name="T12" fmla="*/ 126 w 166"/>
                <a:gd name="T13" fmla="*/ 41 h 271"/>
                <a:gd name="T14" fmla="*/ 26 w 166"/>
                <a:gd name="T15" fmla="*/ 0 h 271"/>
                <a:gd name="T16" fmla="*/ 17 w 166"/>
                <a:gd name="T17" fmla="*/ 79 h 271"/>
                <a:gd name="T18" fmla="*/ 3 w 166"/>
                <a:gd name="T19" fmla="*/ 118 h 271"/>
                <a:gd name="T20" fmla="*/ 13 w 166"/>
                <a:gd name="T21" fmla="*/ 132 h 271"/>
                <a:gd name="T22" fmla="*/ 20 w 166"/>
                <a:gd name="T23" fmla="*/ 142 h 271"/>
                <a:gd name="T24" fmla="*/ 21 w 166"/>
                <a:gd name="T25" fmla="*/ 197 h 271"/>
                <a:gd name="T26" fmla="*/ 22 w 166"/>
                <a:gd name="T27" fmla="*/ 200 h 271"/>
                <a:gd name="T28" fmla="*/ 31 w 166"/>
                <a:gd name="T29" fmla="*/ 200 h 271"/>
                <a:gd name="T30" fmla="*/ 31 w 166"/>
                <a:gd name="T31" fmla="*/ 200 h 271"/>
                <a:gd name="T32" fmla="*/ 55 w 166"/>
                <a:gd name="T33" fmla="*/ 194 h 271"/>
                <a:gd name="T34" fmla="*/ 55 w 166"/>
                <a:gd name="T35" fmla="*/ 194 h 271"/>
                <a:gd name="T36" fmla="*/ 60 w 166"/>
                <a:gd name="T37" fmla="*/ 199 h 271"/>
                <a:gd name="T38" fmla="*/ 92 w 166"/>
                <a:gd name="T39" fmla="*/ 271 h 271"/>
                <a:gd name="T40" fmla="*/ 166 w 166"/>
                <a:gd name="T41" fmla="*/ 230 h 271"/>
                <a:gd name="T42" fmla="*/ 135 w 166"/>
                <a:gd name="T43" fmla="*/ 22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271">
                  <a:moveTo>
                    <a:pt x="135" y="220"/>
                  </a:moveTo>
                  <a:cubicBezTo>
                    <a:pt x="120" y="215"/>
                    <a:pt x="107" y="204"/>
                    <a:pt x="102" y="189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6" y="169"/>
                    <a:pt x="97" y="168"/>
                    <a:pt x="98" y="167"/>
                  </a:cubicBezTo>
                  <a:cubicBezTo>
                    <a:pt x="118" y="149"/>
                    <a:pt x="140" y="122"/>
                    <a:pt x="139" y="98"/>
                  </a:cubicBezTo>
                  <a:cubicBezTo>
                    <a:pt x="134" y="56"/>
                    <a:pt x="134" y="56"/>
                    <a:pt x="134" y="56"/>
                  </a:cubicBezTo>
                  <a:cubicBezTo>
                    <a:pt x="134" y="51"/>
                    <a:pt x="127" y="45"/>
                    <a:pt x="126" y="41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3" y="118"/>
                    <a:pt x="3" y="118"/>
                    <a:pt x="3" y="118"/>
                  </a:cubicBezTo>
                  <a:cubicBezTo>
                    <a:pt x="0" y="125"/>
                    <a:pt x="6" y="132"/>
                    <a:pt x="13" y="132"/>
                  </a:cubicBezTo>
                  <a:cubicBezTo>
                    <a:pt x="19" y="131"/>
                    <a:pt x="23" y="137"/>
                    <a:pt x="20" y="142"/>
                  </a:cubicBezTo>
                  <a:cubicBezTo>
                    <a:pt x="13" y="160"/>
                    <a:pt x="13" y="180"/>
                    <a:pt x="21" y="197"/>
                  </a:cubicBezTo>
                  <a:cubicBezTo>
                    <a:pt x="22" y="200"/>
                    <a:pt x="22" y="200"/>
                    <a:pt x="22" y="200"/>
                  </a:cubicBezTo>
                  <a:cubicBezTo>
                    <a:pt x="25" y="201"/>
                    <a:pt x="28" y="201"/>
                    <a:pt x="31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9" y="200"/>
                    <a:pt x="47" y="198"/>
                    <a:pt x="55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60" y="199"/>
                    <a:pt x="60" y="199"/>
                    <a:pt x="60" y="199"/>
                  </a:cubicBezTo>
                  <a:cubicBezTo>
                    <a:pt x="80" y="217"/>
                    <a:pt x="92" y="244"/>
                    <a:pt x="92" y="271"/>
                  </a:cubicBezTo>
                  <a:cubicBezTo>
                    <a:pt x="166" y="230"/>
                    <a:pt x="166" y="230"/>
                    <a:pt x="166" y="230"/>
                  </a:cubicBezTo>
                  <a:lnTo>
                    <a:pt x="135" y="220"/>
                  </a:lnTo>
                  <a:close/>
                </a:path>
              </a:pathLst>
            </a:custGeom>
            <a:solidFill>
              <a:srgbClr val="DB9C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115">
              <a:extLst>
                <a:ext uri="{FF2B5EF4-FFF2-40B4-BE49-F238E27FC236}">
                  <a16:creationId xmlns:a16="http://schemas.microsoft.com/office/drawing/2014/main" id="{987F5FA3-AF69-45F2-A692-3C09FA2D56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7" y="1336"/>
              <a:ext cx="34" cy="32"/>
            </a:xfrm>
            <a:custGeom>
              <a:avLst/>
              <a:gdLst>
                <a:gd name="T0" fmla="*/ 17 w 17"/>
                <a:gd name="T1" fmla="*/ 8 h 16"/>
                <a:gd name="T2" fmla="*/ 9 w 17"/>
                <a:gd name="T3" fmla="*/ 16 h 16"/>
                <a:gd name="T4" fmla="*/ 1 w 17"/>
                <a:gd name="T5" fmla="*/ 9 h 16"/>
                <a:gd name="T6" fmla="*/ 8 w 17"/>
                <a:gd name="T7" fmla="*/ 0 h 16"/>
                <a:gd name="T8" fmla="*/ 17 w 17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7" y="8"/>
                  </a:moveTo>
                  <a:cubicBezTo>
                    <a:pt x="17" y="12"/>
                    <a:pt x="14" y="16"/>
                    <a:pt x="9" y="16"/>
                  </a:cubicBezTo>
                  <a:cubicBezTo>
                    <a:pt x="5" y="16"/>
                    <a:pt x="1" y="13"/>
                    <a:pt x="1" y="9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3" y="0"/>
                    <a:pt x="16" y="3"/>
                    <a:pt x="17" y="8"/>
                  </a:cubicBezTo>
                  <a:close/>
                </a:path>
              </a:pathLst>
            </a:custGeom>
            <a:solidFill>
              <a:srgbClr val="053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116">
              <a:extLst>
                <a:ext uri="{FF2B5EF4-FFF2-40B4-BE49-F238E27FC236}">
                  <a16:creationId xmlns:a16="http://schemas.microsoft.com/office/drawing/2014/main" id="{CCDB22EF-C13E-4806-8A0C-17436FD8EEC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83" y="1321"/>
              <a:ext cx="33" cy="31"/>
            </a:xfrm>
            <a:custGeom>
              <a:avLst/>
              <a:gdLst>
                <a:gd name="T0" fmla="*/ 17 w 17"/>
                <a:gd name="T1" fmla="*/ 8 h 16"/>
                <a:gd name="T2" fmla="*/ 9 w 17"/>
                <a:gd name="T3" fmla="*/ 16 h 16"/>
                <a:gd name="T4" fmla="*/ 1 w 17"/>
                <a:gd name="T5" fmla="*/ 9 h 16"/>
                <a:gd name="T6" fmla="*/ 8 w 17"/>
                <a:gd name="T7" fmla="*/ 0 h 16"/>
                <a:gd name="T8" fmla="*/ 17 w 17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7" y="8"/>
                  </a:moveTo>
                  <a:cubicBezTo>
                    <a:pt x="17" y="12"/>
                    <a:pt x="14" y="16"/>
                    <a:pt x="9" y="16"/>
                  </a:cubicBezTo>
                  <a:cubicBezTo>
                    <a:pt x="5" y="16"/>
                    <a:pt x="1" y="13"/>
                    <a:pt x="1" y="9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3"/>
                    <a:pt x="17" y="8"/>
                  </a:cubicBezTo>
                  <a:close/>
                </a:path>
              </a:pathLst>
            </a:custGeom>
            <a:solidFill>
              <a:srgbClr val="053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117">
              <a:extLst>
                <a:ext uri="{FF2B5EF4-FFF2-40B4-BE49-F238E27FC236}">
                  <a16:creationId xmlns:a16="http://schemas.microsoft.com/office/drawing/2014/main" id="{A063E533-769F-42A7-96C6-051608AAEBE7}"/>
                </a:ext>
              </a:extLst>
            </p:cNvPr>
            <p:cNvSpPr>
              <a:spLocks/>
            </p:cNvSpPr>
            <p:nvPr/>
          </p:nvSpPr>
          <p:spPr bwMode="gray">
            <a:xfrm>
              <a:off x="6654" y="1440"/>
              <a:ext cx="115" cy="39"/>
            </a:xfrm>
            <a:custGeom>
              <a:avLst/>
              <a:gdLst>
                <a:gd name="T0" fmla="*/ 0 w 59"/>
                <a:gd name="T1" fmla="*/ 4 h 20"/>
                <a:gd name="T2" fmla="*/ 3 w 59"/>
                <a:gd name="T3" fmla="*/ 11 h 20"/>
                <a:gd name="T4" fmla="*/ 21 w 59"/>
                <a:gd name="T5" fmla="*/ 20 h 20"/>
                <a:gd name="T6" fmla="*/ 26 w 59"/>
                <a:gd name="T7" fmla="*/ 20 h 20"/>
                <a:gd name="T8" fmla="*/ 48 w 59"/>
                <a:gd name="T9" fmla="*/ 12 h 20"/>
                <a:gd name="T10" fmla="*/ 59 w 59"/>
                <a:gd name="T11" fmla="*/ 0 h 20"/>
                <a:gd name="T12" fmla="*/ 24 w 59"/>
                <a:gd name="T13" fmla="*/ 6 h 20"/>
                <a:gd name="T14" fmla="*/ 0 w 59"/>
                <a:gd name="T15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20">
                  <a:moveTo>
                    <a:pt x="0" y="4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7" y="17"/>
                    <a:pt x="14" y="20"/>
                    <a:pt x="21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34" y="19"/>
                    <a:pt x="41" y="17"/>
                    <a:pt x="48" y="12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4" y="6"/>
                    <a:pt x="24" y="6"/>
                    <a:pt x="24" y="6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EB4F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118">
              <a:extLst>
                <a:ext uri="{FF2B5EF4-FFF2-40B4-BE49-F238E27FC236}">
                  <a16:creationId xmlns:a16="http://schemas.microsoft.com/office/drawing/2014/main" id="{15FDE7C1-1315-41DC-A08D-B0A9BD3A7D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654" y="1430"/>
              <a:ext cx="115" cy="30"/>
            </a:xfrm>
            <a:custGeom>
              <a:avLst/>
              <a:gdLst>
                <a:gd name="T0" fmla="*/ 0 w 59"/>
                <a:gd name="T1" fmla="*/ 9 h 15"/>
                <a:gd name="T2" fmla="*/ 6 w 59"/>
                <a:gd name="T3" fmla="*/ 6 h 15"/>
                <a:gd name="T4" fmla="*/ 24 w 59"/>
                <a:gd name="T5" fmla="*/ 8 h 15"/>
                <a:gd name="T6" fmla="*/ 24 w 59"/>
                <a:gd name="T7" fmla="*/ 8 h 15"/>
                <a:gd name="T8" fmla="*/ 27 w 59"/>
                <a:gd name="T9" fmla="*/ 5 h 15"/>
                <a:gd name="T10" fmla="*/ 42 w 59"/>
                <a:gd name="T11" fmla="*/ 1 h 15"/>
                <a:gd name="T12" fmla="*/ 59 w 59"/>
                <a:gd name="T13" fmla="*/ 5 h 15"/>
                <a:gd name="T14" fmla="*/ 34 w 59"/>
                <a:gd name="T15" fmla="*/ 13 h 15"/>
                <a:gd name="T16" fmla="*/ 14 w 59"/>
                <a:gd name="T17" fmla="*/ 13 h 15"/>
                <a:gd name="T18" fmla="*/ 0 w 59"/>
                <a:gd name="T19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15">
                  <a:moveTo>
                    <a:pt x="0" y="9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12" y="3"/>
                    <a:pt x="19" y="3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1" y="1"/>
                    <a:pt x="37" y="0"/>
                    <a:pt x="42" y="1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28" y="15"/>
                    <a:pt x="21" y="15"/>
                    <a:pt x="14" y="13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Freeform 119">
              <a:extLst>
                <a:ext uri="{FF2B5EF4-FFF2-40B4-BE49-F238E27FC236}">
                  <a16:creationId xmlns:a16="http://schemas.microsoft.com/office/drawing/2014/main" id="{881B8B49-1CF4-4D59-AC6E-3D2CAEA13088}"/>
                </a:ext>
              </a:extLst>
            </p:cNvPr>
            <p:cNvSpPr>
              <a:spLocks/>
            </p:cNvSpPr>
            <p:nvPr/>
          </p:nvSpPr>
          <p:spPr bwMode="gray">
            <a:xfrm>
              <a:off x="6762" y="1425"/>
              <a:ext cx="23" cy="19"/>
            </a:xfrm>
            <a:custGeom>
              <a:avLst/>
              <a:gdLst>
                <a:gd name="T0" fmla="*/ 0 w 12"/>
                <a:gd name="T1" fmla="*/ 0 h 10"/>
                <a:gd name="T2" fmla="*/ 11 w 12"/>
                <a:gd name="T3" fmla="*/ 10 h 10"/>
                <a:gd name="T4" fmla="*/ 0 w 12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F0BE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120">
              <a:extLst>
                <a:ext uri="{FF2B5EF4-FFF2-40B4-BE49-F238E27FC236}">
                  <a16:creationId xmlns:a16="http://schemas.microsoft.com/office/drawing/2014/main" id="{7903D174-BDC4-46CD-BDE9-2445DF9E425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" y="1291"/>
              <a:ext cx="76" cy="45"/>
            </a:xfrm>
            <a:custGeom>
              <a:avLst/>
              <a:gdLst>
                <a:gd name="T0" fmla="*/ 3 w 39"/>
                <a:gd name="T1" fmla="*/ 23 h 23"/>
                <a:gd name="T2" fmla="*/ 2 w 39"/>
                <a:gd name="T3" fmla="*/ 22 h 23"/>
                <a:gd name="T4" fmla="*/ 1 w 39"/>
                <a:gd name="T5" fmla="*/ 18 h 23"/>
                <a:gd name="T6" fmla="*/ 38 w 39"/>
                <a:gd name="T7" fmla="*/ 15 h 23"/>
                <a:gd name="T8" fmla="*/ 38 w 39"/>
                <a:gd name="T9" fmla="*/ 19 h 23"/>
                <a:gd name="T10" fmla="*/ 35 w 39"/>
                <a:gd name="T11" fmla="*/ 20 h 23"/>
                <a:gd name="T12" fmla="*/ 6 w 39"/>
                <a:gd name="T13" fmla="*/ 22 h 23"/>
                <a:gd name="T14" fmla="*/ 3 w 39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23">
                  <a:moveTo>
                    <a:pt x="3" y="23"/>
                  </a:moveTo>
                  <a:cubicBezTo>
                    <a:pt x="3" y="23"/>
                    <a:pt x="2" y="23"/>
                    <a:pt x="2" y="22"/>
                  </a:cubicBezTo>
                  <a:cubicBezTo>
                    <a:pt x="0" y="21"/>
                    <a:pt x="0" y="20"/>
                    <a:pt x="1" y="18"/>
                  </a:cubicBezTo>
                  <a:cubicBezTo>
                    <a:pt x="1" y="18"/>
                    <a:pt x="16" y="0"/>
                    <a:pt x="38" y="15"/>
                  </a:cubicBezTo>
                  <a:cubicBezTo>
                    <a:pt x="39" y="16"/>
                    <a:pt x="39" y="18"/>
                    <a:pt x="38" y="19"/>
                  </a:cubicBezTo>
                  <a:cubicBezTo>
                    <a:pt x="38" y="21"/>
                    <a:pt x="36" y="21"/>
                    <a:pt x="35" y="20"/>
                  </a:cubicBezTo>
                  <a:cubicBezTo>
                    <a:pt x="17" y="8"/>
                    <a:pt x="6" y="21"/>
                    <a:pt x="6" y="22"/>
                  </a:cubicBezTo>
                  <a:cubicBezTo>
                    <a:pt x="5" y="23"/>
                    <a:pt x="4" y="23"/>
                    <a:pt x="3" y="23"/>
                  </a:cubicBezTo>
                  <a:close/>
                </a:path>
              </a:pathLst>
            </a:custGeom>
            <a:solidFill>
              <a:srgbClr val="301D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121">
              <a:extLst>
                <a:ext uri="{FF2B5EF4-FFF2-40B4-BE49-F238E27FC236}">
                  <a16:creationId xmlns:a16="http://schemas.microsoft.com/office/drawing/2014/main" id="{3905690F-4A7D-438A-AF86-7E0529E1B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6760" y="1276"/>
              <a:ext cx="76" cy="45"/>
            </a:xfrm>
            <a:custGeom>
              <a:avLst/>
              <a:gdLst>
                <a:gd name="T0" fmla="*/ 3 w 39"/>
                <a:gd name="T1" fmla="*/ 23 h 23"/>
                <a:gd name="T2" fmla="*/ 2 w 39"/>
                <a:gd name="T3" fmla="*/ 22 h 23"/>
                <a:gd name="T4" fmla="*/ 1 w 39"/>
                <a:gd name="T5" fmla="*/ 18 h 23"/>
                <a:gd name="T6" fmla="*/ 38 w 39"/>
                <a:gd name="T7" fmla="*/ 15 h 23"/>
                <a:gd name="T8" fmla="*/ 38 w 39"/>
                <a:gd name="T9" fmla="*/ 19 h 23"/>
                <a:gd name="T10" fmla="*/ 34 w 39"/>
                <a:gd name="T11" fmla="*/ 20 h 23"/>
                <a:gd name="T12" fmla="*/ 6 w 39"/>
                <a:gd name="T13" fmla="*/ 22 h 23"/>
                <a:gd name="T14" fmla="*/ 3 w 39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23">
                  <a:moveTo>
                    <a:pt x="3" y="23"/>
                  </a:moveTo>
                  <a:cubicBezTo>
                    <a:pt x="3" y="23"/>
                    <a:pt x="2" y="23"/>
                    <a:pt x="2" y="22"/>
                  </a:cubicBezTo>
                  <a:cubicBezTo>
                    <a:pt x="0" y="21"/>
                    <a:pt x="0" y="20"/>
                    <a:pt x="1" y="18"/>
                  </a:cubicBezTo>
                  <a:cubicBezTo>
                    <a:pt x="1" y="18"/>
                    <a:pt x="16" y="0"/>
                    <a:pt x="38" y="15"/>
                  </a:cubicBezTo>
                  <a:cubicBezTo>
                    <a:pt x="39" y="16"/>
                    <a:pt x="39" y="18"/>
                    <a:pt x="38" y="19"/>
                  </a:cubicBezTo>
                  <a:cubicBezTo>
                    <a:pt x="37" y="21"/>
                    <a:pt x="36" y="21"/>
                    <a:pt x="34" y="20"/>
                  </a:cubicBezTo>
                  <a:cubicBezTo>
                    <a:pt x="17" y="8"/>
                    <a:pt x="6" y="21"/>
                    <a:pt x="6" y="22"/>
                  </a:cubicBezTo>
                  <a:cubicBezTo>
                    <a:pt x="5" y="23"/>
                    <a:pt x="4" y="23"/>
                    <a:pt x="3" y="23"/>
                  </a:cubicBezTo>
                  <a:close/>
                </a:path>
              </a:pathLst>
            </a:custGeom>
            <a:solidFill>
              <a:srgbClr val="301D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122">
              <a:extLst>
                <a:ext uri="{FF2B5EF4-FFF2-40B4-BE49-F238E27FC236}">
                  <a16:creationId xmlns:a16="http://schemas.microsoft.com/office/drawing/2014/main" id="{3B51F029-7736-4705-9FFF-A7B961A4537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50" y="1076"/>
              <a:ext cx="413" cy="490"/>
            </a:xfrm>
            <a:custGeom>
              <a:avLst/>
              <a:gdLst>
                <a:gd name="T0" fmla="*/ 193 w 211"/>
                <a:gd name="T1" fmla="*/ 79 h 250"/>
                <a:gd name="T2" fmla="*/ 192 w 211"/>
                <a:gd name="T3" fmla="*/ 77 h 250"/>
                <a:gd name="T4" fmla="*/ 82 w 211"/>
                <a:gd name="T5" fmla="*/ 5 h 250"/>
                <a:gd name="T6" fmla="*/ 0 w 211"/>
                <a:gd name="T7" fmla="*/ 103 h 250"/>
                <a:gd name="T8" fmla="*/ 26 w 211"/>
                <a:gd name="T9" fmla="*/ 109 h 250"/>
                <a:gd name="T10" fmla="*/ 33 w 211"/>
                <a:gd name="T11" fmla="*/ 69 h 250"/>
                <a:gd name="T12" fmla="*/ 37 w 211"/>
                <a:gd name="T13" fmla="*/ 110 h 250"/>
                <a:gd name="T14" fmla="*/ 51 w 211"/>
                <a:gd name="T15" fmla="*/ 110 h 250"/>
                <a:gd name="T16" fmla="*/ 54 w 211"/>
                <a:gd name="T17" fmla="*/ 79 h 250"/>
                <a:gd name="T18" fmla="*/ 60 w 211"/>
                <a:gd name="T19" fmla="*/ 110 h 250"/>
                <a:gd name="T20" fmla="*/ 153 w 211"/>
                <a:gd name="T21" fmla="*/ 89 h 250"/>
                <a:gd name="T22" fmla="*/ 150 w 211"/>
                <a:gd name="T23" fmla="*/ 250 h 250"/>
                <a:gd name="T24" fmla="*/ 211 w 211"/>
                <a:gd name="T25" fmla="*/ 201 h 250"/>
                <a:gd name="T26" fmla="*/ 193 w 211"/>
                <a:gd name="T27" fmla="*/ 79 h 250"/>
                <a:gd name="T28" fmla="*/ 190 w 211"/>
                <a:gd name="T29" fmla="*/ 141 h 250"/>
                <a:gd name="T30" fmla="*/ 178 w 211"/>
                <a:gd name="T31" fmla="*/ 155 h 250"/>
                <a:gd name="T32" fmla="*/ 175 w 211"/>
                <a:gd name="T33" fmla="*/ 105 h 250"/>
                <a:gd name="T34" fmla="*/ 195 w 211"/>
                <a:gd name="T35" fmla="*/ 125 h 250"/>
                <a:gd name="T36" fmla="*/ 195 w 211"/>
                <a:gd name="T37" fmla="*/ 128 h 250"/>
                <a:gd name="T38" fmla="*/ 190 w 211"/>
                <a:gd name="T39" fmla="*/ 14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1" h="250">
                  <a:moveTo>
                    <a:pt x="193" y="79"/>
                  </a:moveTo>
                  <a:cubicBezTo>
                    <a:pt x="192" y="78"/>
                    <a:pt x="192" y="78"/>
                    <a:pt x="192" y="77"/>
                  </a:cubicBezTo>
                  <a:cubicBezTo>
                    <a:pt x="183" y="34"/>
                    <a:pt x="157" y="0"/>
                    <a:pt x="82" y="5"/>
                  </a:cubicBezTo>
                  <a:cubicBezTo>
                    <a:pt x="13" y="10"/>
                    <a:pt x="0" y="103"/>
                    <a:pt x="0" y="103"/>
                  </a:cubicBezTo>
                  <a:cubicBezTo>
                    <a:pt x="0" y="103"/>
                    <a:pt x="9" y="107"/>
                    <a:pt x="26" y="10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42" y="110"/>
                    <a:pt x="46" y="110"/>
                    <a:pt x="51" y="11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85" y="109"/>
                    <a:pt x="116" y="104"/>
                    <a:pt x="153" y="89"/>
                  </a:cubicBezTo>
                  <a:cubicBezTo>
                    <a:pt x="157" y="161"/>
                    <a:pt x="150" y="250"/>
                    <a:pt x="150" y="250"/>
                  </a:cubicBezTo>
                  <a:cubicBezTo>
                    <a:pt x="198" y="241"/>
                    <a:pt x="211" y="201"/>
                    <a:pt x="211" y="201"/>
                  </a:cubicBezTo>
                  <a:lnTo>
                    <a:pt x="193" y="79"/>
                  </a:lnTo>
                  <a:close/>
                  <a:moveTo>
                    <a:pt x="190" y="141"/>
                  </a:moveTo>
                  <a:cubicBezTo>
                    <a:pt x="178" y="155"/>
                    <a:pt x="178" y="155"/>
                    <a:pt x="178" y="155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86" y="105"/>
                    <a:pt x="195" y="114"/>
                    <a:pt x="195" y="125"/>
                  </a:cubicBezTo>
                  <a:cubicBezTo>
                    <a:pt x="195" y="128"/>
                    <a:pt x="195" y="128"/>
                    <a:pt x="195" y="128"/>
                  </a:cubicBezTo>
                  <a:cubicBezTo>
                    <a:pt x="195" y="133"/>
                    <a:pt x="193" y="137"/>
                    <a:pt x="190" y="141"/>
                  </a:cubicBezTo>
                  <a:close/>
                </a:path>
              </a:pathLst>
            </a:custGeom>
            <a:solidFill>
              <a:srgbClr val="301D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123">
              <a:extLst>
                <a:ext uri="{FF2B5EF4-FFF2-40B4-BE49-F238E27FC236}">
                  <a16:creationId xmlns:a16="http://schemas.microsoft.com/office/drawing/2014/main" id="{1D0A97C2-3380-4782-9B8B-DC7B80B73B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7" y="1393"/>
              <a:ext cx="51" cy="126"/>
            </a:xfrm>
            <a:custGeom>
              <a:avLst/>
              <a:gdLst>
                <a:gd name="T0" fmla="*/ 51 w 51"/>
                <a:gd name="T1" fmla="*/ 41 h 126"/>
                <a:gd name="T2" fmla="*/ 24 w 51"/>
                <a:gd name="T3" fmla="*/ 0 h 126"/>
                <a:gd name="T4" fmla="*/ 0 w 51"/>
                <a:gd name="T5" fmla="*/ 45 h 126"/>
                <a:gd name="T6" fmla="*/ 27 w 51"/>
                <a:gd name="T7" fmla="*/ 84 h 126"/>
                <a:gd name="T8" fmla="*/ 18 w 51"/>
                <a:gd name="T9" fmla="*/ 104 h 126"/>
                <a:gd name="T10" fmla="*/ 31 w 51"/>
                <a:gd name="T11" fmla="*/ 126 h 126"/>
                <a:gd name="T12" fmla="*/ 43 w 51"/>
                <a:gd name="T13" fmla="*/ 102 h 126"/>
                <a:gd name="T14" fmla="*/ 29 w 51"/>
                <a:gd name="T15" fmla="*/ 84 h 126"/>
                <a:gd name="T16" fmla="*/ 51 w 51"/>
                <a:gd name="T17" fmla="*/ 4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126">
                  <a:moveTo>
                    <a:pt x="51" y="41"/>
                  </a:moveTo>
                  <a:lnTo>
                    <a:pt x="24" y="0"/>
                  </a:lnTo>
                  <a:lnTo>
                    <a:pt x="0" y="45"/>
                  </a:lnTo>
                  <a:lnTo>
                    <a:pt x="27" y="84"/>
                  </a:lnTo>
                  <a:lnTo>
                    <a:pt x="18" y="104"/>
                  </a:lnTo>
                  <a:lnTo>
                    <a:pt x="31" y="126"/>
                  </a:lnTo>
                  <a:lnTo>
                    <a:pt x="43" y="102"/>
                  </a:lnTo>
                  <a:lnTo>
                    <a:pt x="29" y="84"/>
                  </a:lnTo>
                  <a:lnTo>
                    <a:pt x="51" y="41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124">
              <a:extLst>
                <a:ext uri="{FF2B5EF4-FFF2-40B4-BE49-F238E27FC236}">
                  <a16:creationId xmlns:a16="http://schemas.microsoft.com/office/drawing/2014/main" id="{28CA3ED7-2997-43C0-9725-0E0B50771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9" y="1542"/>
              <a:ext cx="214" cy="321"/>
            </a:xfrm>
            <a:custGeom>
              <a:avLst/>
              <a:gdLst>
                <a:gd name="T0" fmla="*/ 81 w 109"/>
                <a:gd name="T1" fmla="*/ 1 h 164"/>
                <a:gd name="T2" fmla="*/ 9 w 109"/>
                <a:gd name="T3" fmla="*/ 11 h 164"/>
                <a:gd name="T4" fmla="*/ 5 w 109"/>
                <a:gd name="T5" fmla="*/ 13 h 164"/>
                <a:gd name="T6" fmla="*/ 5 w 109"/>
                <a:gd name="T7" fmla="*/ 13 h 164"/>
                <a:gd name="T8" fmla="*/ 5 w 109"/>
                <a:gd name="T9" fmla="*/ 13 h 164"/>
                <a:gd name="T10" fmla="*/ 4 w 109"/>
                <a:gd name="T11" fmla="*/ 14 h 164"/>
                <a:gd name="T12" fmla="*/ 0 w 109"/>
                <a:gd name="T13" fmla="*/ 20 h 164"/>
                <a:gd name="T14" fmla="*/ 3 w 109"/>
                <a:gd name="T15" fmla="*/ 20 h 164"/>
                <a:gd name="T16" fmla="*/ 22 w 109"/>
                <a:gd name="T17" fmla="*/ 157 h 164"/>
                <a:gd name="T18" fmla="*/ 31 w 109"/>
                <a:gd name="T19" fmla="*/ 163 h 164"/>
                <a:gd name="T20" fmla="*/ 101 w 109"/>
                <a:gd name="T21" fmla="*/ 154 h 164"/>
                <a:gd name="T22" fmla="*/ 102 w 109"/>
                <a:gd name="T23" fmla="*/ 157 h 164"/>
                <a:gd name="T24" fmla="*/ 107 w 109"/>
                <a:gd name="T25" fmla="*/ 151 h 164"/>
                <a:gd name="T26" fmla="*/ 107 w 109"/>
                <a:gd name="T27" fmla="*/ 151 h 164"/>
                <a:gd name="T28" fmla="*/ 109 w 109"/>
                <a:gd name="T29" fmla="*/ 145 h 164"/>
                <a:gd name="T30" fmla="*/ 90 w 109"/>
                <a:gd name="T31" fmla="*/ 7 h 164"/>
                <a:gd name="T32" fmla="*/ 81 w 109"/>
                <a:gd name="T33" fmla="*/ 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9" h="164">
                  <a:moveTo>
                    <a:pt x="81" y="1"/>
                  </a:move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6" y="12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4"/>
                    <a:pt x="5" y="14"/>
                    <a:pt x="4" y="1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3" y="161"/>
                    <a:pt x="27" y="164"/>
                    <a:pt x="31" y="16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102" y="157"/>
                    <a:pt x="102" y="157"/>
                    <a:pt x="102" y="157"/>
                  </a:cubicBezTo>
                  <a:cubicBezTo>
                    <a:pt x="107" y="151"/>
                    <a:pt x="107" y="151"/>
                    <a:pt x="107" y="151"/>
                  </a:cubicBezTo>
                  <a:cubicBezTo>
                    <a:pt x="107" y="151"/>
                    <a:pt x="107" y="151"/>
                    <a:pt x="107" y="151"/>
                  </a:cubicBezTo>
                  <a:cubicBezTo>
                    <a:pt x="108" y="149"/>
                    <a:pt x="109" y="147"/>
                    <a:pt x="109" y="145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89" y="3"/>
                    <a:pt x="85" y="0"/>
                    <a:pt x="81" y="1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125">
              <a:extLst>
                <a:ext uri="{FF2B5EF4-FFF2-40B4-BE49-F238E27FC236}">
                  <a16:creationId xmlns:a16="http://schemas.microsoft.com/office/drawing/2014/main" id="{D51AADB7-AC4D-474C-838E-003147D291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6" y="1554"/>
              <a:ext cx="209" cy="321"/>
            </a:xfrm>
            <a:custGeom>
              <a:avLst/>
              <a:gdLst>
                <a:gd name="T0" fmla="*/ 100 w 107"/>
                <a:gd name="T1" fmla="*/ 153 h 164"/>
                <a:gd name="T2" fmla="*/ 28 w 107"/>
                <a:gd name="T3" fmla="*/ 163 h 164"/>
                <a:gd name="T4" fmla="*/ 20 w 107"/>
                <a:gd name="T5" fmla="*/ 157 h 164"/>
                <a:gd name="T6" fmla="*/ 1 w 107"/>
                <a:gd name="T7" fmla="*/ 19 h 164"/>
                <a:gd name="T8" fmla="*/ 7 w 107"/>
                <a:gd name="T9" fmla="*/ 11 h 164"/>
                <a:gd name="T10" fmla="*/ 79 w 107"/>
                <a:gd name="T11" fmla="*/ 1 h 164"/>
                <a:gd name="T12" fmla="*/ 87 w 107"/>
                <a:gd name="T13" fmla="*/ 7 h 164"/>
                <a:gd name="T14" fmla="*/ 106 w 107"/>
                <a:gd name="T15" fmla="*/ 145 h 164"/>
                <a:gd name="T16" fmla="*/ 100 w 107"/>
                <a:gd name="T17" fmla="*/ 15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" h="164">
                  <a:moveTo>
                    <a:pt x="100" y="153"/>
                  </a:moveTo>
                  <a:cubicBezTo>
                    <a:pt x="28" y="163"/>
                    <a:pt x="28" y="163"/>
                    <a:pt x="28" y="163"/>
                  </a:cubicBezTo>
                  <a:cubicBezTo>
                    <a:pt x="24" y="164"/>
                    <a:pt x="21" y="161"/>
                    <a:pt x="20" y="157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5"/>
                    <a:pt x="3" y="11"/>
                    <a:pt x="7" y="1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83" y="0"/>
                    <a:pt x="87" y="3"/>
                    <a:pt x="87" y="7"/>
                  </a:cubicBezTo>
                  <a:cubicBezTo>
                    <a:pt x="106" y="145"/>
                    <a:pt x="106" y="145"/>
                    <a:pt x="106" y="145"/>
                  </a:cubicBezTo>
                  <a:cubicBezTo>
                    <a:pt x="107" y="149"/>
                    <a:pt x="104" y="153"/>
                    <a:pt x="100" y="153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126">
              <a:extLst>
                <a:ext uri="{FF2B5EF4-FFF2-40B4-BE49-F238E27FC236}">
                  <a16:creationId xmlns:a16="http://schemas.microsoft.com/office/drawing/2014/main" id="{505A0B8B-CE03-49BB-A569-1FB4875325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429" y="1585"/>
              <a:ext cx="186" cy="290"/>
            </a:xfrm>
            <a:custGeom>
              <a:avLst/>
              <a:gdLst>
                <a:gd name="T0" fmla="*/ 0 w 95"/>
                <a:gd name="T1" fmla="*/ 81 h 148"/>
                <a:gd name="T2" fmla="*/ 8 w 95"/>
                <a:gd name="T3" fmla="*/ 141 h 148"/>
                <a:gd name="T4" fmla="*/ 16 w 95"/>
                <a:gd name="T5" fmla="*/ 147 h 148"/>
                <a:gd name="T6" fmla="*/ 88 w 95"/>
                <a:gd name="T7" fmla="*/ 137 h 148"/>
                <a:gd name="T8" fmla="*/ 94 w 95"/>
                <a:gd name="T9" fmla="*/ 129 h 148"/>
                <a:gd name="T10" fmla="*/ 76 w 95"/>
                <a:gd name="T11" fmla="*/ 0 h 148"/>
                <a:gd name="T12" fmla="*/ 0 w 95"/>
                <a:gd name="T13" fmla="*/ 8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148">
                  <a:moveTo>
                    <a:pt x="0" y="81"/>
                  </a:moveTo>
                  <a:cubicBezTo>
                    <a:pt x="8" y="141"/>
                    <a:pt x="8" y="141"/>
                    <a:pt x="8" y="141"/>
                  </a:cubicBezTo>
                  <a:cubicBezTo>
                    <a:pt x="9" y="145"/>
                    <a:pt x="12" y="148"/>
                    <a:pt x="16" y="147"/>
                  </a:cubicBezTo>
                  <a:cubicBezTo>
                    <a:pt x="88" y="137"/>
                    <a:pt x="88" y="137"/>
                    <a:pt x="88" y="137"/>
                  </a:cubicBezTo>
                  <a:cubicBezTo>
                    <a:pt x="92" y="137"/>
                    <a:pt x="95" y="133"/>
                    <a:pt x="94" y="129"/>
                  </a:cubicBezTo>
                  <a:cubicBezTo>
                    <a:pt x="76" y="0"/>
                    <a:pt x="76" y="0"/>
                    <a:pt x="76" y="0"/>
                  </a:cubicBezTo>
                  <a:lnTo>
                    <a:pt x="0" y="81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127">
              <a:extLst>
                <a:ext uri="{FF2B5EF4-FFF2-40B4-BE49-F238E27FC236}">
                  <a16:creationId xmlns:a16="http://schemas.microsoft.com/office/drawing/2014/main" id="{E28E7392-118E-4162-968B-72D68082AC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2" y="1589"/>
              <a:ext cx="27" cy="28"/>
            </a:xfrm>
            <a:custGeom>
              <a:avLst/>
              <a:gdLst>
                <a:gd name="T0" fmla="*/ 14 w 14"/>
                <a:gd name="T1" fmla="*/ 6 h 14"/>
                <a:gd name="T2" fmla="*/ 8 w 14"/>
                <a:gd name="T3" fmla="*/ 14 h 14"/>
                <a:gd name="T4" fmla="*/ 1 w 14"/>
                <a:gd name="T5" fmla="*/ 8 h 14"/>
                <a:gd name="T6" fmla="*/ 6 w 14"/>
                <a:gd name="T7" fmla="*/ 0 h 14"/>
                <a:gd name="T8" fmla="*/ 14 w 14"/>
                <a:gd name="T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4" y="6"/>
                  </a:moveTo>
                  <a:cubicBezTo>
                    <a:pt x="14" y="10"/>
                    <a:pt x="12" y="13"/>
                    <a:pt x="8" y="14"/>
                  </a:cubicBezTo>
                  <a:cubicBezTo>
                    <a:pt x="5" y="14"/>
                    <a:pt x="1" y="12"/>
                    <a:pt x="1" y="8"/>
                  </a:cubicBezTo>
                  <a:cubicBezTo>
                    <a:pt x="0" y="4"/>
                    <a:pt x="3" y="1"/>
                    <a:pt x="6" y="0"/>
                  </a:cubicBezTo>
                  <a:cubicBezTo>
                    <a:pt x="10" y="0"/>
                    <a:pt x="13" y="3"/>
                    <a:pt x="14" y="6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128">
              <a:extLst>
                <a:ext uri="{FF2B5EF4-FFF2-40B4-BE49-F238E27FC236}">
                  <a16:creationId xmlns:a16="http://schemas.microsoft.com/office/drawing/2014/main" id="{1DCE277C-4C0D-47DB-A492-5DE641FE58F9}"/>
                </a:ext>
              </a:extLst>
            </p:cNvPr>
            <p:cNvSpPr>
              <a:spLocks/>
            </p:cNvSpPr>
            <p:nvPr/>
          </p:nvSpPr>
          <p:spPr bwMode="gray">
            <a:xfrm>
              <a:off x="6427" y="1689"/>
              <a:ext cx="395" cy="204"/>
            </a:xfrm>
            <a:custGeom>
              <a:avLst/>
              <a:gdLst>
                <a:gd name="T0" fmla="*/ 145 w 202"/>
                <a:gd name="T1" fmla="*/ 66 h 104"/>
                <a:gd name="T2" fmla="*/ 127 w 202"/>
                <a:gd name="T3" fmla="*/ 44 h 104"/>
                <a:gd name="T4" fmla="*/ 116 w 202"/>
                <a:gd name="T5" fmla="*/ 33 h 104"/>
                <a:gd name="T6" fmla="*/ 103 w 202"/>
                <a:gd name="T7" fmla="*/ 8 h 104"/>
                <a:gd name="T8" fmla="*/ 94 w 202"/>
                <a:gd name="T9" fmla="*/ 1 h 104"/>
                <a:gd name="T10" fmla="*/ 90 w 202"/>
                <a:gd name="T11" fmla="*/ 0 h 104"/>
                <a:gd name="T12" fmla="*/ 93 w 202"/>
                <a:gd name="T13" fmla="*/ 20 h 104"/>
                <a:gd name="T14" fmla="*/ 93 w 202"/>
                <a:gd name="T15" fmla="*/ 20 h 104"/>
                <a:gd name="T16" fmla="*/ 79 w 202"/>
                <a:gd name="T17" fmla="*/ 14 h 104"/>
                <a:gd name="T18" fmla="*/ 78 w 202"/>
                <a:gd name="T19" fmla="*/ 14 h 104"/>
                <a:gd name="T20" fmla="*/ 42 w 202"/>
                <a:gd name="T21" fmla="*/ 5 h 104"/>
                <a:gd name="T22" fmla="*/ 3 w 202"/>
                <a:gd name="T23" fmla="*/ 8 h 104"/>
                <a:gd name="T24" fmla="*/ 4 w 202"/>
                <a:gd name="T25" fmla="*/ 12 h 104"/>
                <a:gd name="T26" fmla="*/ 14 w 202"/>
                <a:gd name="T27" fmla="*/ 21 h 104"/>
                <a:gd name="T28" fmla="*/ 38 w 202"/>
                <a:gd name="T29" fmla="*/ 21 h 104"/>
                <a:gd name="T30" fmla="*/ 68 w 202"/>
                <a:gd name="T31" fmla="*/ 32 h 104"/>
                <a:gd name="T32" fmla="*/ 34 w 202"/>
                <a:gd name="T33" fmla="*/ 29 h 104"/>
                <a:gd name="T34" fmla="*/ 0 w 202"/>
                <a:gd name="T35" fmla="*/ 41 h 104"/>
                <a:gd name="T36" fmla="*/ 1 w 202"/>
                <a:gd name="T37" fmla="*/ 43 h 104"/>
                <a:gd name="T38" fmla="*/ 15 w 202"/>
                <a:gd name="T39" fmla="*/ 50 h 104"/>
                <a:gd name="T40" fmla="*/ 32 w 202"/>
                <a:gd name="T41" fmla="*/ 44 h 104"/>
                <a:gd name="T42" fmla="*/ 69 w 202"/>
                <a:gd name="T43" fmla="*/ 51 h 104"/>
                <a:gd name="T44" fmla="*/ 69 w 202"/>
                <a:gd name="T45" fmla="*/ 51 h 104"/>
                <a:gd name="T46" fmla="*/ 33 w 202"/>
                <a:gd name="T47" fmla="*/ 48 h 104"/>
                <a:gd name="T48" fmla="*/ 5 w 202"/>
                <a:gd name="T49" fmla="*/ 62 h 104"/>
                <a:gd name="T50" fmla="*/ 7 w 202"/>
                <a:gd name="T51" fmla="*/ 64 h 104"/>
                <a:gd name="T52" fmla="*/ 21 w 202"/>
                <a:gd name="T53" fmla="*/ 69 h 104"/>
                <a:gd name="T54" fmla="*/ 36 w 202"/>
                <a:gd name="T55" fmla="*/ 61 h 104"/>
                <a:gd name="T56" fmla="*/ 64 w 202"/>
                <a:gd name="T57" fmla="*/ 68 h 104"/>
                <a:gd name="T58" fmla="*/ 35 w 202"/>
                <a:gd name="T59" fmla="*/ 68 h 104"/>
                <a:gd name="T60" fmla="*/ 19 w 202"/>
                <a:gd name="T61" fmla="*/ 83 h 104"/>
                <a:gd name="T62" fmla="*/ 22 w 202"/>
                <a:gd name="T63" fmla="*/ 86 h 104"/>
                <a:gd name="T64" fmla="*/ 34 w 202"/>
                <a:gd name="T65" fmla="*/ 86 h 104"/>
                <a:gd name="T66" fmla="*/ 43 w 202"/>
                <a:gd name="T67" fmla="*/ 81 h 104"/>
                <a:gd name="T68" fmla="*/ 52 w 202"/>
                <a:gd name="T69" fmla="*/ 85 h 104"/>
                <a:gd name="T70" fmla="*/ 59 w 202"/>
                <a:gd name="T71" fmla="*/ 89 h 104"/>
                <a:gd name="T72" fmla="*/ 59 w 202"/>
                <a:gd name="T73" fmla="*/ 90 h 104"/>
                <a:gd name="T74" fmla="*/ 64 w 202"/>
                <a:gd name="T75" fmla="*/ 92 h 104"/>
                <a:gd name="T76" fmla="*/ 85 w 202"/>
                <a:gd name="T77" fmla="*/ 100 h 104"/>
                <a:gd name="T78" fmla="*/ 95 w 202"/>
                <a:gd name="T79" fmla="*/ 104 h 104"/>
                <a:gd name="T80" fmla="*/ 199 w 202"/>
                <a:gd name="T81" fmla="*/ 104 h 104"/>
                <a:gd name="T82" fmla="*/ 202 w 202"/>
                <a:gd name="T83" fmla="*/ 89 h 104"/>
                <a:gd name="T84" fmla="*/ 202 w 202"/>
                <a:gd name="T85" fmla="*/ 86 h 104"/>
                <a:gd name="T86" fmla="*/ 145 w 202"/>
                <a:gd name="T87" fmla="*/ 6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2" h="104">
                  <a:moveTo>
                    <a:pt x="145" y="66"/>
                  </a:moveTo>
                  <a:cubicBezTo>
                    <a:pt x="127" y="44"/>
                    <a:pt x="127" y="44"/>
                    <a:pt x="127" y="44"/>
                  </a:cubicBezTo>
                  <a:cubicBezTo>
                    <a:pt x="124" y="40"/>
                    <a:pt x="120" y="36"/>
                    <a:pt x="116" y="33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1" y="4"/>
                    <a:pt x="98" y="1"/>
                    <a:pt x="94" y="1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7"/>
                    <a:pt x="9" y="21"/>
                    <a:pt x="14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3" y="49"/>
                    <a:pt x="9" y="52"/>
                    <a:pt x="15" y="50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5" y="62"/>
                    <a:pt x="5" y="62"/>
                    <a:pt x="5" y="62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9" y="69"/>
                    <a:pt x="15" y="71"/>
                    <a:pt x="21" y="69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26" y="88"/>
                    <a:pt x="30" y="88"/>
                    <a:pt x="34" y="86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4" y="86"/>
                    <a:pt x="57" y="88"/>
                    <a:pt x="59" y="89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4" y="92"/>
                    <a:pt x="64" y="92"/>
                    <a:pt x="64" y="92"/>
                  </a:cubicBezTo>
                  <a:cubicBezTo>
                    <a:pt x="85" y="100"/>
                    <a:pt x="85" y="100"/>
                    <a:pt x="85" y="100"/>
                  </a:cubicBezTo>
                  <a:cubicBezTo>
                    <a:pt x="88" y="102"/>
                    <a:pt x="92" y="103"/>
                    <a:pt x="95" y="104"/>
                  </a:cubicBezTo>
                  <a:cubicBezTo>
                    <a:pt x="199" y="104"/>
                    <a:pt x="199" y="104"/>
                    <a:pt x="199" y="104"/>
                  </a:cubicBezTo>
                  <a:cubicBezTo>
                    <a:pt x="201" y="99"/>
                    <a:pt x="202" y="94"/>
                    <a:pt x="202" y="89"/>
                  </a:cubicBezTo>
                  <a:cubicBezTo>
                    <a:pt x="202" y="86"/>
                    <a:pt x="202" y="86"/>
                    <a:pt x="202" y="86"/>
                  </a:cubicBezTo>
                  <a:lnTo>
                    <a:pt x="145" y="66"/>
                  </a:lnTo>
                  <a:close/>
                </a:path>
              </a:pathLst>
            </a:custGeom>
            <a:solidFill>
              <a:srgbClr val="F0BE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129">
              <a:extLst>
                <a:ext uri="{FF2B5EF4-FFF2-40B4-BE49-F238E27FC236}">
                  <a16:creationId xmlns:a16="http://schemas.microsoft.com/office/drawing/2014/main" id="{C0E1FDEA-4B4B-46D9-A059-B93A3B4670DD}"/>
                </a:ext>
              </a:extLst>
            </p:cNvPr>
            <p:cNvSpPr>
              <a:spLocks/>
            </p:cNvSpPr>
            <p:nvPr/>
          </p:nvSpPr>
          <p:spPr bwMode="gray">
            <a:xfrm>
              <a:off x="6511" y="1848"/>
              <a:ext cx="241" cy="45"/>
            </a:xfrm>
            <a:custGeom>
              <a:avLst/>
              <a:gdLst>
                <a:gd name="T0" fmla="*/ 18 w 123"/>
                <a:gd name="T1" fmla="*/ 10 h 23"/>
                <a:gd name="T2" fmla="*/ 42 w 123"/>
                <a:gd name="T3" fmla="*/ 19 h 23"/>
                <a:gd name="T4" fmla="*/ 52 w 123"/>
                <a:gd name="T5" fmla="*/ 23 h 23"/>
                <a:gd name="T6" fmla="*/ 123 w 123"/>
                <a:gd name="T7" fmla="*/ 23 h 23"/>
                <a:gd name="T8" fmla="*/ 103 w 123"/>
                <a:gd name="T9" fmla="*/ 16 h 23"/>
                <a:gd name="T10" fmla="*/ 78 w 123"/>
                <a:gd name="T11" fmla="*/ 11 h 23"/>
                <a:gd name="T12" fmla="*/ 58 w 123"/>
                <a:gd name="T13" fmla="*/ 11 h 23"/>
                <a:gd name="T14" fmla="*/ 33 w 123"/>
                <a:gd name="T15" fmla="*/ 8 h 23"/>
                <a:gd name="T16" fmla="*/ 0 w 123"/>
                <a:gd name="T17" fmla="*/ 0 h 23"/>
                <a:gd name="T18" fmla="*/ 14 w 123"/>
                <a:gd name="T19" fmla="*/ 8 h 23"/>
                <a:gd name="T20" fmla="*/ 18 w 123"/>
                <a:gd name="T21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23">
                  <a:moveTo>
                    <a:pt x="18" y="10"/>
                  </a:moveTo>
                  <a:cubicBezTo>
                    <a:pt x="42" y="19"/>
                    <a:pt x="42" y="19"/>
                    <a:pt x="42" y="19"/>
                  </a:cubicBezTo>
                  <a:cubicBezTo>
                    <a:pt x="45" y="21"/>
                    <a:pt x="49" y="22"/>
                    <a:pt x="52" y="23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5" y="13"/>
                    <a:pt x="87" y="11"/>
                    <a:pt x="78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0" y="11"/>
                    <a:pt x="42" y="10"/>
                    <a:pt x="33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6" y="9"/>
                    <a:pt x="17" y="10"/>
                    <a:pt x="18" y="10"/>
                  </a:cubicBezTo>
                  <a:close/>
                </a:path>
              </a:pathLst>
            </a:custGeom>
            <a:solidFill>
              <a:srgbClr val="DB9C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14" name="TextBox 313">
            <a:extLst>
              <a:ext uri="{FF2B5EF4-FFF2-40B4-BE49-F238E27FC236}">
                <a16:creationId xmlns:a16="http://schemas.microsoft.com/office/drawing/2014/main" id="{A8B2D4B4-A0CF-434E-AAF2-C2B533E4C6DC}"/>
              </a:ext>
            </a:extLst>
          </p:cNvPr>
          <p:cNvSpPr txBox="1"/>
          <p:nvPr userDrawn="1"/>
        </p:nvSpPr>
        <p:spPr>
          <a:xfrm>
            <a:off x="585215" y="2972233"/>
            <a:ext cx="718074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defTabSz="932742">
              <a:lnSpc>
                <a:spcPct val="100000"/>
              </a:lnSpc>
              <a:spcBef>
                <a:spcPct val="0"/>
              </a:spcBef>
              <a:buNone/>
              <a:defRPr lang="en-US" sz="3600" b="1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GTM/partnerships</a:t>
            </a:r>
          </a:p>
        </p:txBody>
      </p:sp>
    </p:spTree>
    <p:extLst>
      <p:ext uri="{BB962C8B-B14F-4D97-AF65-F5344CB8AC3E}">
        <p14:creationId xmlns:p14="http://schemas.microsoft.com/office/powerpoint/2010/main" val="2439301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rics_Title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Group 4">
            <a:extLst>
              <a:ext uri="{FF2B5EF4-FFF2-40B4-BE49-F238E27FC236}">
                <a16:creationId xmlns:a16="http://schemas.microsoft.com/office/drawing/2014/main" id="{B421160F-E43C-483A-B9E1-585326E33B9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7766050" y="1062038"/>
            <a:ext cx="3843338" cy="4740275"/>
            <a:chOff x="4892" y="669"/>
            <a:chExt cx="2421" cy="2986"/>
          </a:xfrm>
        </p:grpSpPr>
        <p:sp>
          <p:nvSpPr>
            <p:cNvPr id="130" name="Freeform 5">
              <a:extLst>
                <a:ext uri="{FF2B5EF4-FFF2-40B4-BE49-F238E27FC236}">
                  <a16:creationId xmlns:a16="http://schemas.microsoft.com/office/drawing/2014/main" id="{D8782B65-D6E1-41FE-A085-0D8FABE01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733" y="669"/>
              <a:ext cx="996" cy="667"/>
            </a:xfrm>
            <a:custGeom>
              <a:avLst/>
              <a:gdLst>
                <a:gd name="T0" fmla="*/ 392 w 400"/>
                <a:gd name="T1" fmla="*/ 268 h 268"/>
                <a:gd name="T2" fmla="*/ 9 w 400"/>
                <a:gd name="T3" fmla="*/ 268 h 268"/>
                <a:gd name="T4" fmla="*/ 0 w 400"/>
                <a:gd name="T5" fmla="*/ 259 h 268"/>
                <a:gd name="T6" fmla="*/ 0 w 400"/>
                <a:gd name="T7" fmla="*/ 9 h 268"/>
                <a:gd name="T8" fmla="*/ 9 w 400"/>
                <a:gd name="T9" fmla="*/ 0 h 268"/>
                <a:gd name="T10" fmla="*/ 392 w 400"/>
                <a:gd name="T11" fmla="*/ 0 h 268"/>
                <a:gd name="T12" fmla="*/ 400 w 400"/>
                <a:gd name="T13" fmla="*/ 9 h 268"/>
                <a:gd name="T14" fmla="*/ 400 w 400"/>
                <a:gd name="T15" fmla="*/ 259 h 268"/>
                <a:gd name="T16" fmla="*/ 392 w 400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268">
                  <a:moveTo>
                    <a:pt x="392" y="268"/>
                  </a:moveTo>
                  <a:cubicBezTo>
                    <a:pt x="9" y="268"/>
                    <a:pt x="9" y="268"/>
                    <a:pt x="9" y="268"/>
                  </a:cubicBezTo>
                  <a:cubicBezTo>
                    <a:pt x="4" y="268"/>
                    <a:pt x="0" y="264"/>
                    <a:pt x="0" y="25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92" y="0"/>
                    <a:pt x="392" y="0"/>
                    <a:pt x="392" y="0"/>
                  </a:cubicBezTo>
                  <a:cubicBezTo>
                    <a:pt x="397" y="0"/>
                    <a:pt x="400" y="4"/>
                    <a:pt x="400" y="9"/>
                  </a:cubicBezTo>
                  <a:cubicBezTo>
                    <a:pt x="400" y="259"/>
                    <a:pt x="400" y="259"/>
                    <a:pt x="400" y="259"/>
                  </a:cubicBezTo>
                  <a:cubicBezTo>
                    <a:pt x="400" y="264"/>
                    <a:pt x="397" y="268"/>
                    <a:pt x="392" y="268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6">
              <a:extLst>
                <a:ext uri="{FF2B5EF4-FFF2-40B4-BE49-F238E27FC236}">
                  <a16:creationId xmlns:a16="http://schemas.microsoft.com/office/drawing/2014/main" id="{B1266EBC-61A2-41FA-9556-C4A9EC465B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33" y="669"/>
              <a:ext cx="401" cy="401"/>
            </a:xfrm>
            <a:custGeom>
              <a:avLst/>
              <a:gdLst>
                <a:gd name="T0" fmla="*/ 0 w 161"/>
                <a:gd name="T1" fmla="*/ 161 h 161"/>
                <a:gd name="T2" fmla="*/ 161 w 161"/>
                <a:gd name="T3" fmla="*/ 0 h 161"/>
                <a:gd name="T4" fmla="*/ 10 w 161"/>
                <a:gd name="T5" fmla="*/ 0 h 161"/>
                <a:gd name="T6" fmla="*/ 0 w 161"/>
                <a:gd name="T7" fmla="*/ 9 h 161"/>
                <a:gd name="T8" fmla="*/ 0 w 161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61">
                  <a:moveTo>
                    <a:pt x="0" y="161"/>
                  </a:moveTo>
                  <a:cubicBezTo>
                    <a:pt x="161" y="0"/>
                    <a:pt x="161" y="0"/>
                    <a:pt x="16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7">
              <a:extLst>
                <a:ext uri="{FF2B5EF4-FFF2-40B4-BE49-F238E27FC236}">
                  <a16:creationId xmlns:a16="http://schemas.microsoft.com/office/drawing/2014/main" id="{30577CA3-5948-4F23-A0CE-9518D980B35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90" y="724"/>
              <a:ext cx="884" cy="555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8">
              <a:extLst>
                <a:ext uri="{FF2B5EF4-FFF2-40B4-BE49-F238E27FC236}">
                  <a16:creationId xmlns:a16="http://schemas.microsoft.com/office/drawing/2014/main" id="{FDA558A7-F1CF-4CB4-8DFC-28FD1EC6A7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" y="724"/>
              <a:ext cx="289" cy="291"/>
            </a:xfrm>
            <a:custGeom>
              <a:avLst/>
              <a:gdLst>
                <a:gd name="T0" fmla="*/ 289 w 289"/>
                <a:gd name="T1" fmla="*/ 0 h 291"/>
                <a:gd name="T2" fmla="*/ 0 w 289"/>
                <a:gd name="T3" fmla="*/ 0 h 291"/>
                <a:gd name="T4" fmla="*/ 0 w 289"/>
                <a:gd name="T5" fmla="*/ 291 h 291"/>
                <a:gd name="T6" fmla="*/ 289 w 289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9" h="291">
                  <a:moveTo>
                    <a:pt x="289" y="0"/>
                  </a:moveTo>
                  <a:lnTo>
                    <a:pt x="0" y="0"/>
                  </a:lnTo>
                  <a:lnTo>
                    <a:pt x="0" y="291"/>
                  </a:lnTo>
                  <a:lnTo>
                    <a:pt x="289" y="0"/>
                  </a:ln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Oval 9">
              <a:extLst>
                <a:ext uri="{FF2B5EF4-FFF2-40B4-BE49-F238E27FC236}">
                  <a16:creationId xmlns:a16="http://schemas.microsoft.com/office/drawing/2014/main" id="{CE2C26F4-198C-4016-A895-2ECD355BA42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28" y="689"/>
              <a:ext cx="23" cy="23"/>
            </a:xfrm>
            <a:prstGeom prst="ellipse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0">
              <a:extLst>
                <a:ext uri="{FF2B5EF4-FFF2-40B4-BE49-F238E27FC236}">
                  <a16:creationId xmlns:a16="http://schemas.microsoft.com/office/drawing/2014/main" id="{CB5DE64E-BF51-439B-8034-E8A92DCCDD1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2" y="1530"/>
              <a:ext cx="1190" cy="787"/>
            </a:xfrm>
            <a:custGeom>
              <a:avLst/>
              <a:gdLst>
                <a:gd name="T0" fmla="*/ 466 w 478"/>
                <a:gd name="T1" fmla="*/ 316 h 316"/>
                <a:gd name="T2" fmla="*/ 12 w 478"/>
                <a:gd name="T3" fmla="*/ 316 h 316"/>
                <a:gd name="T4" fmla="*/ 0 w 478"/>
                <a:gd name="T5" fmla="*/ 303 h 316"/>
                <a:gd name="T6" fmla="*/ 0 w 478"/>
                <a:gd name="T7" fmla="*/ 12 h 316"/>
                <a:gd name="T8" fmla="*/ 12 w 478"/>
                <a:gd name="T9" fmla="*/ 0 h 316"/>
                <a:gd name="T10" fmla="*/ 466 w 478"/>
                <a:gd name="T11" fmla="*/ 0 h 316"/>
                <a:gd name="T12" fmla="*/ 478 w 478"/>
                <a:gd name="T13" fmla="*/ 12 h 316"/>
                <a:gd name="T14" fmla="*/ 478 w 478"/>
                <a:gd name="T15" fmla="*/ 303 h 316"/>
                <a:gd name="T16" fmla="*/ 466 w 478"/>
                <a:gd name="T17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8" h="316">
                  <a:moveTo>
                    <a:pt x="466" y="316"/>
                  </a:moveTo>
                  <a:cubicBezTo>
                    <a:pt x="12" y="316"/>
                    <a:pt x="12" y="316"/>
                    <a:pt x="12" y="316"/>
                  </a:cubicBezTo>
                  <a:cubicBezTo>
                    <a:pt x="5" y="316"/>
                    <a:pt x="0" y="310"/>
                    <a:pt x="0" y="30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466" y="0"/>
                    <a:pt x="466" y="0"/>
                    <a:pt x="466" y="0"/>
                  </a:cubicBezTo>
                  <a:cubicBezTo>
                    <a:pt x="473" y="0"/>
                    <a:pt x="478" y="6"/>
                    <a:pt x="478" y="12"/>
                  </a:cubicBezTo>
                  <a:cubicBezTo>
                    <a:pt x="478" y="303"/>
                    <a:pt x="478" y="303"/>
                    <a:pt x="478" y="303"/>
                  </a:cubicBezTo>
                  <a:cubicBezTo>
                    <a:pt x="478" y="310"/>
                    <a:pt x="473" y="316"/>
                    <a:pt x="466" y="316"/>
                  </a:cubicBez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1">
              <a:extLst>
                <a:ext uri="{FF2B5EF4-FFF2-40B4-BE49-F238E27FC236}">
                  <a16:creationId xmlns:a16="http://schemas.microsoft.com/office/drawing/2014/main" id="{C11D3482-4615-4516-9756-8E2E5F71B85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2" y="1530"/>
              <a:ext cx="503" cy="503"/>
            </a:xfrm>
            <a:custGeom>
              <a:avLst/>
              <a:gdLst>
                <a:gd name="T0" fmla="*/ 0 w 202"/>
                <a:gd name="T1" fmla="*/ 202 h 202"/>
                <a:gd name="T2" fmla="*/ 0 w 202"/>
                <a:gd name="T3" fmla="*/ 10 h 202"/>
                <a:gd name="T4" fmla="*/ 10 w 202"/>
                <a:gd name="T5" fmla="*/ 0 h 202"/>
                <a:gd name="T6" fmla="*/ 202 w 202"/>
                <a:gd name="T7" fmla="*/ 0 h 202"/>
                <a:gd name="T8" fmla="*/ 0 w 202"/>
                <a:gd name="T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202">
                  <a:moveTo>
                    <a:pt x="0" y="20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202" y="0"/>
                    <a:pt x="202" y="0"/>
                    <a:pt x="202" y="0"/>
                  </a:cubicBezTo>
                  <a:lnTo>
                    <a:pt x="0" y="202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2">
              <a:extLst>
                <a:ext uri="{FF2B5EF4-FFF2-40B4-BE49-F238E27FC236}">
                  <a16:creationId xmlns:a16="http://schemas.microsoft.com/office/drawing/2014/main" id="{0D61E2CB-DA34-4EC6-9F7B-477465B70B9C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0" y="2317"/>
              <a:ext cx="1513" cy="64"/>
            </a:xfrm>
            <a:custGeom>
              <a:avLst/>
              <a:gdLst>
                <a:gd name="T0" fmla="*/ 582 w 608"/>
                <a:gd name="T1" fmla="*/ 26 h 26"/>
                <a:gd name="T2" fmla="*/ 26 w 608"/>
                <a:gd name="T3" fmla="*/ 26 h 26"/>
                <a:gd name="T4" fmla="*/ 0 w 608"/>
                <a:gd name="T5" fmla="*/ 0 h 26"/>
                <a:gd name="T6" fmla="*/ 0 w 608"/>
                <a:gd name="T7" fmla="*/ 0 h 26"/>
                <a:gd name="T8" fmla="*/ 608 w 608"/>
                <a:gd name="T9" fmla="*/ 0 h 26"/>
                <a:gd name="T10" fmla="*/ 608 w 608"/>
                <a:gd name="T11" fmla="*/ 0 h 26"/>
                <a:gd name="T12" fmla="*/ 582 w 60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8" h="26">
                  <a:moveTo>
                    <a:pt x="582" y="26"/>
                  </a:moveTo>
                  <a:cubicBezTo>
                    <a:pt x="26" y="26"/>
                    <a:pt x="26" y="26"/>
                    <a:pt x="26" y="26"/>
                  </a:cubicBezTo>
                  <a:cubicBezTo>
                    <a:pt x="12" y="26"/>
                    <a:pt x="0" y="14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08" y="0"/>
                    <a:pt x="608" y="0"/>
                    <a:pt x="608" y="0"/>
                  </a:cubicBezTo>
                  <a:cubicBezTo>
                    <a:pt x="608" y="0"/>
                    <a:pt x="608" y="0"/>
                    <a:pt x="608" y="0"/>
                  </a:cubicBezTo>
                  <a:cubicBezTo>
                    <a:pt x="608" y="14"/>
                    <a:pt x="596" y="26"/>
                    <a:pt x="582" y="26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13">
              <a:extLst>
                <a:ext uri="{FF2B5EF4-FFF2-40B4-BE49-F238E27FC236}">
                  <a16:creationId xmlns:a16="http://schemas.microsoft.com/office/drawing/2014/main" id="{F8BA6355-60E8-48F5-8A0E-E74054BDE05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27" y="1595"/>
              <a:ext cx="1060" cy="657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4">
              <a:extLst>
                <a:ext uri="{FF2B5EF4-FFF2-40B4-BE49-F238E27FC236}">
                  <a16:creationId xmlns:a16="http://schemas.microsoft.com/office/drawing/2014/main" id="{5A0AD707-F257-48E5-87A8-7CB0001806D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7" y="1595"/>
              <a:ext cx="373" cy="376"/>
            </a:xfrm>
            <a:custGeom>
              <a:avLst/>
              <a:gdLst>
                <a:gd name="T0" fmla="*/ 0 w 373"/>
                <a:gd name="T1" fmla="*/ 0 h 376"/>
                <a:gd name="T2" fmla="*/ 0 w 373"/>
                <a:gd name="T3" fmla="*/ 376 h 376"/>
                <a:gd name="T4" fmla="*/ 373 w 373"/>
                <a:gd name="T5" fmla="*/ 0 h 376"/>
                <a:gd name="T6" fmla="*/ 0 w 373"/>
                <a:gd name="T7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3" h="376">
                  <a:moveTo>
                    <a:pt x="0" y="0"/>
                  </a:moveTo>
                  <a:lnTo>
                    <a:pt x="0" y="376"/>
                  </a:lnTo>
                  <a:lnTo>
                    <a:pt x="37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5">
              <a:extLst>
                <a:ext uri="{FF2B5EF4-FFF2-40B4-BE49-F238E27FC236}">
                  <a16:creationId xmlns:a16="http://schemas.microsoft.com/office/drawing/2014/main" id="{402D9B1D-8663-4C14-8EB9-E42377B54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4" y="2638"/>
              <a:ext cx="416" cy="848"/>
            </a:xfrm>
            <a:custGeom>
              <a:avLst/>
              <a:gdLst>
                <a:gd name="T0" fmla="*/ 146 w 167"/>
                <a:gd name="T1" fmla="*/ 0 h 341"/>
                <a:gd name="T2" fmla="*/ 20 w 167"/>
                <a:gd name="T3" fmla="*/ 0 h 341"/>
                <a:gd name="T4" fmla="*/ 0 w 167"/>
                <a:gd name="T5" fmla="*/ 21 h 341"/>
                <a:gd name="T6" fmla="*/ 0 w 167"/>
                <a:gd name="T7" fmla="*/ 321 h 341"/>
                <a:gd name="T8" fmla="*/ 20 w 167"/>
                <a:gd name="T9" fmla="*/ 341 h 341"/>
                <a:gd name="T10" fmla="*/ 146 w 167"/>
                <a:gd name="T11" fmla="*/ 341 h 341"/>
                <a:gd name="T12" fmla="*/ 167 w 167"/>
                <a:gd name="T13" fmla="*/ 321 h 341"/>
                <a:gd name="T14" fmla="*/ 167 w 167"/>
                <a:gd name="T15" fmla="*/ 21 h 341"/>
                <a:gd name="T16" fmla="*/ 146 w 167"/>
                <a:gd name="T17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7" h="341">
                  <a:moveTo>
                    <a:pt x="146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2"/>
                    <a:pt x="9" y="341"/>
                    <a:pt x="20" y="341"/>
                  </a:cubicBezTo>
                  <a:cubicBezTo>
                    <a:pt x="146" y="341"/>
                    <a:pt x="146" y="341"/>
                    <a:pt x="146" y="341"/>
                  </a:cubicBezTo>
                  <a:cubicBezTo>
                    <a:pt x="158" y="341"/>
                    <a:pt x="167" y="332"/>
                    <a:pt x="167" y="3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9"/>
                    <a:pt x="158" y="0"/>
                    <a:pt x="14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Rectangle 16">
              <a:extLst>
                <a:ext uri="{FF2B5EF4-FFF2-40B4-BE49-F238E27FC236}">
                  <a16:creationId xmlns:a16="http://schemas.microsoft.com/office/drawing/2014/main" id="{48EA761C-F1D5-43DC-83DE-D2F7DCAF187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701" y="2735"/>
              <a:ext cx="361" cy="652"/>
            </a:xfrm>
            <a:prstGeom prst="rect">
              <a:avLst/>
            </a:prstGeom>
            <a:solidFill>
              <a:srgbClr val="009A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7">
              <a:extLst>
                <a:ext uri="{FF2B5EF4-FFF2-40B4-BE49-F238E27FC236}">
                  <a16:creationId xmlns:a16="http://schemas.microsoft.com/office/drawing/2014/main" id="{B2D4D1B9-917F-4D8C-B268-1E4AD5C064B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4" y="2638"/>
              <a:ext cx="296" cy="296"/>
            </a:xfrm>
            <a:custGeom>
              <a:avLst/>
              <a:gdLst>
                <a:gd name="T0" fmla="*/ 69 w 119"/>
                <a:gd name="T1" fmla="*/ 23 h 119"/>
                <a:gd name="T2" fmla="*/ 67 w 119"/>
                <a:gd name="T3" fmla="*/ 21 h 119"/>
                <a:gd name="T4" fmla="*/ 69 w 119"/>
                <a:gd name="T5" fmla="*/ 19 h 119"/>
                <a:gd name="T6" fmla="*/ 98 w 119"/>
                <a:gd name="T7" fmla="*/ 19 h 119"/>
                <a:gd name="T8" fmla="*/ 99 w 119"/>
                <a:gd name="T9" fmla="*/ 20 h 119"/>
                <a:gd name="T10" fmla="*/ 119 w 119"/>
                <a:gd name="T11" fmla="*/ 0 h 119"/>
                <a:gd name="T12" fmla="*/ 19 w 119"/>
                <a:gd name="T13" fmla="*/ 0 h 119"/>
                <a:gd name="T14" fmla="*/ 0 w 119"/>
                <a:gd name="T15" fmla="*/ 19 h 119"/>
                <a:gd name="T16" fmla="*/ 0 w 119"/>
                <a:gd name="T17" fmla="*/ 119 h 119"/>
                <a:gd name="T18" fmla="*/ 96 w 119"/>
                <a:gd name="T19" fmla="*/ 23 h 119"/>
                <a:gd name="T20" fmla="*/ 69 w 119"/>
                <a:gd name="T21" fmla="*/ 2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9" h="119">
                  <a:moveTo>
                    <a:pt x="69" y="23"/>
                  </a:moveTo>
                  <a:cubicBezTo>
                    <a:pt x="68" y="23"/>
                    <a:pt x="67" y="22"/>
                    <a:pt x="67" y="21"/>
                  </a:cubicBezTo>
                  <a:cubicBezTo>
                    <a:pt x="67" y="20"/>
                    <a:pt x="68" y="19"/>
                    <a:pt x="69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9"/>
                    <a:pt x="99" y="2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0" y="9"/>
                    <a:pt x="0" y="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96" y="23"/>
                    <a:pt x="96" y="23"/>
                    <a:pt x="96" y="23"/>
                  </a:cubicBezTo>
                  <a:lnTo>
                    <a:pt x="69" y="23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8">
              <a:extLst>
                <a:ext uri="{FF2B5EF4-FFF2-40B4-BE49-F238E27FC236}">
                  <a16:creationId xmlns:a16="http://schemas.microsoft.com/office/drawing/2014/main" id="{33FBBBCD-EA51-4260-A8C1-E8198D7EB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6701" y="2735"/>
              <a:ext cx="172" cy="174"/>
            </a:xfrm>
            <a:custGeom>
              <a:avLst/>
              <a:gdLst>
                <a:gd name="T0" fmla="*/ 0 w 172"/>
                <a:gd name="T1" fmla="*/ 174 h 174"/>
                <a:gd name="T2" fmla="*/ 172 w 172"/>
                <a:gd name="T3" fmla="*/ 0 h 174"/>
                <a:gd name="T4" fmla="*/ 0 w 172"/>
                <a:gd name="T5" fmla="*/ 0 h 174"/>
                <a:gd name="T6" fmla="*/ 0 w 172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" h="174">
                  <a:moveTo>
                    <a:pt x="0" y="174"/>
                  </a:moveTo>
                  <a:lnTo>
                    <a:pt x="172" y="0"/>
                  </a:lnTo>
                  <a:lnTo>
                    <a:pt x="0" y="0"/>
                  </a:lnTo>
                  <a:lnTo>
                    <a:pt x="0" y="174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9">
              <a:extLst>
                <a:ext uri="{FF2B5EF4-FFF2-40B4-BE49-F238E27FC236}">
                  <a16:creationId xmlns:a16="http://schemas.microsoft.com/office/drawing/2014/main" id="{E7F3719A-6434-4AF6-BC69-3EC7280795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6" y="1356"/>
              <a:ext cx="395" cy="854"/>
            </a:xfrm>
            <a:custGeom>
              <a:avLst/>
              <a:gdLst>
                <a:gd name="T0" fmla="*/ 136 w 159"/>
                <a:gd name="T1" fmla="*/ 343 h 343"/>
                <a:gd name="T2" fmla="*/ 24 w 159"/>
                <a:gd name="T3" fmla="*/ 343 h 343"/>
                <a:gd name="T4" fmla="*/ 0 w 159"/>
                <a:gd name="T5" fmla="*/ 320 h 343"/>
                <a:gd name="T6" fmla="*/ 0 w 159"/>
                <a:gd name="T7" fmla="*/ 23 h 343"/>
                <a:gd name="T8" fmla="*/ 24 w 159"/>
                <a:gd name="T9" fmla="*/ 0 h 343"/>
                <a:gd name="T10" fmla="*/ 136 w 159"/>
                <a:gd name="T11" fmla="*/ 0 h 343"/>
                <a:gd name="T12" fmla="*/ 159 w 159"/>
                <a:gd name="T13" fmla="*/ 23 h 343"/>
                <a:gd name="T14" fmla="*/ 159 w 159"/>
                <a:gd name="T15" fmla="*/ 320 h 343"/>
                <a:gd name="T16" fmla="*/ 136 w 159"/>
                <a:gd name="T17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" h="343">
                  <a:moveTo>
                    <a:pt x="136" y="343"/>
                  </a:moveTo>
                  <a:cubicBezTo>
                    <a:pt x="24" y="343"/>
                    <a:pt x="24" y="343"/>
                    <a:pt x="24" y="343"/>
                  </a:cubicBezTo>
                  <a:cubicBezTo>
                    <a:pt x="11" y="343"/>
                    <a:pt x="0" y="333"/>
                    <a:pt x="0" y="32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9" y="0"/>
                    <a:pt x="159" y="10"/>
                    <a:pt x="159" y="23"/>
                  </a:cubicBezTo>
                  <a:cubicBezTo>
                    <a:pt x="159" y="320"/>
                    <a:pt x="159" y="320"/>
                    <a:pt x="159" y="320"/>
                  </a:cubicBezTo>
                  <a:cubicBezTo>
                    <a:pt x="159" y="333"/>
                    <a:pt x="149" y="343"/>
                    <a:pt x="136" y="343"/>
                  </a:cubicBez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20">
              <a:extLst>
                <a:ext uri="{FF2B5EF4-FFF2-40B4-BE49-F238E27FC236}">
                  <a16:creationId xmlns:a16="http://schemas.microsoft.com/office/drawing/2014/main" id="{8FAE065D-578D-4FE4-82E1-38D97E8714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6" y="1356"/>
              <a:ext cx="281" cy="279"/>
            </a:xfrm>
            <a:custGeom>
              <a:avLst/>
              <a:gdLst>
                <a:gd name="T0" fmla="*/ 113 w 113"/>
                <a:gd name="T1" fmla="*/ 0 h 112"/>
                <a:gd name="T2" fmla="*/ 24 w 113"/>
                <a:gd name="T3" fmla="*/ 0 h 112"/>
                <a:gd name="T4" fmla="*/ 0 w 113"/>
                <a:gd name="T5" fmla="*/ 23 h 112"/>
                <a:gd name="T6" fmla="*/ 0 w 113"/>
                <a:gd name="T7" fmla="*/ 112 h 112"/>
                <a:gd name="T8" fmla="*/ 113 w 113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2">
                  <a:moveTo>
                    <a:pt x="113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0"/>
                    <a:pt x="0" y="23"/>
                  </a:cubicBezTo>
                  <a:cubicBezTo>
                    <a:pt x="0" y="112"/>
                    <a:pt x="0" y="112"/>
                    <a:pt x="0" y="112"/>
                  </a:cubicBezTo>
                  <a:lnTo>
                    <a:pt x="113" y="0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21">
              <a:extLst>
                <a:ext uri="{FF2B5EF4-FFF2-40B4-BE49-F238E27FC236}">
                  <a16:creationId xmlns:a16="http://schemas.microsoft.com/office/drawing/2014/main" id="{3568B925-0C0B-458B-8F54-ED7C609BF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6" y="1401"/>
              <a:ext cx="355" cy="766"/>
            </a:xfrm>
            <a:custGeom>
              <a:avLst/>
              <a:gdLst>
                <a:gd name="T0" fmla="*/ 132 w 143"/>
                <a:gd name="T1" fmla="*/ 308 h 308"/>
                <a:gd name="T2" fmla="*/ 12 w 143"/>
                <a:gd name="T3" fmla="*/ 308 h 308"/>
                <a:gd name="T4" fmla="*/ 0 w 143"/>
                <a:gd name="T5" fmla="*/ 297 h 308"/>
                <a:gd name="T6" fmla="*/ 0 w 143"/>
                <a:gd name="T7" fmla="*/ 12 h 308"/>
                <a:gd name="T8" fmla="*/ 12 w 143"/>
                <a:gd name="T9" fmla="*/ 0 h 308"/>
                <a:gd name="T10" fmla="*/ 132 w 143"/>
                <a:gd name="T11" fmla="*/ 0 h 308"/>
                <a:gd name="T12" fmla="*/ 143 w 143"/>
                <a:gd name="T13" fmla="*/ 12 h 308"/>
                <a:gd name="T14" fmla="*/ 143 w 143"/>
                <a:gd name="T15" fmla="*/ 297 h 308"/>
                <a:gd name="T16" fmla="*/ 132 w 143"/>
                <a:gd name="T17" fmla="*/ 308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3" h="308">
                  <a:moveTo>
                    <a:pt x="132" y="308"/>
                  </a:moveTo>
                  <a:cubicBezTo>
                    <a:pt x="12" y="308"/>
                    <a:pt x="12" y="308"/>
                    <a:pt x="12" y="308"/>
                  </a:cubicBezTo>
                  <a:cubicBezTo>
                    <a:pt x="5" y="308"/>
                    <a:pt x="0" y="303"/>
                    <a:pt x="0" y="29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38" y="0"/>
                    <a:pt x="143" y="6"/>
                    <a:pt x="143" y="12"/>
                  </a:cubicBezTo>
                  <a:cubicBezTo>
                    <a:pt x="143" y="297"/>
                    <a:pt x="143" y="297"/>
                    <a:pt x="143" y="297"/>
                  </a:cubicBezTo>
                  <a:cubicBezTo>
                    <a:pt x="143" y="303"/>
                    <a:pt x="138" y="308"/>
                    <a:pt x="132" y="308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22">
              <a:extLst>
                <a:ext uri="{FF2B5EF4-FFF2-40B4-BE49-F238E27FC236}">
                  <a16:creationId xmlns:a16="http://schemas.microsoft.com/office/drawing/2014/main" id="{91D2E253-EBF8-430D-9434-8CC531380F4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265" y="1376"/>
              <a:ext cx="18" cy="18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23">
              <a:extLst>
                <a:ext uri="{FF2B5EF4-FFF2-40B4-BE49-F238E27FC236}">
                  <a16:creationId xmlns:a16="http://schemas.microsoft.com/office/drawing/2014/main" id="{151CFA40-C4AA-4DDC-BDDE-16C0E4AABB2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49" y="1376"/>
              <a:ext cx="20" cy="18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24">
              <a:extLst>
                <a:ext uri="{FF2B5EF4-FFF2-40B4-BE49-F238E27FC236}">
                  <a16:creationId xmlns:a16="http://schemas.microsoft.com/office/drawing/2014/main" id="{FB2FAC58-E3F2-426E-A344-990F7CDAD6A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00" y="1379"/>
              <a:ext cx="10" cy="10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Oval 25">
              <a:extLst>
                <a:ext uri="{FF2B5EF4-FFF2-40B4-BE49-F238E27FC236}">
                  <a16:creationId xmlns:a16="http://schemas.microsoft.com/office/drawing/2014/main" id="{9694183B-30A1-4114-A3F9-57E2CD7EEEB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15" y="1379"/>
              <a:ext cx="10" cy="10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Oval 26">
              <a:extLst>
                <a:ext uri="{FF2B5EF4-FFF2-40B4-BE49-F238E27FC236}">
                  <a16:creationId xmlns:a16="http://schemas.microsoft.com/office/drawing/2014/main" id="{416A600B-179A-4BE6-882B-621D75FC9D8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89" y="1379"/>
              <a:ext cx="10" cy="10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Oval 27">
              <a:extLst>
                <a:ext uri="{FF2B5EF4-FFF2-40B4-BE49-F238E27FC236}">
                  <a16:creationId xmlns:a16="http://schemas.microsoft.com/office/drawing/2014/main" id="{6EC2F02E-E55E-4316-8AFA-5AC10337CCF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245" y="1379"/>
              <a:ext cx="10" cy="10"/>
            </a:xfrm>
            <a:prstGeom prst="ellipse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28">
              <a:extLst>
                <a:ext uri="{FF2B5EF4-FFF2-40B4-BE49-F238E27FC236}">
                  <a16:creationId xmlns:a16="http://schemas.microsoft.com/office/drawing/2014/main" id="{3841ECA0-061B-4CE3-AEBF-1EE8095D0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2" y="1381"/>
              <a:ext cx="63" cy="8"/>
            </a:xfrm>
            <a:custGeom>
              <a:avLst/>
              <a:gdLst>
                <a:gd name="T0" fmla="*/ 24 w 25"/>
                <a:gd name="T1" fmla="*/ 3 h 3"/>
                <a:gd name="T2" fmla="*/ 2 w 25"/>
                <a:gd name="T3" fmla="*/ 3 h 3"/>
                <a:gd name="T4" fmla="*/ 0 w 25"/>
                <a:gd name="T5" fmla="*/ 1 h 3"/>
                <a:gd name="T6" fmla="*/ 2 w 25"/>
                <a:gd name="T7" fmla="*/ 0 h 3"/>
                <a:gd name="T8" fmla="*/ 24 w 25"/>
                <a:gd name="T9" fmla="*/ 0 h 3"/>
                <a:gd name="T10" fmla="*/ 25 w 25"/>
                <a:gd name="T11" fmla="*/ 1 h 3"/>
                <a:gd name="T12" fmla="*/ 24 w 25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">
                  <a:moveTo>
                    <a:pt x="24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5" y="1"/>
                  </a:cubicBezTo>
                  <a:cubicBezTo>
                    <a:pt x="25" y="2"/>
                    <a:pt x="25" y="3"/>
                    <a:pt x="24" y="3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56E9FD81-D566-4648-8F24-FC768C97E6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6" y="1401"/>
              <a:ext cx="214" cy="214"/>
            </a:xfrm>
            <a:custGeom>
              <a:avLst/>
              <a:gdLst>
                <a:gd name="T0" fmla="*/ 0 w 86"/>
                <a:gd name="T1" fmla="*/ 86 h 86"/>
                <a:gd name="T2" fmla="*/ 86 w 86"/>
                <a:gd name="T3" fmla="*/ 0 h 86"/>
                <a:gd name="T4" fmla="*/ 11 w 86"/>
                <a:gd name="T5" fmla="*/ 0 h 86"/>
                <a:gd name="T6" fmla="*/ 0 w 86"/>
                <a:gd name="T7" fmla="*/ 12 h 86"/>
                <a:gd name="T8" fmla="*/ 0 w 86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86">
                  <a:moveTo>
                    <a:pt x="0" y="86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6"/>
                    <a:pt x="0" y="12"/>
                  </a:cubicBezTo>
                  <a:lnTo>
                    <a:pt x="0" y="86"/>
                  </a:ln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D2539A8E-7387-4417-9DC0-E0D19BB10504}"/>
                </a:ext>
              </a:extLst>
            </p:cNvPr>
            <p:cNvSpPr>
              <a:spLocks/>
            </p:cNvSpPr>
            <p:nvPr/>
          </p:nvSpPr>
          <p:spPr bwMode="gray">
            <a:xfrm>
              <a:off x="4892" y="2471"/>
              <a:ext cx="1540" cy="1184"/>
            </a:xfrm>
            <a:custGeom>
              <a:avLst/>
              <a:gdLst>
                <a:gd name="T0" fmla="*/ 619 w 619"/>
                <a:gd name="T1" fmla="*/ 354 h 476"/>
                <a:gd name="T2" fmla="*/ 619 w 619"/>
                <a:gd name="T3" fmla="*/ 15 h 476"/>
                <a:gd name="T4" fmla="*/ 603 w 619"/>
                <a:gd name="T5" fmla="*/ 0 h 476"/>
                <a:gd name="T6" fmla="*/ 15 w 619"/>
                <a:gd name="T7" fmla="*/ 0 h 476"/>
                <a:gd name="T8" fmla="*/ 0 w 619"/>
                <a:gd name="T9" fmla="*/ 15 h 476"/>
                <a:gd name="T10" fmla="*/ 0 w 619"/>
                <a:gd name="T11" fmla="*/ 354 h 476"/>
                <a:gd name="T12" fmla="*/ 15 w 619"/>
                <a:gd name="T13" fmla="*/ 369 h 476"/>
                <a:gd name="T14" fmla="*/ 296 w 619"/>
                <a:gd name="T15" fmla="*/ 369 h 476"/>
                <a:gd name="T16" fmla="*/ 296 w 619"/>
                <a:gd name="T17" fmla="*/ 463 h 476"/>
                <a:gd name="T18" fmla="*/ 191 w 619"/>
                <a:gd name="T19" fmla="*/ 463 h 476"/>
                <a:gd name="T20" fmla="*/ 191 w 619"/>
                <a:gd name="T21" fmla="*/ 476 h 476"/>
                <a:gd name="T22" fmla="*/ 428 w 619"/>
                <a:gd name="T23" fmla="*/ 476 h 476"/>
                <a:gd name="T24" fmla="*/ 428 w 619"/>
                <a:gd name="T25" fmla="*/ 463 h 476"/>
                <a:gd name="T26" fmla="*/ 323 w 619"/>
                <a:gd name="T27" fmla="*/ 463 h 476"/>
                <a:gd name="T28" fmla="*/ 323 w 619"/>
                <a:gd name="T29" fmla="*/ 369 h 476"/>
                <a:gd name="T30" fmla="*/ 603 w 619"/>
                <a:gd name="T31" fmla="*/ 369 h 476"/>
                <a:gd name="T32" fmla="*/ 619 w 619"/>
                <a:gd name="T33" fmla="*/ 354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9" h="476">
                  <a:moveTo>
                    <a:pt x="619" y="354"/>
                  </a:moveTo>
                  <a:cubicBezTo>
                    <a:pt x="619" y="15"/>
                    <a:pt x="619" y="15"/>
                    <a:pt x="619" y="15"/>
                  </a:cubicBezTo>
                  <a:cubicBezTo>
                    <a:pt x="619" y="7"/>
                    <a:pt x="612" y="0"/>
                    <a:pt x="60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62"/>
                    <a:pt x="7" y="369"/>
                    <a:pt x="15" y="369"/>
                  </a:cubicBezTo>
                  <a:cubicBezTo>
                    <a:pt x="296" y="369"/>
                    <a:pt x="296" y="369"/>
                    <a:pt x="296" y="369"/>
                  </a:cubicBezTo>
                  <a:cubicBezTo>
                    <a:pt x="296" y="463"/>
                    <a:pt x="296" y="463"/>
                    <a:pt x="296" y="463"/>
                  </a:cubicBezTo>
                  <a:cubicBezTo>
                    <a:pt x="191" y="463"/>
                    <a:pt x="191" y="463"/>
                    <a:pt x="191" y="463"/>
                  </a:cubicBezTo>
                  <a:cubicBezTo>
                    <a:pt x="191" y="476"/>
                    <a:pt x="191" y="476"/>
                    <a:pt x="191" y="476"/>
                  </a:cubicBezTo>
                  <a:cubicBezTo>
                    <a:pt x="428" y="476"/>
                    <a:pt x="428" y="476"/>
                    <a:pt x="428" y="476"/>
                  </a:cubicBezTo>
                  <a:cubicBezTo>
                    <a:pt x="428" y="463"/>
                    <a:pt x="428" y="463"/>
                    <a:pt x="428" y="463"/>
                  </a:cubicBezTo>
                  <a:cubicBezTo>
                    <a:pt x="323" y="463"/>
                    <a:pt x="323" y="463"/>
                    <a:pt x="323" y="463"/>
                  </a:cubicBezTo>
                  <a:cubicBezTo>
                    <a:pt x="323" y="369"/>
                    <a:pt x="323" y="369"/>
                    <a:pt x="323" y="369"/>
                  </a:cubicBezTo>
                  <a:cubicBezTo>
                    <a:pt x="603" y="369"/>
                    <a:pt x="603" y="369"/>
                    <a:pt x="603" y="369"/>
                  </a:cubicBezTo>
                  <a:cubicBezTo>
                    <a:pt x="612" y="369"/>
                    <a:pt x="619" y="362"/>
                    <a:pt x="619" y="354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772869F1-2981-4152-8BEE-D46AF90EE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92" y="2471"/>
              <a:ext cx="463" cy="463"/>
            </a:xfrm>
            <a:custGeom>
              <a:avLst/>
              <a:gdLst>
                <a:gd name="T0" fmla="*/ 0 w 186"/>
                <a:gd name="T1" fmla="*/ 15 h 186"/>
                <a:gd name="T2" fmla="*/ 0 w 186"/>
                <a:gd name="T3" fmla="*/ 186 h 186"/>
                <a:gd name="T4" fmla="*/ 186 w 186"/>
                <a:gd name="T5" fmla="*/ 0 h 186"/>
                <a:gd name="T6" fmla="*/ 15 w 186"/>
                <a:gd name="T7" fmla="*/ 0 h 186"/>
                <a:gd name="T8" fmla="*/ 0 w 186"/>
                <a:gd name="T9" fmla="*/ 15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86">
                  <a:moveTo>
                    <a:pt x="0" y="15"/>
                  </a:moveTo>
                  <a:cubicBezTo>
                    <a:pt x="0" y="186"/>
                    <a:pt x="0" y="186"/>
                    <a:pt x="0" y="186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Rectangle 32">
              <a:extLst>
                <a:ext uri="{FF2B5EF4-FFF2-40B4-BE49-F238E27FC236}">
                  <a16:creationId xmlns:a16="http://schemas.microsoft.com/office/drawing/2014/main" id="{2EAD87FA-A14A-45C5-B8D9-A8928EF817E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57" y="2533"/>
              <a:ext cx="1411" cy="782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33">
              <a:extLst>
                <a:ext uri="{FF2B5EF4-FFF2-40B4-BE49-F238E27FC236}">
                  <a16:creationId xmlns:a16="http://schemas.microsoft.com/office/drawing/2014/main" id="{5C664D2C-693B-4D22-A05E-110C356E8CC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57" y="2533"/>
              <a:ext cx="336" cy="336"/>
            </a:xfrm>
            <a:custGeom>
              <a:avLst/>
              <a:gdLst>
                <a:gd name="T0" fmla="*/ 336 w 336"/>
                <a:gd name="T1" fmla="*/ 0 h 336"/>
                <a:gd name="T2" fmla="*/ 0 w 336"/>
                <a:gd name="T3" fmla="*/ 0 h 336"/>
                <a:gd name="T4" fmla="*/ 0 w 336"/>
                <a:gd name="T5" fmla="*/ 336 h 336"/>
                <a:gd name="T6" fmla="*/ 336 w 336"/>
                <a:gd name="T7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36">
                  <a:moveTo>
                    <a:pt x="336" y="0"/>
                  </a:moveTo>
                  <a:lnTo>
                    <a:pt x="0" y="0"/>
                  </a:lnTo>
                  <a:lnTo>
                    <a:pt x="0" y="336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34">
              <a:extLst>
                <a:ext uri="{FF2B5EF4-FFF2-40B4-BE49-F238E27FC236}">
                  <a16:creationId xmlns:a16="http://schemas.microsoft.com/office/drawing/2014/main" id="{1025F9F0-AB1E-4644-940D-0EB3A7820F26}"/>
                </a:ext>
              </a:extLst>
            </p:cNvPr>
            <p:cNvSpPr>
              <a:spLocks/>
            </p:cNvSpPr>
            <p:nvPr/>
          </p:nvSpPr>
          <p:spPr bwMode="gray">
            <a:xfrm>
              <a:off x="6049" y="2852"/>
              <a:ext cx="374" cy="383"/>
            </a:xfrm>
            <a:custGeom>
              <a:avLst/>
              <a:gdLst>
                <a:gd name="T0" fmla="*/ 374 w 374"/>
                <a:gd name="T1" fmla="*/ 358 h 383"/>
                <a:gd name="T2" fmla="*/ 28 w 374"/>
                <a:gd name="T3" fmla="*/ 383 h 383"/>
                <a:gd name="T4" fmla="*/ 8 w 374"/>
                <a:gd name="T5" fmla="*/ 129 h 383"/>
                <a:gd name="T6" fmla="*/ 0 w 374"/>
                <a:gd name="T7" fmla="*/ 27 h 383"/>
                <a:gd name="T8" fmla="*/ 346 w 374"/>
                <a:gd name="T9" fmla="*/ 0 h 383"/>
                <a:gd name="T10" fmla="*/ 374 w 374"/>
                <a:gd name="T11" fmla="*/ 358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4" h="383">
                  <a:moveTo>
                    <a:pt x="374" y="358"/>
                  </a:moveTo>
                  <a:lnTo>
                    <a:pt x="28" y="383"/>
                  </a:lnTo>
                  <a:lnTo>
                    <a:pt x="8" y="129"/>
                  </a:lnTo>
                  <a:lnTo>
                    <a:pt x="0" y="27"/>
                  </a:lnTo>
                  <a:lnTo>
                    <a:pt x="346" y="0"/>
                  </a:lnTo>
                  <a:lnTo>
                    <a:pt x="374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35">
              <a:extLst>
                <a:ext uri="{FF2B5EF4-FFF2-40B4-BE49-F238E27FC236}">
                  <a16:creationId xmlns:a16="http://schemas.microsoft.com/office/drawing/2014/main" id="{7796043F-9E90-4D96-A9EC-17DE7DBFE6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1" y="3093"/>
              <a:ext cx="70" cy="100"/>
            </a:xfrm>
            <a:custGeom>
              <a:avLst/>
              <a:gdLst>
                <a:gd name="T0" fmla="*/ 65 w 70"/>
                <a:gd name="T1" fmla="*/ 0 h 100"/>
                <a:gd name="T2" fmla="*/ 0 w 70"/>
                <a:gd name="T3" fmla="*/ 5 h 100"/>
                <a:gd name="T4" fmla="*/ 8 w 70"/>
                <a:gd name="T5" fmla="*/ 100 h 100"/>
                <a:gd name="T6" fmla="*/ 70 w 70"/>
                <a:gd name="T7" fmla="*/ 95 h 100"/>
                <a:gd name="T8" fmla="*/ 65 w 70"/>
                <a:gd name="T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0">
                  <a:moveTo>
                    <a:pt x="65" y="0"/>
                  </a:moveTo>
                  <a:lnTo>
                    <a:pt x="0" y="5"/>
                  </a:lnTo>
                  <a:lnTo>
                    <a:pt x="8" y="100"/>
                  </a:lnTo>
                  <a:lnTo>
                    <a:pt x="70" y="95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36">
              <a:extLst>
                <a:ext uri="{FF2B5EF4-FFF2-40B4-BE49-F238E27FC236}">
                  <a16:creationId xmlns:a16="http://schemas.microsoft.com/office/drawing/2014/main" id="{8D89ACEA-ACDE-4F95-84BA-F346396D6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199" y="2979"/>
              <a:ext cx="79" cy="206"/>
            </a:xfrm>
            <a:custGeom>
              <a:avLst/>
              <a:gdLst>
                <a:gd name="T0" fmla="*/ 64 w 79"/>
                <a:gd name="T1" fmla="*/ 0 h 206"/>
                <a:gd name="T2" fmla="*/ 0 w 79"/>
                <a:gd name="T3" fmla="*/ 5 h 206"/>
                <a:gd name="T4" fmla="*/ 17 w 79"/>
                <a:gd name="T5" fmla="*/ 206 h 206"/>
                <a:gd name="T6" fmla="*/ 79 w 79"/>
                <a:gd name="T7" fmla="*/ 201 h 206"/>
                <a:gd name="T8" fmla="*/ 64 w 79"/>
                <a:gd name="T9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206">
                  <a:moveTo>
                    <a:pt x="64" y="0"/>
                  </a:moveTo>
                  <a:lnTo>
                    <a:pt x="0" y="5"/>
                  </a:lnTo>
                  <a:lnTo>
                    <a:pt x="17" y="206"/>
                  </a:lnTo>
                  <a:lnTo>
                    <a:pt x="79" y="201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37">
              <a:extLst>
                <a:ext uri="{FF2B5EF4-FFF2-40B4-BE49-F238E27FC236}">
                  <a16:creationId xmlns:a16="http://schemas.microsoft.com/office/drawing/2014/main" id="{2C0ED202-6760-45E1-8BE6-0B2BA0470E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8" y="2884"/>
              <a:ext cx="85" cy="294"/>
            </a:xfrm>
            <a:custGeom>
              <a:avLst/>
              <a:gdLst>
                <a:gd name="T0" fmla="*/ 62 w 85"/>
                <a:gd name="T1" fmla="*/ 0 h 294"/>
                <a:gd name="T2" fmla="*/ 0 w 85"/>
                <a:gd name="T3" fmla="*/ 5 h 294"/>
                <a:gd name="T4" fmla="*/ 23 w 85"/>
                <a:gd name="T5" fmla="*/ 294 h 294"/>
                <a:gd name="T6" fmla="*/ 85 w 85"/>
                <a:gd name="T7" fmla="*/ 289 h 294"/>
                <a:gd name="T8" fmla="*/ 62 w 85"/>
                <a:gd name="T9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294">
                  <a:moveTo>
                    <a:pt x="62" y="0"/>
                  </a:moveTo>
                  <a:lnTo>
                    <a:pt x="0" y="5"/>
                  </a:lnTo>
                  <a:lnTo>
                    <a:pt x="23" y="294"/>
                  </a:lnTo>
                  <a:lnTo>
                    <a:pt x="85" y="289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38">
              <a:extLst>
                <a:ext uri="{FF2B5EF4-FFF2-40B4-BE49-F238E27FC236}">
                  <a16:creationId xmlns:a16="http://schemas.microsoft.com/office/drawing/2014/main" id="{1E35EC9A-2FE8-480B-87D5-AD7533F249AF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4" y="2784"/>
              <a:ext cx="577" cy="431"/>
            </a:xfrm>
            <a:custGeom>
              <a:avLst/>
              <a:gdLst>
                <a:gd name="T0" fmla="*/ 200 w 232"/>
                <a:gd name="T1" fmla="*/ 10 h 173"/>
                <a:gd name="T2" fmla="*/ 197 w 232"/>
                <a:gd name="T3" fmla="*/ 10 h 173"/>
                <a:gd name="T4" fmla="*/ 198 w 232"/>
                <a:gd name="T5" fmla="*/ 7 h 173"/>
                <a:gd name="T6" fmla="*/ 198 w 232"/>
                <a:gd name="T7" fmla="*/ 4 h 173"/>
                <a:gd name="T8" fmla="*/ 173 w 232"/>
                <a:gd name="T9" fmla="*/ 0 h 173"/>
                <a:gd name="T10" fmla="*/ 171 w 232"/>
                <a:gd name="T11" fmla="*/ 0 h 173"/>
                <a:gd name="T12" fmla="*/ 152 w 232"/>
                <a:gd name="T13" fmla="*/ 3 h 173"/>
                <a:gd name="T14" fmla="*/ 134 w 232"/>
                <a:gd name="T15" fmla="*/ 0 h 173"/>
                <a:gd name="T16" fmla="*/ 130 w 232"/>
                <a:gd name="T17" fmla="*/ 1 h 173"/>
                <a:gd name="T18" fmla="*/ 110 w 232"/>
                <a:gd name="T19" fmla="*/ 12 h 173"/>
                <a:gd name="T20" fmla="*/ 107 w 232"/>
                <a:gd name="T21" fmla="*/ 15 h 173"/>
                <a:gd name="T22" fmla="*/ 96 w 232"/>
                <a:gd name="T23" fmla="*/ 36 h 173"/>
                <a:gd name="T24" fmla="*/ 35 w 232"/>
                <a:gd name="T25" fmla="*/ 106 h 173"/>
                <a:gd name="T26" fmla="*/ 0 w 232"/>
                <a:gd name="T27" fmla="*/ 127 h 173"/>
                <a:gd name="T28" fmla="*/ 22 w 232"/>
                <a:gd name="T29" fmla="*/ 173 h 173"/>
                <a:gd name="T30" fmla="*/ 50 w 232"/>
                <a:gd name="T31" fmla="*/ 164 h 173"/>
                <a:gd name="T32" fmla="*/ 50 w 232"/>
                <a:gd name="T33" fmla="*/ 164 h 173"/>
                <a:gd name="T34" fmla="*/ 128 w 232"/>
                <a:gd name="T35" fmla="*/ 154 h 173"/>
                <a:gd name="T36" fmla="*/ 157 w 232"/>
                <a:gd name="T37" fmla="*/ 150 h 173"/>
                <a:gd name="T38" fmla="*/ 192 w 232"/>
                <a:gd name="T39" fmla="*/ 133 h 173"/>
                <a:gd name="T40" fmla="*/ 202 w 232"/>
                <a:gd name="T41" fmla="*/ 129 h 173"/>
                <a:gd name="T42" fmla="*/ 202 w 232"/>
                <a:gd name="T43" fmla="*/ 129 h 173"/>
                <a:gd name="T44" fmla="*/ 202 w 232"/>
                <a:gd name="T45" fmla="*/ 129 h 173"/>
                <a:gd name="T46" fmla="*/ 203 w 232"/>
                <a:gd name="T47" fmla="*/ 127 h 173"/>
                <a:gd name="T48" fmla="*/ 224 w 232"/>
                <a:gd name="T49" fmla="*/ 96 h 173"/>
                <a:gd name="T50" fmla="*/ 216 w 232"/>
                <a:gd name="T51" fmla="*/ 93 h 173"/>
                <a:gd name="T52" fmla="*/ 203 w 232"/>
                <a:gd name="T53" fmla="*/ 94 h 173"/>
                <a:gd name="T54" fmla="*/ 203 w 232"/>
                <a:gd name="T55" fmla="*/ 94 h 173"/>
                <a:gd name="T56" fmla="*/ 203 w 232"/>
                <a:gd name="T57" fmla="*/ 94 h 173"/>
                <a:gd name="T58" fmla="*/ 201 w 232"/>
                <a:gd name="T59" fmla="*/ 96 h 173"/>
                <a:gd name="T60" fmla="*/ 200 w 232"/>
                <a:gd name="T61" fmla="*/ 96 h 173"/>
                <a:gd name="T62" fmla="*/ 198 w 232"/>
                <a:gd name="T63" fmla="*/ 99 h 173"/>
                <a:gd name="T64" fmla="*/ 190 w 232"/>
                <a:gd name="T65" fmla="*/ 108 h 173"/>
                <a:gd name="T66" fmla="*/ 162 w 232"/>
                <a:gd name="T67" fmla="*/ 113 h 173"/>
                <a:gd name="T68" fmla="*/ 161 w 232"/>
                <a:gd name="T69" fmla="*/ 113 h 173"/>
                <a:gd name="T70" fmla="*/ 158 w 232"/>
                <a:gd name="T71" fmla="*/ 112 h 173"/>
                <a:gd name="T72" fmla="*/ 151 w 232"/>
                <a:gd name="T73" fmla="*/ 107 h 173"/>
                <a:gd name="T74" fmla="*/ 148 w 232"/>
                <a:gd name="T75" fmla="*/ 87 h 173"/>
                <a:gd name="T76" fmla="*/ 149 w 232"/>
                <a:gd name="T77" fmla="*/ 86 h 173"/>
                <a:gd name="T78" fmla="*/ 154 w 232"/>
                <a:gd name="T79" fmla="*/ 76 h 173"/>
                <a:gd name="T80" fmla="*/ 164 w 232"/>
                <a:gd name="T81" fmla="*/ 59 h 173"/>
                <a:gd name="T82" fmla="*/ 184 w 232"/>
                <a:gd name="T83" fmla="*/ 51 h 173"/>
                <a:gd name="T84" fmla="*/ 201 w 232"/>
                <a:gd name="T85" fmla="*/ 57 h 173"/>
                <a:gd name="T86" fmla="*/ 199 w 232"/>
                <a:gd name="T87" fmla="*/ 38 h 173"/>
                <a:gd name="T88" fmla="*/ 205 w 232"/>
                <a:gd name="T89" fmla="*/ 37 h 173"/>
                <a:gd name="T90" fmla="*/ 196 w 232"/>
                <a:gd name="T91" fmla="*/ 30 h 173"/>
                <a:gd name="T92" fmla="*/ 200 w 232"/>
                <a:gd name="T93" fmla="*/ 29 h 173"/>
                <a:gd name="T94" fmla="*/ 220 w 232"/>
                <a:gd name="T95" fmla="*/ 31 h 173"/>
                <a:gd name="T96" fmla="*/ 231 w 232"/>
                <a:gd name="T97" fmla="*/ 22 h 173"/>
                <a:gd name="T98" fmla="*/ 232 w 232"/>
                <a:gd name="T99" fmla="*/ 17 h 173"/>
                <a:gd name="T100" fmla="*/ 200 w 232"/>
                <a:gd name="T101" fmla="*/ 1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" h="173">
                  <a:moveTo>
                    <a:pt x="200" y="10"/>
                  </a:moveTo>
                  <a:cubicBezTo>
                    <a:pt x="199" y="10"/>
                    <a:pt x="198" y="9"/>
                    <a:pt x="197" y="10"/>
                  </a:cubicBezTo>
                  <a:cubicBezTo>
                    <a:pt x="197" y="9"/>
                    <a:pt x="198" y="8"/>
                    <a:pt x="198" y="7"/>
                  </a:cubicBezTo>
                  <a:cubicBezTo>
                    <a:pt x="198" y="4"/>
                    <a:pt x="198" y="4"/>
                    <a:pt x="198" y="4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2" y="0"/>
                    <a:pt x="172" y="0"/>
                    <a:pt x="171" y="0"/>
                  </a:cubicBezTo>
                  <a:cubicBezTo>
                    <a:pt x="152" y="3"/>
                    <a:pt x="152" y="3"/>
                    <a:pt x="152" y="3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3" y="0"/>
                    <a:pt x="131" y="0"/>
                    <a:pt x="130" y="1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9" y="12"/>
                    <a:pt x="108" y="13"/>
                    <a:pt x="107" y="15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22" y="173"/>
                    <a:pt x="22" y="173"/>
                    <a:pt x="22" y="173"/>
                  </a:cubicBezTo>
                  <a:cubicBezTo>
                    <a:pt x="50" y="164"/>
                    <a:pt x="50" y="164"/>
                    <a:pt x="50" y="164"/>
                  </a:cubicBezTo>
                  <a:cubicBezTo>
                    <a:pt x="50" y="164"/>
                    <a:pt x="50" y="164"/>
                    <a:pt x="50" y="164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57" y="150"/>
                    <a:pt x="157" y="150"/>
                    <a:pt x="157" y="150"/>
                  </a:cubicBezTo>
                  <a:cubicBezTo>
                    <a:pt x="192" y="133"/>
                    <a:pt x="192" y="133"/>
                    <a:pt x="192" y="133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203" y="127"/>
                    <a:pt x="203" y="127"/>
                    <a:pt x="203" y="127"/>
                  </a:cubicBezTo>
                  <a:cubicBezTo>
                    <a:pt x="224" y="96"/>
                    <a:pt x="224" y="96"/>
                    <a:pt x="224" y="96"/>
                  </a:cubicBezTo>
                  <a:cubicBezTo>
                    <a:pt x="216" y="93"/>
                    <a:pt x="216" y="93"/>
                    <a:pt x="216" y="93"/>
                  </a:cubicBezTo>
                  <a:cubicBezTo>
                    <a:pt x="212" y="91"/>
                    <a:pt x="207" y="92"/>
                    <a:pt x="203" y="94"/>
                  </a:cubicBezTo>
                  <a:cubicBezTo>
                    <a:pt x="203" y="94"/>
                    <a:pt x="203" y="94"/>
                    <a:pt x="203" y="94"/>
                  </a:cubicBezTo>
                  <a:cubicBezTo>
                    <a:pt x="203" y="94"/>
                    <a:pt x="203" y="94"/>
                    <a:pt x="203" y="94"/>
                  </a:cubicBezTo>
                  <a:cubicBezTo>
                    <a:pt x="202" y="94"/>
                    <a:pt x="201" y="95"/>
                    <a:pt x="201" y="96"/>
                  </a:cubicBezTo>
                  <a:cubicBezTo>
                    <a:pt x="200" y="96"/>
                    <a:pt x="200" y="96"/>
                    <a:pt x="200" y="96"/>
                  </a:cubicBezTo>
                  <a:cubicBezTo>
                    <a:pt x="199" y="97"/>
                    <a:pt x="198" y="98"/>
                    <a:pt x="198" y="99"/>
                  </a:cubicBezTo>
                  <a:cubicBezTo>
                    <a:pt x="190" y="108"/>
                    <a:pt x="190" y="108"/>
                    <a:pt x="190" y="108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5" y="111"/>
                    <a:pt x="153" y="109"/>
                    <a:pt x="151" y="107"/>
                  </a:cubicBezTo>
                  <a:cubicBezTo>
                    <a:pt x="146" y="102"/>
                    <a:pt x="145" y="94"/>
                    <a:pt x="148" y="87"/>
                  </a:cubicBezTo>
                  <a:cubicBezTo>
                    <a:pt x="148" y="87"/>
                    <a:pt x="148" y="86"/>
                    <a:pt x="149" y="86"/>
                  </a:cubicBezTo>
                  <a:cubicBezTo>
                    <a:pt x="154" y="76"/>
                    <a:pt x="154" y="76"/>
                    <a:pt x="154" y="76"/>
                  </a:cubicBezTo>
                  <a:cubicBezTo>
                    <a:pt x="164" y="59"/>
                    <a:pt x="164" y="59"/>
                    <a:pt x="164" y="59"/>
                  </a:cubicBezTo>
                  <a:cubicBezTo>
                    <a:pt x="184" y="51"/>
                    <a:pt x="184" y="51"/>
                    <a:pt x="184" y="51"/>
                  </a:cubicBezTo>
                  <a:cubicBezTo>
                    <a:pt x="201" y="57"/>
                    <a:pt x="201" y="57"/>
                    <a:pt x="201" y="57"/>
                  </a:cubicBezTo>
                  <a:cubicBezTo>
                    <a:pt x="199" y="38"/>
                    <a:pt x="199" y="38"/>
                    <a:pt x="199" y="38"/>
                  </a:cubicBezTo>
                  <a:cubicBezTo>
                    <a:pt x="205" y="37"/>
                    <a:pt x="205" y="37"/>
                    <a:pt x="205" y="37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200" y="29"/>
                    <a:pt x="200" y="29"/>
                    <a:pt x="200" y="29"/>
                  </a:cubicBezTo>
                  <a:cubicBezTo>
                    <a:pt x="220" y="31"/>
                    <a:pt x="220" y="31"/>
                    <a:pt x="220" y="31"/>
                  </a:cubicBezTo>
                  <a:cubicBezTo>
                    <a:pt x="225" y="31"/>
                    <a:pt x="230" y="28"/>
                    <a:pt x="231" y="22"/>
                  </a:cubicBezTo>
                  <a:cubicBezTo>
                    <a:pt x="232" y="17"/>
                    <a:pt x="232" y="17"/>
                    <a:pt x="232" y="17"/>
                  </a:cubicBezTo>
                  <a:lnTo>
                    <a:pt x="200" y="10"/>
                  </a:lnTo>
                  <a:close/>
                </a:path>
              </a:pathLst>
            </a:custGeom>
            <a:solidFill>
              <a:srgbClr val="F8D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39">
              <a:extLst>
                <a:ext uri="{FF2B5EF4-FFF2-40B4-BE49-F238E27FC236}">
                  <a16:creationId xmlns:a16="http://schemas.microsoft.com/office/drawing/2014/main" id="{605FF127-2EEE-4860-9BCB-24B47F468F2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7" y="2829"/>
              <a:ext cx="149" cy="43"/>
            </a:xfrm>
            <a:custGeom>
              <a:avLst/>
              <a:gdLst>
                <a:gd name="T0" fmla="*/ 50 w 60"/>
                <a:gd name="T1" fmla="*/ 13 h 17"/>
                <a:gd name="T2" fmla="*/ 60 w 60"/>
                <a:gd name="T3" fmla="*/ 7 h 17"/>
                <a:gd name="T4" fmla="*/ 25 w 60"/>
                <a:gd name="T5" fmla="*/ 1 h 17"/>
                <a:gd name="T6" fmla="*/ 19 w 60"/>
                <a:gd name="T7" fmla="*/ 1 h 17"/>
                <a:gd name="T8" fmla="*/ 10 w 60"/>
                <a:gd name="T9" fmla="*/ 4 h 17"/>
                <a:gd name="T10" fmla="*/ 1 w 60"/>
                <a:gd name="T11" fmla="*/ 17 h 17"/>
                <a:gd name="T12" fmla="*/ 16 w 60"/>
                <a:gd name="T13" fmla="*/ 10 h 17"/>
                <a:gd name="T14" fmla="*/ 25 w 60"/>
                <a:gd name="T15" fmla="*/ 11 h 17"/>
                <a:gd name="T16" fmla="*/ 26 w 60"/>
                <a:gd name="T17" fmla="*/ 12 h 17"/>
                <a:gd name="T18" fmla="*/ 30 w 60"/>
                <a:gd name="T19" fmla="*/ 11 h 17"/>
                <a:gd name="T20" fmla="*/ 50 w 60"/>
                <a:gd name="T21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17">
                  <a:moveTo>
                    <a:pt x="50" y="13"/>
                  </a:moveTo>
                  <a:cubicBezTo>
                    <a:pt x="54" y="13"/>
                    <a:pt x="58" y="11"/>
                    <a:pt x="60" y="7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3" y="0"/>
                    <a:pt x="21" y="1"/>
                    <a:pt x="19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4" y="6"/>
                    <a:pt x="0" y="12"/>
                    <a:pt x="1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9" y="9"/>
                    <a:pt x="22" y="9"/>
                    <a:pt x="25" y="11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30" y="11"/>
                    <a:pt x="30" y="11"/>
                    <a:pt x="30" y="11"/>
                  </a:cubicBezTo>
                  <a:lnTo>
                    <a:pt x="50" y="13"/>
                  </a:lnTo>
                  <a:close/>
                </a:path>
              </a:pathLst>
            </a:custGeom>
            <a:solidFill>
              <a:srgbClr val="E3C6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40">
              <a:extLst>
                <a:ext uri="{FF2B5EF4-FFF2-40B4-BE49-F238E27FC236}">
                  <a16:creationId xmlns:a16="http://schemas.microsoft.com/office/drawing/2014/main" id="{5466DC6D-C857-470A-BD5E-8EB80424BA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50" y="2760"/>
              <a:ext cx="481" cy="470"/>
            </a:xfrm>
            <a:custGeom>
              <a:avLst/>
              <a:gdLst>
                <a:gd name="T0" fmla="*/ 129 w 193"/>
                <a:gd name="T1" fmla="*/ 62 h 189"/>
                <a:gd name="T2" fmla="*/ 126 w 193"/>
                <a:gd name="T3" fmla="*/ 38 h 189"/>
                <a:gd name="T4" fmla="*/ 124 w 193"/>
                <a:gd name="T5" fmla="*/ 35 h 189"/>
                <a:gd name="T6" fmla="*/ 110 w 193"/>
                <a:gd name="T7" fmla="*/ 17 h 189"/>
                <a:gd name="T8" fmla="*/ 106 w 193"/>
                <a:gd name="T9" fmla="*/ 15 h 189"/>
                <a:gd name="T10" fmla="*/ 87 w 193"/>
                <a:gd name="T11" fmla="*/ 11 h 189"/>
                <a:gd name="T12" fmla="*/ 87 w 193"/>
                <a:gd name="T13" fmla="*/ 13 h 189"/>
                <a:gd name="T14" fmla="*/ 87 w 193"/>
                <a:gd name="T15" fmla="*/ 20 h 189"/>
                <a:gd name="T16" fmla="*/ 68 w 193"/>
                <a:gd name="T17" fmla="*/ 8 h 189"/>
                <a:gd name="T18" fmla="*/ 66 w 193"/>
                <a:gd name="T19" fmla="*/ 7 h 189"/>
                <a:gd name="T20" fmla="*/ 41 w 193"/>
                <a:gd name="T21" fmla="*/ 0 h 189"/>
                <a:gd name="T22" fmla="*/ 40 w 193"/>
                <a:gd name="T23" fmla="*/ 4 h 189"/>
                <a:gd name="T24" fmla="*/ 46 w 193"/>
                <a:gd name="T25" fmla="*/ 17 h 189"/>
                <a:gd name="T26" fmla="*/ 62 w 193"/>
                <a:gd name="T27" fmla="*/ 24 h 189"/>
                <a:gd name="T28" fmla="*/ 79 w 193"/>
                <a:gd name="T29" fmla="*/ 38 h 189"/>
                <a:gd name="T30" fmla="*/ 88 w 193"/>
                <a:gd name="T31" fmla="*/ 53 h 189"/>
                <a:gd name="T32" fmla="*/ 73 w 193"/>
                <a:gd name="T33" fmla="*/ 37 h 189"/>
                <a:gd name="T34" fmla="*/ 70 w 193"/>
                <a:gd name="T35" fmla="*/ 34 h 189"/>
                <a:gd name="T36" fmla="*/ 37 w 193"/>
                <a:gd name="T37" fmla="*/ 21 h 189"/>
                <a:gd name="T38" fmla="*/ 33 w 193"/>
                <a:gd name="T39" fmla="*/ 20 h 189"/>
                <a:gd name="T40" fmla="*/ 0 w 193"/>
                <a:gd name="T41" fmla="*/ 19 h 189"/>
                <a:gd name="T42" fmla="*/ 0 w 193"/>
                <a:gd name="T43" fmla="*/ 24 h 189"/>
                <a:gd name="T44" fmla="*/ 9 w 193"/>
                <a:gd name="T45" fmla="*/ 36 h 189"/>
                <a:gd name="T46" fmla="*/ 28 w 193"/>
                <a:gd name="T47" fmla="*/ 39 h 189"/>
                <a:gd name="T48" fmla="*/ 56 w 193"/>
                <a:gd name="T49" fmla="*/ 54 h 189"/>
                <a:gd name="T50" fmla="*/ 62 w 193"/>
                <a:gd name="T51" fmla="*/ 61 h 189"/>
                <a:gd name="T52" fmla="*/ 40 w 193"/>
                <a:gd name="T53" fmla="*/ 54 h 189"/>
                <a:gd name="T54" fmla="*/ 32 w 193"/>
                <a:gd name="T55" fmla="*/ 56 h 189"/>
                <a:gd name="T56" fmla="*/ 20 w 193"/>
                <a:gd name="T57" fmla="*/ 66 h 189"/>
                <a:gd name="T58" fmla="*/ 21 w 193"/>
                <a:gd name="T59" fmla="*/ 87 h 189"/>
                <a:gd name="T60" fmla="*/ 22 w 193"/>
                <a:gd name="T61" fmla="*/ 86 h 189"/>
                <a:gd name="T62" fmla="*/ 41 w 193"/>
                <a:gd name="T63" fmla="*/ 79 h 189"/>
                <a:gd name="T64" fmla="*/ 62 w 193"/>
                <a:gd name="T65" fmla="*/ 87 h 189"/>
                <a:gd name="T66" fmla="*/ 77 w 193"/>
                <a:gd name="T67" fmla="*/ 113 h 189"/>
                <a:gd name="T68" fmla="*/ 69 w 193"/>
                <a:gd name="T69" fmla="*/ 139 h 189"/>
                <a:gd name="T70" fmla="*/ 64 w 193"/>
                <a:gd name="T71" fmla="*/ 141 h 189"/>
                <a:gd name="T72" fmla="*/ 36 w 193"/>
                <a:gd name="T73" fmla="*/ 136 h 189"/>
                <a:gd name="T74" fmla="*/ 29 w 193"/>
                <a:gd name="T75" fmla="*/ 127 h 189"/>
                <a:gd name="T76" fmla="*/ 10 w 193"/>
                <a:gd name="T77" fmla="*/ 121 h 189"/>
                <a:gd name="T78" fmla="*/ 3 w 193"/>
                <a:gd name="T79" fmla="*/ 124 h 189"/>
                <a:gd name="T80" fmla="*/ 25 w 193"/>
                <a:gd name="T81" fmla="*/ 157 h 189"/>
                <a:gd name="T82" fmla="*/ 70 w 193"/>
                <a:gd name="T83" fmla="*/ 178 h 189"/>
                <a:gd name="T84" fmla="*/ 177 w 193"/>
                <a:gd name="T85" fmla="*/ 189 h 189"/>
                <a:gd name="T86" fmla="*/ 193 w 193"/>
                <a:gd name="T87" fmla="*/ 132 h 189"/>
                <a:gd name="T88" fmla="*/ 129 w 193"/>
                <a:gd name="T89" fmla="*/ 62 h 189"/>
                <a:gd name="T90" fmla="*/ 97 w 193"/>
                <a:gd name="T91" fmla="*/ 28 h 189"/>
                <a:gd name="T92" fmla="*/ 102 w 193"/>
                <a:gd name="T93" fmla="*/ 29 h 189"/>
                <a:gd name="T94" fmla="*/ 109 w 193"/>
                <a:gd name="T95" fmla="*/ 44 h 189"/>
                <a:gd name="T96" fmla="*/ 109 w 193"/>
                <a:gd name="T97" fmla="*/ 49 h 189"/>
                <a:gd name="T98" fmla="*/ 97 w 193"/>
                <a:gd name="T99" fmla="*/ 28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" h="189">
                  <a:moveTo>
                    <a:pt x="129" y="62"/>
                  </a:moveTo>
                  <a:cubicBezTo>
                    <a:pt x="126" y="38"/>
                    <a:pt x="126" y="38"/>
                    <a:pt x="126" y="38"/>
                  </a:cubicBezTo>
                  <a:cubicBezTo>
                    <a:pt x="126" y="37"/>
                    <a:pt x="125" y="36"/>
                    <a:pt x="124" y="35"/>
                  </a:cubicBezTo>
                  <a:cubicBezTo>
                    <a:pt x="110" y="17"/>
                    <a:pt x="110" y="17"/>
                    <a:pt x="110" y="17"/>
                  </a:cubicBezTo>
                  <a:cubicBezTo>
                    <a:pt x="109" y="16"/>
                    <a:pt x="107" y="16"/>
                    <a:pt x="106" y="15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6" y="15"/>
                    <a:pt x="86" y="18"/>
                    <a:pt x="87" y="20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7" y="7"/>
                    <a:pt x="66" y="7"/>
                    <a:pt x="66" y="7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9" y="9"/>
                    <a:pt x="41" y="14"/>
                    <a:pt x="46" y="17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79" y="38"/>
                    <a:pt x="79" y="38"/>
                    <a:pt x="79" y="38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2" y="36"/>
                    <a:pt x="71" y="35"/>
                    <a:pt x="70" y="34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6" y="21"/>
                    <a:pt x="35" y="20"/>
                    <a:pt x="33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0"/>
                    <a:pt x="3" y="34"/>
                    <a:pt x="9" y="36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8" y="53"/>
                    <a:pt x="34" y="54"/>
                    <a:pt x="32" y="5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1" y="87"/>
                    <a:pt x="21" y="87"/>
                    <a:pt x="21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77" y="113"/>
                    <a:pt x="77" y="113"/>
                    <a:pt x="77" y="113"/>
                  </a:cubicBezTo>
                  <a:cubicBezTo>
                    <a:pt x="83" y="122"/>
                    <a:pt x="79" y="135"/>
                    <a:pt x="69" y="139"/>
                  </a:cubicBezTo>
                  <a:cubicBezTo>
                    <a:pt x="64" y="141"/>
                    <a:pt x="64" y="141"/>
                    <a:pt x="64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4" y="121"/>
                    <a:pt x="17" y="119"/>
                    <a:pt x="10" y="121"/>
                  </a:cubicBezTo>
                  <a:cubicBezTo>
                    <a:pt x="3" y="124"/>
                    <a:pt x="3" y="124"/>
                    <a:pt x="3" y="124"/>
                  </a:cubicBezTo>
                  <a:cubicBezTo>
                    <a:pt x="25" y="157"/>
                    <a:pt x="25" y="157"/>
                    <a:pt x="25" y="157"/>
                  </a:cubicBezTo>
                  <a:cubicBezTo>
                    <a:pt x="70" y="178"/>
                    <a:pt x="70" y="178"/>
                    <a:pt x="70" y="178"/>
                  </a:cubicBezTo>
                  <a:cubicBezTo>
                    <a:pt x="177" y="189"/>
                    <a:pt x="177" y="189"/>
                    <a:pt x="177" y="189"/>
                  </a:cubicBezTo>
                  <a:cubicBezTo>
                    <a:pt x="193" y="132"/>
                    <a:pt x="193" y="132"/>
                    <a:pt x="193" y="132"/>
                  </a:cubicBezTo>
                  <a:lnTo>
                    <a:pt x="129" y="62"/>
                  </a:lnTo>
                  <a:close/>
                  <a:moveTo>
                    <a:pt x="97" y="28"/>
                  </a:moveTo>
                  <a:cubicBezTo>
                    <a:pt x="102" y="29"/>
                    <a:pt x="102" y="29"/>
                    <a:pt x="102" y="29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9" y="49"/>
                    <a:pt x="109" y="49"/>
                    <a:pt x="109" y="49"/>
                  </a:cubicBezTo>
                  <a:lnTo>
                    <a:pt x="97" y="28"/>
                  </a:lnTo>
                  <a:close/>
                </a:path>
              </a:pathLst>
            </a:custGeom>
            <a:solidFill>
              <a:srgbClr val="B48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41">
              <a:extLst>
                <a:ext uri="{FF2B5EF4-FFF2-40B4-BE49-F238E27FC236}">
                  <a16:creationId xmlns:a16="http://schemas.microsoft.com/office/drawing/2014/main" id="{E3220B0C-0E76-4F09-8A7C-81AD3A3509A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0" y="2929"/>
              <a:ext cx="52" cy="47"/>
            </a:xfrm>
            <a:custGeom>
              <a:avLst/>
              <a:gdLst>
                <a:gd name="T0" fmla="*/ 52 w 52"/>
                <a:gd name="T1" fmla="*/ 27 h 47"/>
                <a:gd name="T2" fmla="*/ 0 w 52"/>
                <a:gd name="T3" fmla="*/ 0 h 47"/>
                <a:gd name="T4" fmla="*/ 3 w 52"/>
                <a:gd name="T5" fmla="*/ 47 h 47"/>
                <a:gd name="T6" fmla="*/ 52 w 52"/>
                <a:gd name="T7" fmla="*/ 2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7">
                  <a:moveTo>
                    <a:pt x="52" y="27"/>
                  </a:moveTo>
                  <a:lnTo>
                    <a:pt x="0" y="0"/>
                  </a:lnTo>
                  <a:lnTo>
                    <a:pt x="3" y="47"/>
                  </a:lnTo>
                  <a:lnTo>
                    <a:pt x="52" y="27"/>
                  </a:lnTo>
                  <a:close/>
                </a:path>
              </a:pathLst>
            </a:custGeom>
            <a:solidFill>
              <a:srgbClr val="AB84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42">
              <a:extLst>
                <a:ext uri="{FF2B5EF4-FFF2-40B4-BE49-F238E27FC236}">
                  <a16:creationId xmlns:a16="http://schemas.microsoft.com/office/drawing/2014/main" id="{D0C34665-960D-43E3-97F2-3092480F9778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8" y="3066"/>
              <a:ext cx="453" cy="164"/>
            </a:xfrm>
            <a:custGeom>
              <a:avLst/>
              <a:gdLst>
                <a:gd name="T0" fmla="*/ 166 w 182"/>
                <a:gd name="T1" fmla="*/ 33 h 66"/>
                <a:gd name="T2" fmla="*/ 135 w 182"/>
                <a:gd name="T3" fmla="*/ 32 h 66"/>
                <a:gd name="T4" fmla="*/ 89 w 182"/>
                <a:gd name="T5" fmla="*/ 42 h 66"/>
                <a:gd name="T6" fmla="*/ 79 w 182"/>
                <a:gd name="T7" fmla="*/ 41 h 66"/>
                <a:gd name="T8" fmla="*/ 30 w 182"/>
                <a:gd name="T9" fmla="*/ 28 h 66"/>
                <a:gd name="T10" fmla="*/ 23 w 182"/>
                <a:gd name="T11" fmla="*/ 23 h 66"/>
                <a:gd name="T12" fmla="*/ 4 w 182"/>
                <a:gd name="T13" fmla="*/ 0 h 66"/>
                <a:gd name="T14" fmla="*/ 4 w 182"/>
                <a:gd name="T15" fmla="*/ 0 h 66"/>
                <a:gd name="T16" fmla="*/ 0 w 182"/>
                <a:gd name="T17" fmla="*/ 1 h 66"/>
                <a:gd name="T18" fmla="*/ 22 w 182"/>
                <a:gd name="T19" fmla="*/ 34 h 66"/>
                <a:gd name="T20" fmla="*/ 67 w 182"/>
                <a:gd name="T21" fmla="*/ 55 h 66"/>
                <a:gd name="T22" fmla="*/ 174 w 182"/>
                <a:gd name="T23" fmla="*/ 66 h 66"/>
                <a:gd name="T24" fmla="*/ 182 w 182"/>
                <a:gd name="T25" fmla="*/ 38 h 66"/>
                <a:gd name="T26" fmla="*/ 166 w 182"/>
                <a:gd name="T27" fmla="*/ 3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2" h="66">
                  <a:moveTo>
                    <a:pt x="166" y="33"/>
                  </a:moveTo>
                  <a:cubicBezTo>
                    <a:pt x="156" y="30"/>
                    <a:pt x="145" y="29"/>
                    <a:pt x="135" y="3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6" y="43"/>
                    <a:pt x="83" y="42"/>
                    <a:pt x="79" y="41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27" y="28"/>
                    <a:pt x="25" y="26"/>
                    <a:pt x="23" y="2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174" y="66"/>
                    <a:pt x="174" y="66"/>
                    <a:pt x="174" y="66"/>
                  </a:cubicBezTo>
                  <a:cubicBezTo>
                    <a:pt x="182" y="38"/>
                    <a:pt x="182" y="38"/>
                    <a:pt x="182" y="38"/>
                  </a:cubicBezTo>
                  <a:lnTo>
                    <a:pt x="166" y="33"/>
                  </a:lnTo>
                  <a:close/>
                </a:path>
              </a:pathLst>
            </a:custGeom>
            <a:solidFill>
              <a:srgbClr val="AB84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43">
              <a:extLst>
                <a:ext uri="{FF2B5EF4-FFF2-40B4-BE49-F238E27FC236}">
                  <a16:creationId xmlns:a16="http://schemas.microsoft.com/office/drawing/2014/main" id="{4FA2A7D9-D919-42B4-83F2-1D31D0865D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88" y="3088"/>
              <a:ext cx="282" cy="261"/>
            </a:xfrm>
            <a:custGeom>
              <a:avLst/>
              <a:gdLst>
                <a:gd name="T0" fmla="*/ 17 w 113"/>
                <a:gd name="T1" fmla="*/ 0 h 105"/>
                <a:gd name="T2" fmla="*/ 17 w 113"/>
                <a:gd name="T3" fmla="*/ 0 h 105"/>
                <a:gd name="T4" fmla="*/ 1 w 113"/>
                <a:gd name="T5" fmla="*/ 53 h 105"/>
                <a:gd name="T6" fmla="*/ 1 w 113"/>
                <a:gd name="T7" fmla="*/ 57 h 105"/>
                <a:gd name="T8" fmla="*/ 113 w 113"/>
                <a:gd name="T9" fmla="*/ 105 h 105"/>
                <a:gd name="T10" fmla="*/ 113 w 113"/>
                <a:gd name="T11" fmla="*/ 15 h 105"/>
                <a:gd name="T12" fmla="*/ 17 w 113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105"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6" y="15"/>
                    <a:pt x="0" y="34"/>
                    <a:pt x="1" y="53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5"/>
                    <a:pt x="113" y="15"/>
                    <a:pt x="113" y="15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44">
              <a:extLst>
                <a:ext uri="{FF2B5EF4-FFF2-40B4-BE49-F238E27FC236}">
                  <a16:creationId xmlns:a16="http://schemas.microsoft.com/office/drawing/2014/main" id="{83B19907-A39F-4B7C-9A8D-DA148293DB5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63" y="1899"/>
              <a:ext cx="257" cy="134"/>
            </a:xfrm>
            <a:custGeom>
              <a:avLst/>
              <a:gdLst>
                <a:gd name="T0" fmla="*/ 20 w 103"/>
                <a:gd name="T1" fmla="*/ 33 h 54"/>
                <a:gd name="T2" fmla="*/ 0 w 103"/>
                <a:gd name="T3" fmla="*/ 4 h 54"/>
                <a:gd name="T4" fmla="*/ 6 w 103"/>
                <a:gd name="T5" fmla="*/ 2 h 54"/>
                <a:gd name="T6" fmla="*/ 23 w 103"/>
                <a:gd name="T7" fmla="*/ 7 h 54"/>
                <a:gd name="T8" fmla="*/ 37 w 103"/>
                <a:gd name="T9" fmla="*/ 23 h 54"/>
                <a:gd name="T10" fmla="*/ 63 w 103"/>
                <a:gd name="T11" fmla="*/ 36 h 54"/>
                <a:gd name="T12" fmla="*/ 101 w 103"/>
                <a:gd name="T13" fmla="*/ 34 h 54"/>
                <a:gd name="T14" fmla="*/ 103 w 103"/>
                <a:gd name="T15" fmla="*/ 54 h 54"/>
                <a:gd name="T16" fmla="*/ 50 w 103"/>
                <a:gd name="T17" fmla="*/ 51 h 54"/>
                <a:gd name="T18" fmla="*/ 20 w 103"/>
                <a:gd name="T19" fmla="*/ 3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54">
                  <a:moveTo>
                    <a:pt x="20" y="3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12" y="0"/>
                    <a:pt x="19" y="2"/>
                    <a:pt x="23" y="7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101" y="34"/>
                    <a:pt x="101" y="34"/>
                    <a:pt x="101" y="34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20" y="33"/>
                  </a:lnTo>
                  <a:close/>
                </a:path>
              </a:pathLst>
            </a:custGeom>
            <a:solidFill>
              <a:srgbClr val="BA8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45">
              <a:extLst>
                <a:ext uri="{FF2B5EF4-FFF2-40B4-BE49-F238E27FC236}">
                  <a16:creationId xmlns:a16="http://schemas.microsoft.com/office/drawing/2014/main" id="{484A11E1-D833-4D87-88DC-C04A6F2526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1" y="1926"/>
              <a:ext cx="839" cy="326"/>
            </a:xfrm>
            <a:custGeom>
              <a:avLst/>
              <a:gdLst>
                <a:gd name="T0" fmla="*/ 243 w 337"/>
                <a:gd name="T1" fmla="*/ 46 h 131"/>
                <a:gd name="T2" fmla="*/ 238 w 337"/>
                <a:gd name="T3" fmla="*/ 42 h 131"/>
                <a:gd name="T4" fmla="*/ 239 w 337"/>
                <a:gd name="T5" fmla="*/ 42 h 131"/>
                <a:gd name="T6" fmla="*/ 213 w 337"/>
                <a:gd name="T7" fmla="*/ 23 h 131"/>
                <a:gd name="T8" fmla="*/ 159 w 337"/>
                <a:gd name="T9" fmla="*/ 0 h 131"/>
                <a:gd name="T10" fmla="*/ 129 w 337"/>
                <a:gd name="T11" fmla="*/ 7 h 131"/>
                <a:gd name="T12" fmla="*/ 101 w 337"/>
                <a:gd name="T13" fmla="*/ 13 h 131"/>
                <a:gd name="T14" fmla="*/ 77 w 337"/>
                <a:gd name="T15" fmla="*/ 6 h 131"/>
                <a:gd name="T16" fmla="*/ 66 w 337"/>
                <a:gd name="T17" fmla="*/ 12 h 131"/>
                <a:gd name="T18" fmla="*/ 70 w 337"/>
                <a:gd name="T19" fmla="*/ 23 h 131"/>
                <a:gd name="T20" fmla="*/ 88 w 337"/>
                <a:gd name="T21" fmla="*/ 33 h 131"/>
                <a:gd name="T22" fmla="*/ 79 w 337"/>
                <a:gd name="T23" fmla="*/ 34 h 131"/>
                <a:gd name="T24" fmla="*/ 43 w 337"/>
                <a:gd name="T25" fmla="*/ 20 h 131"/>
                <a:gd name="T26" fmla="*/ 32 w 337"/>
                <a:gd name="T27" fmla="*/ 13 h 131"/>
                <a:gd name="T28" fmla="*/ 0 w 337"/>
                <a:gd name="T29" fmla="*/ 15 h 131"/>
                <a:gd name="T30" fmla="*/ 27 w 337"/>
                <a:gd name="T31" fmla="*/ 40 h 131"/>
                <a:gd name="T32" fmla="*/ 62 w 337"/>
                <a:gd name="T33" fmla="*/ 56 h 131"/>
                <a:gd name="T34" fmla="*/ 89 w 337"/>
                <a:gd name="T35" fmla="*/ 62 h 131"/>
                <a:gd name="T36" fmla="*/ 116 w 337"/>
                <a:gd name="T37" fmla="*/ 64 h 131"/>
                <a:gd name="T38" fmla="*/ 177 w 337"/>
                <a:gd name="T39" fmla="*/ 59 h 131"/>
                <a:gd name="T40" fmla="*/ 250 w 337"/>
                <a:gd name="T41" fmla="*/ 131 h 131"/>
                <a:gd name="T42" fmla="*/ 337 w 337"/>
                <a:gd name="T43" fmla="*/ 131 h 131"/>
                <a:gd name="T44" fmla="*/ 337 w 337"/>
                <a:gd name="T45" fmla="*/ 117 h 131"/>
                <a:gd name="T46" fmla="*/ 243 w 337"/>
                <a:gd name="T47" fmla="*/ 46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37" h="131">
                  <a:moveTo>
                    <a:pt x="243" y="46"/>
                  </a:moveTo>
                  <a:cubicBezTo>
                    <a:pt x="241" y="44"/>
                    <a:pt x="240" y="43"/>
                    <a:pt x="238" y="42"/>
                  </a:cubicBezTo>
                  <a:cubicBezTo>
                    <a:pt x="239" y="42"/>
                    <a:pt x="239" y="42"/>
                    <a:pt x="239" y="42"/>
                  </a:cubicBezTo>
                  <a:cubicBezTo>
                    <a:pt x="213" y="23"/>
                    <a:pt x="213" y="23"/>
                    <a:pt x="213" y="23"/>
                  </a:cubicBezTo>
                  <a:cubicBezTo>
                    <a:pt x="199" y="8"/>
                    <a:pt x="180" y="0"/>
                    <a:pt x="159" y="0"/>
                  </a:cubicBezTo>
                  <a:cubicBezTo>
                    <a:pt x="149" y="0"/>
                    <a:pt x="138" y="2"/>
                    <a:pt x="129" y="7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3" y="5"/>
                    <a:pt x="67" y="8"/>
                    <a:pt x="66" y="12"/>
                  </a:cubicBezTo>
                  <a:cubicBezTo>
                    <a:pt x="65" y="17"/>
                    <a:pt x="67" y="21"/>
                    <a:pt x="70" y="2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22" y="6"/>
                    <a:pt x="9" y="6"/>
                    <a:pt x="0" y="15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7" y="64"/>
                    <a:pt x="107" y="65"/>
                    <a:pt x="116" y="64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337" y="131"/>
                    <a:pt x="337" y="131"/>
                    <a:pt x="337" y="131"/>
                  </a:cubicBezTo>
                  <a:cubicBezTo>
                    <a:pt x="337" y="117"/>
                    <a:pt x="337" y="117"/>
                    <a:pt x="337" y="117"/>
                  </a:cubicBezTo>
                  <a:lnTo>
                    <a:pt x="243" y="4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46">
              <a:extLst>
                <a:ext uri="{FF2B5EF4-FFF2-40B4-BE49-F238E27FC236}">
                  <a16:creationId xmlns:a16="http://schemas.microsoft.com/office/drawing/2014/main" id="{6F9D4A97-98D6-48DB-876A-0DC377C57F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1" y="1948"/>
              <a:ext cx="769" cy="304"/>
            </a:xfrm>
            <a:custGeom>
              <a:avLst/>
              <a:gdLst>
                <a:gd name="T0" fmla="*/ 309 w 309"/>
                <a:gd name="T1" fmla="*/ 122 h 122"/>
                <a:gd name="T2" fmla="*/ 209 w 309"/>
                <a:gd name="T3" fmla="*/ 49 h 122"/>
                <a:gd name="T4" fmla="*/ 152 w 309"/>
                <a:gd name="T5" fmla="*/ 36 h 122"/>
                <a:gd name="T6" fmla="*/ 105 w 309"/>
                <a:gd name="T7" fmla="*/ 44 h 122"/>
                <a:gd name="T8" fmla="*/ 61 w 309"/>
                <a:gd name="T9" fmla="*/ 38 h 122"/>
                <a:gd name="T10" fmla="*/ 29 w 309"/>
                <a:gd name="T11" fmla="*/ 22 h 122"/>
                <a:gd name="T12" fmla="*/ 25 w 309"/>
                <a:gd name="T13" fmla="*/ 18 h 122"/>
                <a:gd name="T14" fmla="*/ 9 w 309"/>
                <a:gd name="T15" fmla="*/ 0 h 122"/>
                <a:gd name="T16" fmla="*/ 0 w 309"/>
                <a:gd name="T17" fmla="*/ 6 h 122"/>
                <a:gd name="T18" fmla="*/ 27 w 309"/>
                <a:gd name="T19" fmla="*/ 31 h 122"/>
                <a:gd name="T20" fmla="*/ 62 w 309"/>
                <a:gd name="T21" fmla="*/ 47 h 122"/>
                <a:gd name="T22" fmla="*/ 89 w 309"/>
                <a:gd name="T23" fmla="*/ 53 h 122"/>
                <a:gd name="T24" fmla="*/ 116 w 309"/>
                <a:gd name="T25" fmla="*/ 55 h 122"/>
                <a:gd name="T26" fmla="*/ 177 w 309"/>
                <a:gd name="T27" fmla="*/ 50 h 122"/>
                <a:gd name="T28" fmla="*/ 250 w 309"/>
                <a:gd name="T29" fmla="*/ 122 h 122"/>
                <a:gd name="T30" fmla="*/ 309 w 309"/>
                <a:gd name="T3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9" h="122">
                  <a:moveTo>
                    <a:pt x="309" y="122"/>
                  </a:moveTo>
                  <a:cubicBezTo>
                    <a:pt x="209" y="49"/>
                    <a:pt x="209" y="49"/>
                    <a:pt x="209" y="49"/>
                  </a:cubicBezTo>
                  <a:cubicBezTo>
                    <a:pt x="193" y="37"/>
                    <a:pt x="172" y="32"/>
                    <a:pt x="152" y="36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8" y="21"/>
                    <a:pt x="26" y="20"/>
                    <a:pt x="25" y="1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1"/>
                    <a:pt x="3" y="3"/>
                    <a:pt x="0" y="6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62" y="47"/>
                    <a:pt x="62" y="47"/>
                    <a:pt x="62" y="47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97" y="55"/>
                    <a:pt x="107" y="56"/>
                    <a:pt x="116" y="55"/>
                  </a:cubicBezTo>
                  <a:cubicBezTo>
                    <a:pt x="177" y="50"/>
                    <a:pt x="177" y="50"/>
                    <a:pt x="177" y="50"/>
                  </a:cubicBezTo>
                  <a:cubicBezTo>
                    <a:pt x="250" y="122"/>
                    <a:pt x="250" y="122"/>
                    <a:pt x="250" y="122"/>
                  </a:cubicBezTo>
                  <a:lnTo>
                    <a:pt x="309" y="122"/>
                  </a:lnTo>
                  <a:close/>
                </a:path>
              </a:pathLst>
            </a:custGeom>
            <a:solidFill>
              <a:srgbClr val="BA8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Oval 47">
              <a:extLst>
                <a:ext uri="{FF2B5EF4-FFF2-40B4-BE49-F238E27FC236}">
                  <a16:creationId xmlns:a16="http://schemas.microsoft.com/office/drawing/2014/main" id="{6079605B-E873-4C9F-ACAB-F7185185AC3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83" y="1513"/>
              <a:ext cx="403" cy="403"/>
            </a:xfrm>
            <a:prstGeom prst="ellipse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48">
              <a:extLst>
                <a:ext uri="{FF2B5EF4-FFF2-40B4-BE49-F238E27FC236}">
                  <a16:creationId xmlns:a16="http://schemas.microsoft.com/office/drawing/2014/main" id="{EAB27388-9A33-437B-901F-527CBDCCA73F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5" y="1513"/>
              <a:ext cx="201" cy="202"/>
            </a:xfrm>
            <a:custGeom>
              <a:avLst/>
              <a:gdLst>
                <a:gd name="T0" fmla="*/ 0 w 81"/>
                <a:gd name="T1" fmla="*/ 0 h 81"/>
                <a:gd name="T2" fmla="*/ 0 w 81"/>
                <a:gd name="T3" fmla="*/ 81 h 81"/>
                <a:gd name="T4" fmla="*/ 81 w 81"/>
                <a:gd name="T5" fmla="*/ 81 h 81"/>
                <a:gd name="T6" fmla="*/ 81 w 81"/>
                <a:gd name="T7" fmla="*/ 81 h 81"/>
                <a:gd name="T8" fmla="*/ 2 w 81"/>
                <a:gd name="T9" fmla="*/ 0 h 81"/>
                <a:gd name="T10" fmla="*/ 0 w 81"/>
                <a:gd name="T1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81">
                  <a:moveTo>
                    <a:pt x="0" y="0"/>
                  </a:moveTo>
                  <a:cubicBezTo>
                    <a:pt x="0" y="81"/>
                    <a:pt x="0" y="81"/>
                    <a:pt x="0" y="81"/>
                  </a:cubicBezTo>
                  <a:cubicBezTo>
                    <a:pt x="81" y="81"/>
                    <a:pt x="81" y="81"/>
                    <a:pt x="81" y="81"/>
                  </a:cubicBezTo>
                  <a:cubicBezTo>
                    <a:pt x="81" y="81"/>
                    <a:pt x="81" y="81"/>
                    <a:pt x="81" y="81"/>
                  </a:cubicBezTo>
                  <a:cubicBezTo>
                    <a:pt x="81" y="37"/>
                    <a:pt x="46" y="1"/>
                    <a:pt x="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49">
              <a:extLst>
                <a:ext uri="{FF2B5EF4-FFF2-40B4-BE49-F238E27FC236}">
                  <a16:creationId xmlns:a16="http://schemas.microsoft.com/office/drawing/2014/main" id="{D08E1F9F-336F-462A-BCF0-1CFC48029A84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5" y="1715"/>
              <a:ext cx="171" cy="159"/>
            </a:xfrm>
            <a:custGeom>
              <a:avLst/>
              <a:gdLst>
                <a:gd name="T0" fmla="*/ 0 w 69"/>
                <a:gd name="T1" fmla="*/ 0 h 64"/>
                <a:gd name="T2" fmla="*/ 50 w 69"/>
                <a:gd name="T3" fmla="*/ 64 h 64"/>
                <a:gd name="T4" fmla="*/ 69 w 69"/>
                <a:gd name="T5" fmla="*/ 42 h 64"/>
                <a:gd name="T6" fmla="*/ 0 w 69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64">
                  <a:moveTo>
                    <a:pt x="0" y="0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50" y="64"/>
                    <a:pt x="64" y="53"/>
                    <a:pt x="69" y="4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50">
              <a:extLst>
                <a:ext uri="{FF2B5EF4-FFF2-40B4-BE49-F238E27FC236}">
                  <a16:creationId xmlns:a16="http://schemas.microsoft.com/office/drawing/2014/main" id="{F6B0CE67-857D-4928-AB51-E7F39A2F2D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5" y="1715"/>
              <a:ext cx="204" cy="104"/>
            </a:xfrm>
            <a:custGeom>
              <a:avLst/>
              <a:gdLst>
                <a:gd name="T0" fmla="*/ 69 w 82"/>
                <a:gd name="T1" fmla="*/ 42 h 42"/>
                <a:gd name="T2" fmla="*/ 0 w 82"/>
                <a:gd name="T3" fmla="*/ 0 h 42"/>
                <a:gd name="T4" fmla="*/ 81 w 82"/>
                <a:gd name="T5" fmla="*/ 0 h 42"/>
                <a:gd name="T6" fmla="*/ 69 w 82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42">
                  <a:moveTo>
                    <a:pt x="69" y="4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2" y="26"/>
                    <a:pt x="69" y="42"/>
                  </a:cubicBez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51">
              <a:extLst>
                <a:ext uri="{FF2B5EF4-FFF2-40B4-BE49-F238E27FC236}">
                  <a16:creationId xmlns:a16="http://schemas.microsoft.com/office/drawing/2014/main" id="{4F34DEA2-708B-4637-99E3-0606D7B72E1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3" y="1886"/>
              <a:ext cx="600" cy="543"/>
            </a:xfrm>
            <a:custGeom>
              <a:avLst/>
              <a:gdLst>
                <a:gd name="T0" fmla="*/ 438 w 600"/>
                <a:gd name="T1" fmla="*/ 0 h 543"/>
                <a:gd name="T2" fmla="*/ 0 w 600"/>
                <a:gd name="T3" fmla="*/ 219 h 543"/>
                <a:gd name="T4" fmla="*/ 162 w 600"/>
                <a:gd name="T5" fmla="*/ 543 h 543"/>
                <a:gd name="T6" fmla="*/ 600 w 600"/>
                <a:gd name="T7" fmla="*/ 324 h 543"/>
                <a:gd name="T8" fmla="*/ 438 w 600"/>
                <a:gd name="T9" fmla="*/ 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0" h="543">
                  <a:moveTo>
                    <a:pt x="438" y="0"/>
                  </a:moveTo>
                  <a:lnTo>
                    <a:pt x="0" y="219"/>
                  </a:lnTo>
                  <a:lnTo>
                    <a:pt x="162" y="543"/>
                  </a:lnTo>
                  <a:lnTo>
                    <a:pt x="600" y="324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52">
              <a:extLst>
                <a:ext uri="{FF2B5EF4-FFF2-40B4-BE49-F238E27FC236}">
                  <a16:creationId xmlns:a16="http://schemas.microsoft.com/office/drawing/2014/main" id="{DC439986-7FD6-4F67-AC7E-37981371CBA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83" y="2145"/>
              <a:ext cx="470" cy="284"/>
            </a:xfrm>
            <a:custGeom>
              <a:avLst/>
              <a:gdLst>
                <a:gd name="T0" fmla="*/ 470 w 470"/>
                <a:gd name="T1" fmla="*/ 65 h 284"/>
                <a:gd name="T2" fmla="*/ 438 w 470"/>
                <a:gd name="T3" fmla="*/ 0 h 284"/>
                <a:gd name="T4" fmla="*/ 0 w 470"/>
                <a:gd name="T5" fmla="*/ 219 h 284"/>
                <a:gd name="T6" fmla="*/ 32 w 470"/>
                <a:gd name="T7" fmla="*/ 284 h 284"/>
                <a:gd name="T8" fmla="*/ 470 w 470"/>
                <a:gd name="T9" fmla="*/ 65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0" h="284">
                  <a:moveTo>
                    <a:pt x="470" y="65"/>
                  </a:moveTo>
                  <a:lnTo>
                    <a:pt x="438" y="0"/>
                  </a:lnTo>
                  <a:lnTo>
                    <a:pt x="0" y="219"/>
                  </a:lnTo>
                  <a:lnTo>
                    <a:pt x="32" y="284"/>
                  </a:lnTo>
                  <a:lnTo>
                    <a:pt x="470" y="65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53">
              <a:extLst>
                <a:ext uri="{FF2B5EF4-FFF2-40B4-BE49-F238E27FC236}">
                  <a16:creationId xmlns:a16="http://schemas.microsoft.com/office/drawing/2014/main" id="{EF510453-48C0-4AD3-97F0-AB1A7697A51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0" y="2058"/>
              <a:ext cx="471" cy="286"/>
            </a:xfrm>
            <a:custGeom>
              <a:avLst/>
              <a:gdLst>
                <a:gd name="T0" fmla="*/ 0 w 471"/>
                <a:gd name="T1" fmla="*/ 221 h 286"/>
                <a:gd name="T2" fmla="*/ 33 w 471"/>
                <a:gd name="T3" fmla="*/ 286 h 286"/>
                <a:gd name="T4" fmla="*/ 471 w 471"/>
                <a:gd name="T5" fmla="*/ 67 h 286"/>
                <a:gd name="T6" fmla="*/ 438 w 471"/>
                <a:gd name="T7" fmla="*/ 0 h 286"/>
                <a:gd name="T8" fmla="*/ 0 w 471"/>
                <a:gd name="T9" fmla="*/ 221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1" h="286">
                  <a:moveTo>
                    <a:pt x="0" y="221"/>
                  </a:moveTo>
                  <a:lnTo>
                    <a:pt x="33" y="286"/>
                  </a:lnTo>
                  <a:lnTo>
                    <a:pt x="471" y="67"/>
                  </a:lnTo>
                  <a:lnTo>
                    <a:pt x="438" y="0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54">
              <a:extLst>
                <a:ext uri="{FF2B5EF4-FFF2-40B4-BE49-F238E27FC236}">
                  <a16:creationId xmlns:a16="http://schemas.microsoft.com/office/drawing/2014/main" id="{5B0C47E0-7A98-48C1-BAAB-555092BB8B7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3" y="1886"/>
              <a:ext cx="473" cy="286"/>
            </a:xfrm>
            <a:custGeom>
              <a:avLst/>
              <a:gdLst>
                <a:gd name="T0" fmla="*/ 0 w 473"/>
                <a:gd name="T1" fmla="*/ 219 h 286"/>
                <a:gd name="T2" fmla="*/ 33 w 473"/>
                <a:gd name="T3" fmla="*/ 286 h 286"/>
                <a:gd name="T4" fmla="*/ 473 w 473"/>
                <a:gd name="T5" fmla="*/ 67 h 286"/>
                <a:gd name="T6" fmla="*/ 438 w 473"/>
                <a:gd name="T7" fmla="*/ 0 h 286"/>
                <a:gd name="T8" fmla="*/ 0 w 473"/>
                <a:gd name="T9" fmla="*/ 219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3" h="286">
                  <a:moveTo>
                    <a:pt x="0" y="219"/>
                  </a:moveTo>
                  <a:lnTo>
                    <a:pt x="33" y="286"/>
                  </a:lnTo>
                  <a:lnTo>
                    <a:pt x="473" y="67"/>
                  </a:lnTo>
                  <a:lnTo>
                    <a:pt x="438" y="0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55">
              <a:extLst>
                <a:ext uri="{FF2B5EF4-FFF2-40B4-BE49-F238E27FC236}">
                  <a16:creationId xmlns:a16="http://schemas.microsoft.com/office/drawing/2014/main" id="{95093FD9-3106-4E6B-8DE6-68D612439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196" y="1973"/>
              <a:ext cx="472" cy="284"/>
            </a:xfrm>
            <a:custGeom>
              <a:avLst/>
              <a:gdLst>
                <a:gd name="T0" fmla="*/ 0 w 472"/>
                <a:gd name="T1" fmla="*/ 219 h 284"/>
                <a:gd name="T2" fmla="*/ 32 w 472"/>
                <a:gd name="T3" fmla="*/ 284 h 284"/>
                <a:gd name="T4" fmla="*/ 472 w 472"/>
                <a:gd name="T5" fmla="*/ 65 h 284"/>
                <a:gd name="T6" fmla="*/ 440 w 472"/>
                <a:gd name="T7" fmla="*/ 0 h 284"/>
                <a:gd name="T8" fmla="*/ 0 w 472"/>
                <a:gd name="T9" fmla="*/ 21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284">
                  <a:moveTo>
                    <a:pt x="0" y="219"/>
                  </a:moveTo>
                  <a:lnTo>
                    <a:pt x="32" y="284"/>
                  </a:lnTo>
                  <a:lnTo>
                    <a:pt x="472" y="65"/>
                  </a:lnTo>
                  <a:lnTo>
                    <a:pt x="440" y="0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56">
              <a:extLst>
                <a:ext uri="{FF2B5EF4-FFF2-40B4-BE49-F238E27FC236}">
                  <a16:creationId xmlns:a16="http://schemas.microsoft.com/office/drawing/2014/main" id="{704DA229-0587-4FD3-BFF4-94814DE897B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3" y="1981"/>
              <a:ext cx="338" cy="388"/>
            </a:xfrm>
            <a:custGeom>
              <a:avLst/>
              <a:gdLst>
                <a:gd name="T0" fmla="*/ 318 w 338"/>
                <a:gd name="T1" fmla="*/ 0 h 388"/>
                <a:gd name="T2" fmla="*/ 244 w 338"/>
                <a:gd name="T3" fmla="*/ 67 h 388"/>
                <a:gd name="T4" fmla="*/ 274 w 338"/>
                <a:gd name="T5" fmla="*/ 77 h 388"/>
                <a:gd name="T6" fmla="*/ 246 w 338"/>
                <a:gd name="T7" fmla="*/ 159 h 388"/>
                <a:gd name="T8" fmla="*/ 154 w 338"/>
                <a:gd name="T9" fmla="*/ 127 h 388"/>
                <a:gd name="T10" fmla="*/ 102 w 338"/>
                <a:gd name="T11" fmla="*/ 286 h 388"/>
                <a:gd name="T12" fmla="*/ 27 w 338"/>
                <a:gd name="T13" fmla="*/ 261 h 388"/>
                <a:gd name="T14" fmla="*/ 0 w 338"/>
                <a:gd name="T15" fmla="*/ 346 h 388"/>
                <a:gd name="T16" fmla="*/ 22 w 338"/>
                <a:gd name="T17" fmla="*/ 388 h 388"/>
                <a:gd name="T18" fmla="*/ 50 w 338"/>
                <a:gd name="T19" fmla="*/ 303 h 388"/>
                <a:gd name="T20" fmla="*/ 124 w 338"/>
                <a:gd name="T21" fmla="*/ 328 h 388"/>
                <a:gd name="T22" fmla="*/ 177 w 338"/>
                <a:gd name="T23" fmla="*/ 169 h 388"/>
                <a:gd name="T24" fmla="*/ 269 w 338"/>
                <a:gd name="T25" fmla="*/ 201 h 388"/>
                <a:gd name="T26" fmla="*/ 306 w 338"/>
                <a:gd name="T27" fmla="*/ 87 h 388"/>
                <a:gd name="T28" fmla="*/ 338 w 338"/>
                <a:gd name="T29" fmla="*/ 97 h 388"/>
                <a:gd name="T30" fmla="*/ 318 w 338"/>
                <a:gd name="T31" fmla="*/ 0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8" h="388">
                  <a:moveTo>
                    <a:pt x="318" y="0"/>
                  </a:moveTo>
                  <a:lnTo>
                    <a:pt x="244" y="67"/>
                  </a:lnTo>
                  <a:lnTo>
                    <a:pt x="274" y="77"/>
                  </a:lnTo>
                  <a:lnTo>
                    <a:pt x="246" y="159"/>
                  </a:lnTo>
                  <a:lnTo>
                    <a:pt x="154" y="127"/>
                  </a:lnTo>
                  <a:lnTo>
                    <a:pt x="102" y="286"/>
                  </a:lnTo>
                  <a:lnTo>
                    <a:pt x="27" y="261"/>
                  </a:lnTo>
                  <a:lnTo>
                    <a:pt x="0" y="346"/>
                  </a:lnTo>
                  <a:lnTo>
                    <a:pt x="22" y="388"/>
                  </a:lnTo>
                  <a:lnTo>
                    <a:pt x="50" y="303"/>
                  </a:lnTo>
                  <a:lnTo>
                    <a:pt x="124" y="328"/>
                  </a:lnTo>
                  <a:lnTo>
                    <a:pt x="177" y="169"/>
                  </a:lnTo>
                  <a:lnTo>
                    <a:pt x="269" y="201"/>
                  </a:lnTo>
                  <a:lnTo>
                    <a:pt x="306" y="87"/>
                  </a:lnTo>
                  <a:lnTo>
                    <a:pt x="338" y="97"/>
                  </a:lnTo>
                  <a:lnTo>
                    <a:pt x="318" y="0"/>
                  </a:ln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57">
              <a:extLst>
                <a:ext uri="{FF2B5EF4-FFF2-40B4-BE49-F238E27FC236}">
                  <a16:creationId xmlns:a16="http://schemas.microsoft.com/office/drawing/2014/main" id="{9A2B9AF4-E29D-44F8-8012-562C8C0C1F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2" y="2237"/>
              <a:ext cx="344" cy="600"/>
            </a:xfrm>
            <a:custGeom>
              <a:avLst/>
              <a:gdLst>
                <a:gd name="T0" fmla="*/ 138 w 138"/>
                <a:gd name="T1" fmla="*/ 98 h 241"/>
                <a:gd name="T2" fmla="*/ 95 w 138"/>
                <a:gd name="T3" fmla="*/ 45 h 241"/>
                <a:gd name="T4" fmla="*/ 71 w 138"/>
                <a:gd name="T5" fmla="*/ 70 h 241"/>
                <a:gd name="T6" fmla="*/ 43 w 138"/>
                <a:gd name="T7" fmla="*/ 68 h 241"/>
                <a:gd name="T8" fmla="*/ 40 w 138"/>
                <a:gd name="T9" fmla="*/ 64 h 241"/>
                <a:gd name="T10" fmla="*/ 38 w 138"/>
                <a:gd name="T11" fmla="*/ 36 h 241"/>
                <a:gd name="T12" fmla="*/ 45 w 138"/>
                <a:gd name="T13" fmla="*/ 26 h 241"/>
                <a:gd name="T14" fmla="*/ 45 w 138"/>
                <a:gd name="T15" fmla="*/ 7 h 241"/>
                <a:gd name="T16" fmla="*/ 41 w 138"/>
                <a:gd name="T17" fmla="*/ 0 h 241"/>
                <a:gd name="T18" fmla="*/ 15 w 138"/>
                <a:gd name="T19" fmla="*/ 30 h 241"/>
                <a:gd name="T20" fmla="*/ 6 w 138"/>
                <a:gd name="T21" fmla="*/ 79 h 241"/>
                <a:gd name="T22" fmla="*/ 22 w 138"/>
                <a:gd name="T23" fmla="*/ 178 h 241"/>
                <a:gd name="T24" fmla="*/ 0 w 138"/>
                <a:gd name="T25" fmla="*/ 233 h 241"/>
                <a:gd name="T26" fmla="*/ 70 w 138"/>
                <a:gd name="T27" fmla="*/ 241 h 241"/>
                <a:gd name="T28" fmla="*/ 85 w 138"/>
                <a:gd name="T29" fmla="*/ 182 h 241"/>
                <a:gd name="T30" fmla="*/ 85 w 138"/>
                <a:gd name="T31" fmla="*/ 181 h 241"/>
                <a:gd name="T32" fmla="*/ 138 w 138"/>
                <a:gd name="T33" fmla="*/ 9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8" h="241">
                  <a:moveTo>
                    <a:pt x="138" y="98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63" y="78"/>
                    <a:pt x="50" y="77"/>
                    <a:pt x="43" y="68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9" y="20"/>
                    <a:pt x="50" y="12"/>
                    <a:pt x="45" y="7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22" y="178"/>
                    <a:pt x="22" y="178"/>
                    <a:pt x="22" y="178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70" y="241"/>
                    <a:pt x="70" y="241"/>
                    <a:pt x="70" y="241"/>
                  </a:cubicBezTo>
                  <a:cubicBezTo>
                    <a:pt x="85" y="182"/>
                    <a:pt x="85" y="182"/>
                    <a:pt x="85" y="182"/>
                  </a:cubicBezTo>
                  <a:cubicBezTo>
                    <a:pt x="85" y="181"/>
                    <a:pt x="85" y="181"/>
                    <a:pt x="85" y="181"/>
                  </a:cubicBezTo>
                  <a:lnTo>
                    <a:pt x="138" y="98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58">
              <a:extLst>
                <a:ext uri="{FF2B5EF4-FFF2-40B4-BE49-F238E27FC236}">
                  <a16:creationId xmlns:a16="http://schemas.microsoft.com/office/drawing/2014/main" id="{D9565EDC-A687-4FE4-B73F-FBB1DBC6806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69" y="2227"/>
              <a:ext cx="314" cy="508"/>
            </a:xfrm>
            <a:custGeom>
              <a:avLst/>
              <a:gdLst>
                <a:gd name="T0" fmla="*/ 125 w 126"/>
                <a:gd name="T1" fmla="*/ 57 h 204"/>
                <a:gd name="T2" fmla="*/ 123 w 126"/>
                <a:gd name="T3" fmla="*/ 57 h 204"/>
                <a:gd name="T4" fmla="*/ 116 w 126"/>
                <a:gd name="T5" fmla="*/ 59 h 204"/>
                <a:gd name="T6" fmla="*/ 123 w 126"/>
                <a:gd name="T7" fmla="*/ 37 h 204"/>
                <a:gd name="T8" fmla="*/ 123 w 126"/>
                <a:gd name="T9" fmla="*/ 35 h 204"/>
                <a:gd name="T10" fmla="*/ 123 w 126"/>
                <a:gd name="T11" fmla="*/ 10 h 204"/>
                <a:gd name="T12" fmla="*/ 120 w 126"/>
                <a:gd name="T13" fmla="*/ 10 h 204"/>
                <a:gd name="T14" fmla="*/ 109 w 126"/>
                <a:gd name="T15" fmla="*/ 19 h 204"/>
                <a:gd name="T16" fmla="*/ 106 w 126"/>
                <a:gd name="T17" fmla="*/ 35 h 204"/>
                <a:gd name="T18" fmla="*/ 97 w 126"/>
                <a:gd name="T19" fmla="*/ 56 h 204"/>
                <a:gd name="T20" fmla="*/ 85 w 126"/>
                <a:gd name="T21" fmla="*/ 68 h 204"/>
                <a:gd name="T22" fmla="*/ 97 w 126"/>
                <a:gd name="T23" fmla="*/ 50 h 204"/>
                <a:gd name="T24" fmla="*/ 98 w 126"/>
                <a:gd name="T25" fmla="*/ 46 h 204"/>
                <a:gd name="T26" fmla="*/ 102 w 126"/>
                <a:gd name="T27" fmla="*/ 11 h 204"/>
                <a:gd name="T28" fmla="*/ 102 w 126"/>
                <a:gd name="T29" fmla="*/ 7 h 204"/>
                <a:gd name="T30" fmla="*/ 101 w 126"/>
                <a:gd name="T31" fmla="*/ 0 h 204"/>
                <a:gd name="T32" fmla="*/ 82 w 126"/>
                <a:gd name="T33" fmla="*/ 9 h 204"/>
                <a:gd name="T34" fmla="*/ 76 w 126"/>
                <a:gd name="T35" fmla="*/ 38 h 204"/>
                <a:gd name="T36" fmla="*/ 70 w 126"/>
                <a:gd name="T37" fmla="*/ 46 h 204"/>
                <a:gd name="T38" fmla="*/ 71 w 126"/>
                <a:gd name="T39" fmla="*/ 23 h 204"/>
                <a:gd name="T40" fmla="*/ 69 w 126"/>
                <a:gd name="T41" fmla="*/ 16 h 204"/>
                <a:gd name="T42" fmla="*/ 46 w 126"/>
                <a:gd name="T43" fmla="*/ 28 h 204"/>
                <a:gd name="T44" fmla="*/ 48 w 126"/>
                <a:gd name="T45" fmla="*/ 30 h 204"/>
                <a:gd name="T46" fmla="*/ 44 w 126"/>
                <a:gd name="T47" fmla="*/ 53 h 204"/>
                <a:gd name="T48" fmla="*/ 48 w 126"/>
                <a:gd name="T49" fmla="*/ 58 h 204"/>
                <a:gd name="T50" fmla="*/ 47 w 126"/>
                <a:gd name="T51" fmla="*/ 73 h 204"/>
                <a:gd name="T52" fmla="*/ 30 w 126"/>
                <a:gd name="T53" fmla="*/ 89 h 204"/>
                <a:gd name="T54" fmla="*/ 14 w 126"/>
                <a:gd name="T55" fmla="*/ 125 h 204"/>
                <a:gd name="T56" fmla="*/ 13 w 126"/>
                <a:gd name="T57" fmla="*/ 156 h 204"/>
                <a:gd name="T58" fmla="*/ 12 w 126"/>
                <a:gd name="T59" fmla="*/ 165 h 204"/>
                <a:gd name="T60" fmla="*/ 0 w 126"/>
                <a:gd name="T61" fmla="*/ 195 h 204"/>
                <a:gd name="T62" fmla="*/ 4 w 126"/>
                <a:gd name="T63" fmla="*/ 200 h 204"/>
                <a:gd name="T64" fmla="*/ 33 w 126"/>
                <a:gd name="T65" fmla="*/ 204 h 204"/>
                <a:gd name="T66" fmla="*/ 38 w 126"/>
                <a:gd name="T67" fmla="*/ 186 h 204"/>
                <a:gd name="T68" fmla="*/ 87 w 126"/>
                <a:gd name="T69" fmla="*/ 110 h 204"/>
                <a:gd name="T70" fmla="*/ 109 w 126"/>
                <a:gd name="T71" fmla="*/ 101 h 204"/>
                <a:gd name="T72" fmla="*/ 112 w 126"/>
                <a:gd name="T73" fmla="*/ 99 h 204"/>
                <a:gd name="T74" fmla="*/ 125 w 126"/>
                <a:gd name="T75" fmla="*/ 80 h 204"/>
                <a:gd name="T76" fmla="*/ 126 w 126"/>
                <a:gd name="T77" fmla="*/ 76 h 204"/>
                <a:gd name="T78" fmla="*/ 125 w 126"/>
                <a:gd name="T79" fmla="*/ 57 h 204"/>
                <a:gd name="T80" fmla="*/ 111 w 126"/>
                <a:gd name="T81" fmla="*/ 75 h 204"/>
                <a:gd name="T82" fmla="*/ 99 w 126"/>
                <a:gd name="T83" fmla="*/ 87 h 204"/>
                <a:gd name="T84" fmla="*/ 94 w 126"/>
                <a:gd name="T85" fmla="*/ 88 h 204"/>
                <a:gd name="T86" fmla="*/ 112 w 126"/>
                <a:gd name="T87" fmla="*/ 71 h 204"/>
                <a:gd name="T88" fmla="*/ 111 w 126"/>
                <a:gd name="T89" fmla="*/ 7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6" h="204">
                  <a:moveTo>
                    <a:pt x="125" y="57"/>
                  </a:moveTo>
                  <a:cubicBezTo>
                    <a:pt x="123" y="57"/>
                    <a:pt x="123" y="57"/>
                    <a:pt x="123" y="57"/>
                  </a:cubicBezTo>
                  <a:cubicBezTo>
                    <a:pt x="121" y="57"/>
                    <a:pt x="118" y="58"/>
                    <a:pt x="116" y="59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6"/>
                    <a:pt x="123" y="36"/>
                    <a:pt x="123" y="35"/>
                  </a:cubicBezTo>
                  <a:cubicBezTo>
                    <a:pt x="123" y="10"/>
                    <a:pt x="123" y="10"/>
                    <a:pt x="123" y="10"/>
                  </a:cubicBezTo>
                  <a:cubicBezTo>
                    <a:pt x="120" y="10"/>
                    <a:pt x="120" y="10"/>
                    <a:pt x="120" y="10"/>
                  </a:cubicBezTo>
                  <a:cubicBezTo>
                    <a:pt x="115" y="10"/>
                    <a:pt x="110" y="13"/>
                    <a:pt x="109" y="19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97" y="50"/>
                    <a:pt x="97" y="50"/>
                    <a:pt x="97" y="50"/>
                  </a:cubicBezTo>
                  <a:cubicBezTo>
                    <a:pt x="97" y="49"/>
                    <a:pt x="98" y="47"/>
                    <a:pt x="98" y="46"/>
                  </a:cubicBezTo>
                  <a:cubicBezTo>
                    <a:pt x="102" y="11"/>
                    <a:pt x="102" y="11"/>
                    <a:pt x="102" y="11"/>
                  </a:cubicBezTo>
                  <a:cubicBezTo>
                    <a:pt x="102" y="10"/>
                    <a:pt x="102" y="8"/>
                    <a:pt x="102" y="7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0"/>
                    <a:pt x="70" y="18"/>
                    <a:pt x="69" y="16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51" y="62"/>
                    <a:pt x="51" y="69"/>
                    <a:pt x="47" y="73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0" y="99"/>
                    <a:pt x="15" y="112"/>
                    <a:pt x="14" y="125"/>
                  </a:cubicBezTo>
                  <a:cubicBezTo>
                    <a:pt x="13" y="156"/>
                    <a:pt x="13" y="156"/>
                    <a:pt x="13" y="156"/>
                  </a:cubicBezTo>
                  <a:cubicBezTo>
                    <a:pt x="13" y="159"/>
                    <a:pt x="13" y="162"/>
                    <a:pt x="12" y="165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4" y="200"/>
                    <a:pt x="4" y="200"/>
                    <a:pt x="4" y="200"/>
                  </a:cubicBezTo>
                  <a:cubicBezTo>
                    <a:pt x="33" y="204"/>
                    <a:pt x="33" y="204"/>
                    <a:pt x="33" y="204"/>
                  </a:cubicBezTo>
                  <a:cubicBezTo>
                    <a:pt x="38" y="186"/>
                    <a:pt x="38" y="186"/>
                    <a:pt x="38" y="186"/>
                  </a:cubicBezTo>
                  <a:cubicBezTo>
                    <a:pt x="87" y="110"/>
                    <a:pt x="87" y="110"/>
                    <a:pt x="87" y="110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110" y="101"/>
                    <a:pt x="111" y="100"/>
                    <a:pt x="112" y="99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5" y="79"/>
                    <a:pt x="126" y="77"/>
                    <a:pt x="126" y="76"/>
                  </a:cubicBezTo>
                  <a:lnTo>
                    <a:pt x="125" y="57"/>
                  </a:lnTo>
                  <a:close/>
                  <a:moveTo>
                    <a:pt x="111" y="75"/>
                  </a:moveTo>
                  <a:cubicBezTo>
                    <a:pt x="99" y="87"/>
                    <a:pt x="99" y="87"/>
                    <a:pt x="99" y="87"/>
                  </a:cubicBezTo>
                  <a:cubicBezTo>
                    <a:pt x="94" y="88"/>
                    <a:pt x="94" y="88"/>
                    <a:pt x="94" y="88"/>
                  </a:cubicBezTo>
                  <a:cubicBezTo>
                    <a:pt x="112" y="71"/>
                    <a:pt x="112" y="71"/>
                    <a:pt x="112" y="71"/>
                  </a:cubicBezTo>
                  <a:lnTo>
                    <a:pt x="111" y="75"/>
                  </a:lnTo>
                  <a:close/>
                </a:path>
              </a:pathLst>
            </a:custGeom>
            <a:solidFill>
              <a:srgbClr val="BA8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59">
              <a:extLst>
                <a:ext uri="{FF2B5EF4-FFF2-40B4-BE49-F238E27FC236}">
                  <a16:creationId xmlns:a16="http://schemas.microsoft.com/office/drawing/2014/main" id="{5F9BDED4-B80F-4D09-84DB-86D2168163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6" y="3018"/>
              <a:ext cx="515" cy="187"/>
            </a:xfrm>
            <a:custGeom>
              <a:avLst/>
              <a:gdLst>
                <a:gd name="T0" fmla="*/ 145 w 207"/>
                <a:gd name="T1" fmla="*/ 37 h 75"/>
                <a:gd name="T2" fmla="*/ 49 w 207"/>
                <a:gd name="T3" fmla="*/ 51 h 75"/>
                <a:gd name="T4" fmla="*/ 29 w 207"/>
                <a:gd name="T5" fmla="*/ 43 h 75"/>
                <a:gd name="T6" fmla="*/ 9 w 207"/>
                <a:gd name="T7" fmla="*/ 27 h 75"/>
                <a:gd name="T8" fmla="*/ 0 w 207"/>
                <a:gd name="T9" fmla="*/ 35 h 75"/>
                <a:gd name="T10" fmla="*/ 16 w 207"/>
                <a:gd name="T11" fmla="*/ 75 h 75"/>
                <a:gd name="T12" fmla="*/ 33 w 207"/>
                <a:gd name="T13" fmla="*/ 70 h 75"/>
                <a:gd name="T14" fmla="*/ 140 w 207"/>
                <a:gd name="T15" fmla="*/ 56 h 75"/>
                <a:gd name="T16" fmla="*/ 185 w 207"/>
                <a:gd name="T17" fmla="*/ 35 h 75"/>
                <a:gd name="T18" fmla="*/ 207 w 207"/>
                <a:gd name="T19" fmla="*/ 2 h 75"/>
                <a:gd name="T20" fmla="*/ 205 w 207"/>
                <a:gd name="T21" fmla="*/ 1 h 75"/>
                <a:gd name="T22" fmla="*/ 195 w 207"/>
                <a:gd name="T23" fmla="*/ 4 h 75"/>
                <a:gd name="T24" fmla="*/ 178 w 207"/>
                <a:gd name="T25" fmla="*/ 26 h 75"/>
                <a:gd name="T26" fmla="*/ 145 w 207"/>
                <a:gd name="T27" fmla="*/ 3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" h="75">
                  <a:moveTo>
                    <a:pt x="145" y="37"/>
                  </a:moveTo>
                  <a:cubicBezTo>
                    <a:pt x="145" y="37"/>
                    <a:pt x="105" y="43"/>
                    <a:pt x="49" y="51"/>
                  </a:cubicBezTo>
                  <a:cubicBezTo>
                    <a:pt x="41" y="52"/>
                    <a:pt x="34" y="49"/>
                    <a:pt x="29" y="43"/>
                  </a:cubicBezTo>
                  <a:cubicBezTo>
                    <a:pt x="21" y="33"/>
                    <a:pt x="11" y="27"/>
                    <a:pt x="9" y="27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85" y="35"/>
                    <a:pt x="185" y="35"/>
                    <a:pt x="185" y="35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5" y="1"/>
                    <a:pt x="205" y="1"/>
                    <a:pt x="205" y="1"/>
                  </a:cubicBezTo>
                  <a:cubicBezTo>
                    <a:pt x="202" y="0"/>
                    <a:pt x="198" y="1"/>
                    <a:pt x="195" y="4"/>
                  </a:cubicBezTo>
                  <a:cubicBezTo>
                    <a:pt x="178" y="26"/>
                    <a:pt x="178" y="26"/>
                    <a:pt x="178" y="26"/>
                  </a:cubicBezTo>
                  <a:lnTo>
                    <a:pt x="145" y="37"/>
                  </a:lnTo>
                  <a:close/>
                </a:path>
              </a:pathLst>
            </a:custGeom>
            <a:solidFill>
              <a:srgbClr val="E3C6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60">
              <a:extLst>
                <a:ext uri="{FF2B5EF4-FFF2-40B4-BE49-F238E27FC236}">
                  <a16:creationId xmlns:a16="http://schemas.microsoft.com/office/drawing/2014/main" id="{277F26F4-4C97-4393-B18F-1106A2B3706C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7" y="2882"/>
              <a:ext cx="137" cy="131"/>
            </a:xfrm>
            <a:custGeom>
              <a:avLst/>
              <a:gdLst>
                <a:gd name="T0" fmla="*/ 34 w 55"/>
                <a:gd name="T1" fmla="*/ 2 h 53"/>
                <a:gd name="T2" fmla="*/ 15 w 55"/>
                <a:gd name="T3" fmla="*/ 10 h 53"/>
                <a:gd name="T4" fmla="*/ 6 w 55"/>
                <a:gd name="T5" fmla="*/ 21 h 53"/>
                <a:gd name="T6" fmla="*/ 0 w 55"/>
                <a:gd name="T7" fmla="*/ 53 h 53"/>
                <a:gd name="T8" fmla="*/ 0 w 55"/>
                <a:gd name="T9" fmla="*/ 53 h 53"/>
                <a:gd name="T10" fmla="*/ 3 w 55"/>
                <a:gd name="T11" fmla="*/ 47 h 53"/>
                <a:gd name="T12" fmla="*/ 18 w 55"/>
                <a:gd name="T13" fmla="*/ 20 h 53"/>
                <a:gd name="T14" fmla="*/ 38 w 55"/>
                <a:gd name="T15" fmla="*/ 12 h 53"/>
                <a:gd name="T16" fmla="*/ 55 w 55"/>
                <a:gd name="T17" fmla="*/ 18 h 53"/>
                <a:gd name="T18" fmla="*/ 54 w 55"/>
                <a:gd name="T19" fmla="*/ 7 h 53"/>
                <a:gd name="T20" fmla="*/ 45 w 55"/>
                <a:gd name="T21" fmla="*/ 3 h 53"/>
                <a:gd name="T22" fmla="*/ 34 w 55"/>
                <a:gd name="T23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" h="53">
                  <a:moveTo>
                    <a:pt x="34" y="2"/>
                  </a:moveTo>
                  <a:cubicBezTo>
                    <a:pt x="15" y="10"/>
                    <a:pt x="15" y="10"/>
                    <a:pt x="15" y="10"/>
                  </a:cubicBezTo>
                  <a:cubicBezTo>
                    <a:pt x="11" y="12"/>
                    <a:pt x="7" y="16"/>
                    <a:pt x="6" y="21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" y="50"/>
                    <a:pt x="1" y="48"/>
                    <a:pt x="3" y="47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2" y="1"/>
                    <a:pt x="38" y="0"/>
                    <a:pt x="34" y="2"/>
                  </a:cubicBezTo>
                  <a:close/>
                </a:path>
              </a:pathLst>
            </a:custGeom>
            <a:solidFill>
              <a:srgbClr val="E3C6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61">
              <a:extLst>
                <a:ext uri="{FF2B5EF4-FFF2-40B4-BE49-F238E27FC236}">
                  <a16:creationId xmlns:a16="http://schemas.microsoft.com/office/drawing/2014/main" id="{614C5BA9-C5CA-4F42-8814-63CADFE64A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" y="3033"/>
              <a:ext cx="660" cy="282"/>
            </a:xfrm>
            <a:custGeom>
              <a:avLst/>
              <a:gdLst>
                <a:gd name="T0" fmla="*/ 225 w 265"/>
                <a:gd name="T1" fmla="*/ 0 h 113"/>
                <a:gd name="T2" fmla="*/ 265 w 265"/>
                <a:gd name="T3" fmla="*/ 77 h 113"/>
                <a:gd name="T4" fmla="*/ 194 w 265"/>
                <a:gd name="T5" fmla="*/ 113 h 113"/>
                <a:gd name="T6" fmla="*/ 0 w 265"/>
                <a:gd name="T7" fmla="*/ 113 h 113"/>
                <a:gd name="T8" fmla="*/ 225 w 265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5" h="113">
                  <a:moveTo>
                    <a:pt x="225" y="0"/>
                  </a:moveTo>
                  <a:cubicBezTo>
                    <a:pt x="225" y="0"/>
                    <a:pt x="262" y="30"/>
                    <a:pt x="265" y="77"/>
                  </a:cubicBezTo>
                  <a:cubicBezTo>
                    <a:pt x="222" y="99"/>
                    <a:pt x="194" y="113"/>
                    <a:pt x="194" y="113"/>
                  </a:cubicBezTo>
                  <a:cubicBezTo>
                    <a:pt x="0" y="113"/>
                    <a:pt x="0" y="113"/>
                    <a:pt x="0" y="113"/>
                  </a:cubicBezTo>
                  <a:lnTo>
                    <a:pt x="225" y="0"/>
                  </a:ln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62">
              <a:extLst>
                <a:ext uri="{FF2B5EF4-FFF2-40B4-BE49-F238E27FC236}">
                  <a16:creationId xmlns:a16="http://schemas.microsoft.com/office/drawing/2014/main" id="{63DF6BF7-05A0-4E0D-8535-2D48D26455C5}"/>
                </a:ext>
              </a:extLst>
            </p:cNvPr>
            <p:cNvSpPr>
              <a:spLocks/>
            </p:cNvSpPr>
            <p:nvPr/>
          </p:nvSpPr>
          <p:spPr bwMode="gray">
            <a:xfrm>
              <a:off x="5380" y="3143"/>
              <a:ext cx="296" cy="172"/>
            </a:xfrm>
            <a:custGeom>
              <a:avLst/>
              <a:gdLst>
                <a:gd name="T0" fmla="*/ 0 w 119"/>
                <a:gd name="T1" fmla="*/ 52 h 69"/>
                <a:gd name="T2" fmla="*/ 111 w 119"/>
                <a:gd name="T3" fmla="*/ 0 h 69"/>
                <a:gd name="T4" fmla="*/ 119 w 119"/>
                <a:gd name="T5" fmla="*/ 33 h 69"/>
                <a:gd name="T6" fmla="*/ 48 w 119"/>
                <a:gd name="T7" fmla="*/ 69 h 69"/>
                <a:gd name="T8" fmla="*/ 36 w 119"/>
                <a:gd name="T9" fmla="*/ 69 h 69"/>
                <a:gd name="T10" fmla="*/ 0 w 119"/>
                <a:gd name="T11" fmla="*/ 5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" h="69">
                  <a:moveTo>
                    <a:pt x="0" y="52"/>
                  </a:moveTo>
                  <a:cubicBezTo>
                    <a:pt x="111" y="0"/>
                    <a:pt x="111" y="0"/>
                    <a:pt x="111" y="0"/>
                  </a:cubicBezTo>
                  <a:cubicBezTo>
                    <a:pt x="111" y="0"/>
                    <a:pt x="119" y="13"/>
                    <a:pt x="119" y="33"/>
                  </a:cubicBezTo>
                  <a:cubicBezTo>
                    <a:pt x="83" y="51"/>
                    <a:pt x="48" y="69"/>
                    <a:pt x="48" y="69"/>
                  </a:cubicBezTo>
                  <a:cubicBezTo>
                    <a:pt x="36" y="69"/>
                    <a:pt x="36" y="69"/>
                    <a:pt x="36" y="69"/>
                  </a:cubicBezTo>
                  <a:lnTo>
                    <a:pt x="0" y="52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63">
              <a:extLst>
                <a:ext uri="{FF2B5EF4-FFF2-40B4-BE49-F238E27FC236}">
                  <a16:creationId xmlns:a16="http://schemas.microsoft.com/office/drawing/2014/main" id="{06D074F2-FB99-4A14-96E9-F81666D11E3C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2" y="2695"/>
              <a:ext cx="224" cy="134"/>
            </a:xfrm>
            <a:custGeom>
              <a:avLst/>
              <a:gdLst>
                <a:gd name="T0" fmla="*/ 83 w 90"/>
                <a:gd name="T1" fmla="*/ 41 h 54"/>
                <a:gd name="T2" fmla="*/ 90 w 90"/>
                <a:gd name="T3" fmla="*/ 10 h 54"/>
                <a:gd name="T4" fmla="*/ 88 w 90"/>
                <a:gd name="T5" fmla="*/ 9 h 54"/>
                <a:gd name="T6" fmla="*/ 14 w 90"/>
                <a:gd name="T7" fmla="*/ 5 h 54"/>
                <a:gd name="T8" fmla="*/ 14 w 90"/>
                <a:gd name="T9" fmla="*/ 5 h 54"/>
                <a:gd name="T10" fmla="*/ 0 w 90"/>
                <a:gd name="T11" fmla="*/ 41 h 54"/>
                <a:gd name="T12" fmla="*/ 41 w 90"/>
                <a:gd name="T13" fmla="*/ 54 h 54"/>
                <a:gd name="T14" fmla="*/ 83 w 90"/>
                <a:gd name="T15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54">
                  <a:moveTo>
                    <a:pt x="83" y="41"/>
                  </a:moveTo>
                  <a:cubicBezTo>
                    <a:pt x="90" y="10"/>
                    <a:pt x="90" y="10"/>
                    <a:pt x="90" y="10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64" y="2"/>
                    <a:pt x="38" y="0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41" y="54"/>
                    <a:pt x="41" y="54"/>
                    <a:pt x="41" y="54"/>
                  </a:cubicBezTo>
                  <a:lnTo>
                    <a:pt x="83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64">
              <a:extLst>
                <a:ext uri="{FF2B5EF4-FFF2-40B4-BE49-F238E27FC236}">
                  <a16:creationId xmlns:a16="http://schemas.microsoft.com/office/drawing/2014/main" id="{9227B2E9-3D65-451A-8BD4-968756B4F6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92" y="2705"/>
              <a:ext cx="84" cy="92"/>
            </a:xfrm>
            <a:custGeom>
              <a:avLst/>
              <a:gdLst>
                <a:gd name="T0" fmla="*/ 8 w 34"/>
                <a:gd name="T1" fmla="*/ 0 h 37"/>
                <a:gd name="T2" fmla="*/ 0 w 34"/>
                <a:gd name="T3" fmla="*/ 30 h 37"/>
                <a:gd name="T4" fmla="*/ 25 w 34"/>
                <a:gd name="T5" fmla="*/ 37 h 37"/>
                <a:gd name="T6" fmla="*/ 27 w 34"/>
                <a:gd name="T7" fmla="*/ 37 h 37"/>
                <a:gd name="T8" fmla="*/ 34 w 34"/>
                <a:gd name="T9" fmla="*/ 6 h 37"/>
                <a:gd name="T10" fmla="*/ 32 w 34"/>
                <a:gd name="T11" fmla="*/ 5 h 37"/>
                <a:gd name="T12" fmla="*/ 8 w 34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7">
                  <a:moveTo>
                    <a:pt x="8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4" y="3"/>
                    <a:pt x="16" y="1"/>
                    <a:pt x="8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65">
              <a:extLst>
                <a:ext uri="{FF2B5EF4-FFF2-40B4-BE49-F238E27FC236}">
                  <a16:creationId xmlns:a16="http://schemas.microsoft.com/office/drawing/2014/main" id="{470C24E7-3B8F-41C6-978D-934D1ADE85B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" y="2747"/>
              <a:ext cx="413" cy="568"/>
            </a:xfrm>
            <a:custGeom>
              <a:avLst/>
              <a:gdLst>
                <a:gd name="T0" fmla="*/ 70 w 166"/>
                <a:gd name="T1" fmla="*/ 15 h 228"/>
                <a:gd name="T2" fmla="*/ 70 w 166"/>
                <a:gd name="T3" fmla="*/ 15 h 228"/>
                <a:gd name="T4" fmla="*/ 166 w 166"/>
                <a:gd name="T5" fmla="*/ 19 h 228"/>
                <a:gd name="T6" fmla="*/ 121 w 166"/>
                <a:gd name="T7" fmla="*/ 228 h 228"/>
                <a:gd name="T8" fmla="*/ 0 w 166"/>
                <a:gd name="T9" fmla="*/ 228 h 228"/>
                <a:gd name="T10" fmla="*/ 70 w 166"/>
                <a:gd name="T11" fmla="*/ 1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228">
                  <a:moveTo>
                    <a:pt x="70" y="15"/>
                  </a:moveTo>
                  <a:cubicBezTo>
                    <a:pt x="70" y="15"/>
                    <a:pt x="70" y="15"/>
                    <a:pt x="70" y="15"/>
                  </a:cubicBezTo>
                  <a:cubicBezTo>
                    <a:pt x="101" y="0"/>
                    <a:pt x="135" y="4"/>
                    <a:pt x="166" y="19"/>
                  </a:cubicBezTo>
                  <a:cubicBezTo>
                    <a:pt x="121" y="228"/>
                    <a:pt x="121" y="228"/>
                    <a:pt x="121" y="228"/>
                  </a:cubicBezTo>
                  <a:cubicBezTo>
                    <a:pt x="0" y="228"/>
                    <a:pt x="0" y="228"/>
                    <a:pt x="0" y="228"/>
                  </a:cubicBezTo>
                  <a:lnTo>
                    <a:pt x="70" y="15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Oval 66">
              <a:extLst>
                <a:ext uri="{FF2B5EF4-FFF2-40B4-BE49-F238E27FC236}">
                  <a16:creationId xmlns:a16="http://schemas.microsoft.com/office/drawing/2014/main" id="{A06C5B47-4CCD-4B30-9C71-95B7C8DA3C8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60" y="2807"/>
              <a:ext cx="40" cy="37"/>
            </a:xfrm>
            <a:prstGeom prst="ellipse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67">
              <a:extLst>
                <a:ext uri="{FF2B5EF4-FFF2-40B4-BE49-F238E27FC236}">
                  <a16:creationId xmlns:a16="http://schemas.microsoft.com/office/drawing/2014/main" id="{89A23A6D-2CF9-430E-BBDC-8FDC3E0E5F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5" y="2762"/>
              <a:ext cx="246" cy="553"/>
            </a:xfrm>
            <a:custGeom>
              <a:avLst/>
              <a:gdLst>
                <a:gd name="T0" fmla="*/ 0 w 99"/>
                <a:gd name="T1" fmla="*/ 222 h 222"/>
                <a:gd name="T2" fmla="*/ 58 w 99"/>
                <a:gd name="T3" fmla="*/ 0 h 222"/>
                <a:gd name="T4" fmla="*/ 99 w 99"/>
                <a:gd name="T5" fmla="*/ 13 h 222"/>
                <a:gd name="T6" fmla="*/ 54 w 99"/>
                <a:gd name="T7" fmla="*/ 222 h 222"/>
                <a:gd name="T8" fmla="*/ 0 w 99"/>
                <a:gd name="T9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222">
                  <a:moveTo>
                    <a:pt x="0" y="222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81" y="2"/>
                    <a:pt x="99" y="13"/>
                  </a:cubicBezTo>
                  <a:cubicBezTo>
                    <a:pt x="87" y="64"/>
                    <a:pt x="54" y="222"/>
                    <a:pt x="54" y="222"/>
                  </a:cubicBezTo>
                  <a:lnTo>
                    <a:pt x="0" y="222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68">
              <a:extLst>
                <a:ext uri="{FF2B5EF4-FFF2-40B4-BE49-F238E27FC236}">
                  <a16:creationId xmlns:a16="http://schemas.microsoft.com/office/drawing/2014/main" id="{E22C7482-3915-4A2B-BAE4-9E50525518E7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3" y="1401"/>
              <a:ext cx="374" cy="734"/>
            </a:xfrm>
            <a:custGeom>
              <a:avLst/>
              <a:gdLst>
                <a:gd name="T0" fmla="*/ 150 w 150"/>
                <a:gd name="T1" fmla="*/ 4 h 295"/>
                <a:gd name="T2" fmla="*/ 142 w 150"/>
                <a:gd name="T3" fmla="*/ 0 h 295"/>
                <a:gd name="T4" fmla="*/ 85 w 150"/>
                <a:gd name="T5" fmla="*/ 0 h 295"/>
                <a:gd name="T6" fmla="*/ 54 w 150"/>
                <a:gd name="T7" fmla="*/ 101 h 295"/>
                <a:gd name="T8" fmla="*/ 9 w 150"/>
                <a:gd name="T9" fmla="*/ 195 h 295"/>
                <a:gd name="T10" fmla="*/ 7 w 150"/>
                <a:gd name="T11" fmla="*/ 200 h 295"/>
                <a:gd name="T12" fmla="*/ 3 w 150"/>
                <a:gd name="T13" fmla="*/ 232 h 295"/>
                <a:gd name="T14" fmla="*/ 5 w 150"/>
                <a:gd name="T15" fmla="*/ 242 h 295"/>
                <a:gd name="T16" fmla="*/ 17 w 150"/>
                <a:gd name="T17" fmla="*/ 249 h 295"/>
                <a:gd name="T18" fmla="*/ 22 w 150"/>
                <a:gd name="T19" fmla="*/ 247 h 295"/>
                <a:gd name="T20" fmla="*/ 28 w 150"/>
                <a:gd name="T21" fmla="*/ 251 h 295"/>
                <a:gd name="T22" fmla="*/ 34 w 150"/>
                <a:gd name="T23" fmla="*/ 251 h 295"/>
                <a:gd name="T24" fmla="*/ 38 w 150"/>
                <a:gd name="T25" fmla="*/ 246 h 295"/>
                <a:gd name="T26" fmla="*/ 40 w 150"/>
                <a:gd name="T27" fmla="*/ 272 h 295"/>
                <a:gd name="T28" fmla="*/ 40 w 150"/>
                <a:gd name="T29" fmla="*/ 272 h 295"/>
                <a:gd name="T30" fmla="*/ 44 w 150"/>
                <a:gd name="T31" fmla="*/ 278 h 295"/>
                <a:gd name="T32" fmla="*/ 73 w 150"/>
                <a:gd name="T33" fmla="*/ 294 h 295"/>
                <a:gd name="T34" fmla="*/ 77 w 150"/>
                <a:gd name="T35" fmla="*/ 295 h 295"/>
                <a:gd name="T36" fmla="*/ 100 w 150"/>
                <a:gd name="T37" fmla="*/ 295 h 295"/>
                <a:gd name="T38" fmla="*/ 100 w 150"/>
                <a:gd name="T39" fmla="*/ 295 h 295"/>
                <a:gd name="T40" fmla="*/ 100 w 150"/>
                <a:gd name="T41" fmla="*/ 295 h 295"/>
                <a:gd name="T42" fmla="*/ 100 w 150"/>
                <a:gd name="T43" fmla="*/ 294 h 295"/>
                <a:gd name="T44" fmla="*/ 95 w 150"/>
                <a:gd name="T45" fmla="*/ 282 h 295"/>
                <a:gd name="T46" fmla="*/ 88 w 150"/>
                <a:gd name="T47" fmla="*/ 279 h 295"/>
                <a:gd name="T48" fmla="*/ 80 w 150"/>
                <a:gd name="T49" fmla="*/ 277 h 295"/>
                <a:gd name="T50" fmla="*/ 76 w 150"/>
                <a:gd name="T51" fmla="*/ 276 h 295"/>
                <a:gd name="T52" fmla="*/ 62 w 150"/>
                <a:gd name="T53" fmla="*/ 261 h 295"/>
                <a:gd name="T54" fmla="*/ 62 w 150"/>
                <a:gd name="T55" fmla="*/ 245 h 295"/>
                <a:gd name="T56" fmla="*/ 62 w 150"/>
                <a:gd name="T57" fmla="*/ 239 h 295"/>
                <a:gd name="T58" fmla="*/ 68 w 150"/>
                <a:gd name="T59" fmla="*/ 231 h 295"/>
                <a:gd name="T60" fmla="*/ 68 w 150"/>
                <a:gd name="T61" fmla="*/ 231 h 295"/>
                <a:gd name="T62" fmla="*/ 80 w 150"/>
                <a:gd name="T63" fmla="*/ 215 h 295"/>
                <a:gd name="T64" fmla="*/ 107 w 150"/>
                <a:gd name="T65" fmla="*/ 213 h 295"/>
                <a:gd name="T66" fmla="*/ 111 w 150"/>
                <a:gd name="T67" fmla="*/ 216 h 295"/>
                <a:gd name="T68" fmla="*/ 115 w 150"/>
                <a:gd name="T69" fmla="*/ 234 h 295"/>
                <a:gd name="T70" fmla="*/ 142 w 150"/>
                <a:gd name="T71" fmla="*/ 221 h 295"/>
                <a:gd name="T72" fmla="*/ 143 w 150"/>
                <a:gd name="T73" fmla="*/ 197 h 295"/>
                <a:gd name="T74" fmla="*/ 116 w 150"/>
                <a:gd name="T75" fmla="*/ 106 h 295"/>
                <a:gd name="T76" fmla="*/ 150 w 150"/>
                <a:gd name="T77" fmla="*/ 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295">
                  <a:moveTo>
                    <a:pt x="150" y="4"/>
                  </a:moveTo>
                  <a:cubicBezTo>
                    <a:pt x="150" y="4"/>
                    <a:pt x="146" y="0"/>
                    <a:pt x="142" y="0"/>
                  </a:cubicBezTo>
                  <a:cubicBezTo>
                    <a:pt x="137" y="0"/>
                    <a:pt x="85" y="0"/>
                    <a:pt x="85" y="0"/>
                  </a:cubicBezTo>
                  <a:cubicBezTo>
                    <a:pt x="54" y="101"/>
                    <a:pt x="54" y="101"/>
                    <a:pt x="54" y="101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7" y="200"/>
                    <a:pt x="7" y="200"/>
                    <a:pt x="7" y="200"/>
                  </a:cubicBezTo>
                  <a:cubicBezTo>
                    <a:pt x="2" y="210"/>
                    <a:pt x="0" y="221"/>
                    <a:pt x="3" y="232"/>
                  </a:cubicBezTo>
                  <a:cubicBezTo>
                    <a:pt x="5" y="242"/>
                    <a:pt x="5" y="242"/>
                    <a:pt x="5" y="242"/>
                  </a:cubicBezTo>
                  <a:cubicBezTo>
                    <a:pt x="6" y="248"/>
                    <a:pt x="12" y="251"/>
                    <a:pt x="17" y="249"/>
                  </a:cubicBezTo>
                  <a:cubicBezTo>
                    <a:pt x="22" y="247"/>
                    <a:pt x="22" y="247"/>
                    <a:pt x="22" y="247"/>
                  </a:cubicBezTo>
                  <a:cubicBezTo>
                    <a:pt x="28" y="251"/>
                    <a:pt x="28" y="251"/>
                    <a:pt x="28" y="251"/>
                  </a:cubicBezTo>
                  <a:cubicBezTo>
                    <a:pt x="30" y="253"/>
                    <a:pt x="32" y="252"/>
                    <a:pt x="34" y="251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40" y="272"/>
                    <a:pt x="40" y="272"/>
                    <a:pt x="40" y="272"/>
                  </a:cubicBezTo>
                  <a:cubicBezTo>
                    <a:pt x="40" y="272"/>
                    <a:pt x="40" y="272"/>
                    <a:pt x="40" y="272"/>
                  </a:cubicBezTo>
                  <a:cubicBezTo>
                    <a:pt x="40" y="274"/>
                    <a:pt x="42" y="277"/>
                    <a:pt x="44" y="278"/>
                  </a:cubicBezTo>
                  <a:cubicBezTo>
                    <a:pt x="73" y="294"/>
                    <a:pt x="73" y="294"/>
                    <a:pt x="73" y="294"/>
                  </a:cubicBezTo>
                  <a:cubicBezTo>
                    <a:pt x="75" y="295"/>
                    <a:pt x="76" y="295"/>
                    <a:pt x="77" y="295"/>
                  </a:cubicBezTo>
                  <a:cubicBezTo>
                    <a:pt x="100" y="295"/>
                    <a:pt x="100" y="295"/>
                    <a:pt x="100" y="295"/>
                  </a:cubicBezTo>
                  <a:cubicBezTo>
                    <a:pt x="100" y="295"/>
                    <a:pt x="100" y="295"/>
                    <a:pt x="100" y="295"/>
                  </a:cubicBezTo>
                  <a:cubicBezTo>
                    <a:pt x="100" y="295"/>
                    <a:pt x="100" y="295"/>
                    <a:pt x="100" y="295"/>
                  </a:cubicBezTo>
                  <a:cubicBezTo>
                    <a:pt x="100" y="294"/>
                    <a:pt x="100" y="294"/>
                    <a:pt x="100" y="294"/>
                  </a:cubicBezTo>
                  <a:cubicBezTo>
                    <a:pt x="100" y="289"/>
                    <a:pt x="98" y="285"/>
                    <a:pt x="95" y="282"/>
                  </a:cubicBezTo>
                  <a:cubicBezTo>
                    <a:pt x="93" y="280"/>
                    <a:pt x="90" y="279"/>
                    <a:pt x="88" y="279"/>
                  </a:cubicBezTo>
                  <a:cubicBezTo>
                    <a:pt x="80" y="277"/>
                    <a:pt x="80" y="277"/>
                    <a:pt x="80" y="277"/>
                  </a:cubicBezTo>
                  <a:cubicBezTo>
                    <a:pt x="76" y="276"/>
                    <a:pt x="76" y="276"/>
                    <a:pt x="76" y="276"/>
                  </a:cubicBezTo>
                  <a:cubicBezTo>
                    <a:pt x="62" y="261"/>
                    <a:pt x="62" y="261"/>
                    <a:pt x="62" y="261"/>
                  </a:cubicBezTo>
                  <a:cubicBezTo>
                    <a:pt x="62" y="245"/>
                    <a:pt x="62" y="245"/>
                    <a:pt x="62" y="245"/>
                  </a:cubicBezTo>
                  <a:cubicBezTo>
                    <a:pt x="62" y="239"/>
                    <a:pt x="62" y="239"/>
                    <a:pt x="62" y="239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80" y="215"/>
                    <a:pt x="80" y="215"/>
                    <a:pt x="80" y="215"/>
                  </a:cubicBezTo>
                  <a:cubicBezTo>
                    <a:pt x="87" y="206"/>
                    <a:pt x="100" y="205"/>
                    <a:pt x="107" y="213"/>
                  </a:cubicBezTo>
                  <a:cubicBezTo>
                    <a:pt x="111" y="216"/>
                    <a:pt x="111" y="216"/>
                    <a:pt x="111" y="216"/>
                  </a:cubicBezTo>
                  <a:cubicBezTo>
                    <a:pt x="115" y="234"/>
                    <a:pt x="115" y="234"/>
                    <a:pt x="115" y="234"/>
                  </a:cubicBezTo>
                  <a:cubicBezTo>
                    <a:pt x="142" y="221"/>
                    <a:pt x="142" y="221"/>
                    <a:pt x="142" y="221"/>
                  </a:cubicBezTo>
                  <a:cubicBezTo>
                    <a:pt x="143" y="197"/>
                    <a:pt x="143" y="197"/>
                    <a:pt x="143" y="197"/>
                  </a:cubicBezTo>
                  <a:cubicBezTo>
                    <a:pt x="116" y="106"/>
                    <a:pt x="116" y="106"/>
                    <a:pt x="116" y="106"/>
                  </a:cubicBezTo>
                  <a:lnTo>
                    <a:pt x="150" y="4"/>
                  </a:lnTo>
                  <a:close/>
                </a:path>
              </a:pathLst>
            </a:custGeom>
            <a:solidFill>
              <a:srgbClr val="725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69">
              <a:extLst>
                <a:ext uri="{FF2B5EF4-FFF2-40B4-BE49-F238E27FC236}">
                  <a16:creationId xmlns:a16="http://schemas.microsoft.com/office/drawing/2014/main" id="{B8D12851-76EF-41FE-8881-E7AF97BC8AD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6" y="1038"/>
              <a:ext cx="430" cy="674"/>
            </a:xfrm>
            <a:custGeom>
              <a:avLst/>
              <a:gdLst>
                <a:gd name="T0" fmla="*/ 171 w 173"/>
                <a:gd name="T1" fmla="*/ 188 h 271"/>
                <a:gd name="T2" fmla="*/ 173 w 173"/>
                <a:gd name="T3" fmla="*/ 169 h 271"/>
                <a:gd name="T4" fmla="*/ 171 w 173"/>
                <a:gd name="T5" fmla="*/ 165 h 271"/>
                <a:gd name="T6" fmla="*/ 158 w 173"/>
                <a:gd name="T7" fmla="*/ 146 h 271"/>
                <a:gd name="T8" fmla="*/ 155 w 173"/>
                <a:gd name="T9" fmla="*/ 144 h 271"/>
                <a:gd name="T10" fmla="*/ 133 w 173"/>
                <a:gd name="T11" fmla="*/ 135 h 271"/>
                <a:gd name="T12" fmla="*/ 85 w 173"/>
                <a:gd name="T13" fmla="*/ 60 h 271"/>
                <a:gd name="T14" fmla="*/ 85 w 173"/>
                <a:gd name="T15" fmla="*/ 60 h 271"/>
                <a:gd name="T16" fmla="*/ 69 w 173"/>
                <a:gd name="T17" fmla="*/ 0 h 271"/>
                <a:gd name="T18" fmla="*/ 0 w 173"/>
                <a:gd name="T19" fmla="*/ 8 h 271"/>
                <a:gd name="T20" fmla="*/ 22 w 173"/>
                <a:gd name="T21" fmla="*/ 63 h 271"/>
                <a:gd name="T22" fmla="*/ 6 w 173"/>
                <a:gd name="T23" fmla="*/ 162 h 271"/>
                <a:gd name="T24" fmla="*/ 15 w 173"/>
                <a:gd name="T25" fmla="*/ 211 h 271"/>
                <a:gd name="T26" fmla="*/ 20 w 173"/>
                <a:gd name="T27" fmla="*/ 218 h 271"/>
                <a:gd name="T28" fmla="*/ 38 w 173"/>
                <a:gd name="T29" fmla="*/ 203 h 271"/>
                <a:gd name="T30" fmla="*/ 40 w 173"/>
                <a:gd name="T31" fmla="*/ 177 h 271"/>
                <a:gd name="T32" fmla="*/ 43 w 173"/>
                <a:gd name="T33" fmla="*/ 173 h 271"/>
                <a:gd name="T34" fmla="*/ 71 w 173"/>
                <a:gd name="T35" fmla="*/ 172 h 271"/>
                <a:gd name="T36" fmla="*/ 90 w 173"/>
                <a:gd name="T37" fmla="*/ 192 h 271"/>
                <a:gd name="T38" fmla="*/ 92 w 173"/>
                <a:gd name="T39" fmla="*/ 192 h 271"/>
                <a:gd name="T40" fmla="*/ 94 w 173"/>
                <a:gd name="T41" fmla="*/ 215 h 271"/>
                <a:gd name="T42" fmla="*/ 82 w 173"/>
                <a:gd name="T43" fmla="*/ 232 h 271"/>
                <a:gd name="T44" fmla="*/ 71 w 173"/>
                <a:gd name="T45" fmla="*/ 236 h 271"/>
                <a:gd name="T46" fmla="*/ 61 w 173"/>
                <a:gd name="T47" fmla="*/ 252 h 271"/>
                <a:gd name="T48" fmla="*/ 62 w 173"/>
                <a:gd name="T49" fmla="*/ 254 h 271"/>
                <a:gd name="T50" fmla="*/ 84 w 173"/>
                <a:gd name="T51" fmla="*/ 251 h 271"/>
                <a:gd name="T52" fmla="*/ 88 w 173"/>
                <a:gd name="T53" fmla="*/ 249 h 271"/>
                <a:gd name="T54" fmla="*/ 114 w 173"/>
                <a:gd name="T55" fmla="*/ 230 h 271"/>
                <a:gd name="T56" fmla="*/ 118 w 173"/>
                <a:gd name="T57" fmla="*/ 223 h 271"/>
                <a:gd name="T58" fmla="*/ 117 w 173"/>
                <a:gd name="T59" fmla="*/ 200 h 271"/>
                <a:gd name="T60" fmla="*/ 123 w 173"/>
                <a:gd name="T61" fmla="*/ 208 h 271"/>
                <a:gd name="T62" fmla="*/ 130 w 173"/>
                <a:gd name="T63" fmla="*/ 238 h 271"/>
                <a:gd name="T64" fmla="*/ 128 w 173"/>
                <a:gd name="T65" fmla="*/ 258 h 271"/>
                <a:gd name="T66" fmla="*/ 136 w 173"/>
                <a:gd name="T67" fmla="*/ 269 h 271"/>
                <a:gd name="T68" fmla="*/ 141 w 173"/>
                <a:gd name="T69" fmla="*/ 271 h 271"/>
                <a:gd name="T70" fmla="*/ 149 w 173"/>
                <a:gd name="T71" fmla="*/ 238 h 271"/>
                <a:gd name="T72" fmla="*/ 149 w 173"/>
                <a:gd name="T73" fmla="*/ 234 h 271"/>
                <a:gd name="T74" fmla="*/ 145 w 173"/>
                <a:gd name="T75" fmla="*/ 199 h 271"/>
                <a:gd name="T76" fmla="*/ 143 w 173"/>
                <a:gd name="T77" fmla="*/ 195 h 271"/>
                <a:gd name="T78" fmla="*/ 132 w 173"/>
                <a:gd name="T79" fmla="*/ 177 h 271"/>
                <a:gd name="T80" fmla="*/ 144 w 173"/>
                <a:gd name="T81" fmla="*/ 189 h 271"/>
                <a:gd name="T82" fmla="*/ 153 w 173"/>
                <a:gd name="T83" fmla="*/ 210 h 271"/>
                <a:gd name="T84" fmla="*/ 156 w 173"/>
                <a:gd name="T85" fmla="*/ 227 h 271"/>
                <a:gd name="T86" fmla="*/ 167 w 173"/>
                <a:gd name="T87" fmla="*/ 236 h 271"/>
                <a:gd name="T88" fmla="*/ 170 w 173"/>
                <a:gd name="T89" fmla="*/ 236 h 271"/>
                <a:gd name="T90" fmla="*/ 170 w 173"/>
                <a:gd name="T91" fmla="*/ 210 h 271"/>
                <a:gd name="T92" fmla="*/ 170 w 173"/>
                <a:gd name="T93" fmla="*/ 208 h 271"/>
                <a:gd name="T94" fmla="*/ 163 w 173"/>
                <a:gd name="T95" fmla="*/ 186 h 271"/>
                <a:gd name="T96" fmla="*/ 170 w 173"/>
                <a:gd name="T97" fmla="*/ 188 h 271"/>
                <a:gd name="T98" fmla="*/ 171 w 173"/>
                <a:gd name="T99" fmla="*/ 188 h 271"/>
                <a:gd name="T100" fmla="*/ 141 w 173"/>
                <a:gd name="T101" fmla="*/ 157 h 271"/>
                <a:gd name="T102" fmla="*/ 145 w 173"/>
                <a:gd name="T103" fmla="*/ 159 h 271"/>
                <a:gd name="T104" fmla="*/ 158 w 173"/>
                <a:gd name="T105" fmla="*/ 170 h 271"/>
                <a:gd name="T106" fmla="*/ 158 w 173"/>
                <a:gd name="T107" fmla="*/ 174 h 271"/>
                <a:gd name="T108" fmla="*/ 141 w 173"/>
                <a:gd name="T109" fmla="*/ 15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3" h="271">
                  <a:moveTo>
                    <a:pt x="171" y="188"/>
                  </a:moveTo>
                  <a:cubicBezTo>
                    <a:pt x="173" y="169"/>
                    <a:pt x="173" y="169"/>
                    <a:pt x="173" y="169"/>
                  </a:cubicBezTo>
                  <a:cubicBezTo>
                    <a:pt x="173" y="168"/>
                    <a:pt x="172" y="166"/>
                    <a:pt x="171" y="165"/>
                  </a:cubicBezTo>
                  <a:cubicBezTo>
                    <a:pt x="158" y="146"/>
                    <a:pt x="158" y="146"/>
                    <a:pt x="158" y="146"/>
                  </a:cubicBezTo>
                  <a:cubicBezTo>
                    <a:pt x="158" y="145"/>
                    <a:pt x="157" y="144"/>
                    <a:pt x="155" y="144"/>
                  </a:cubicBezTo>
                  <a:cubicBezTo>
                    <a:pt x="133" y="135"/>
                    <a:pt x="133" y="135"/>
                    <a:pt x="133" y="135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6" y="162"/>
                    <a:pt x="6" y="162"/>
                    <a:pt x="6" y="162"/>
                  </a:cubicBezTo>
                  <a:cubicBezTo>
                    <a:pt x="15" y="211"/>
                    <a:pt x="15" y="211"/>
                    <a:pt x="15" y="21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25" y="212"/>
                    <a:pt x="31" y="207"/>
                    <a:pt x="38" y="203"/>
                  </a:cubicBezTo>
                  <a:cubicBezTo>
                    <a:pt x="40" y="177"/>
                    <a:pt x="40" y="177"/>
                    <a:pt x="40" y="177"/>
                  </a:cubicBezTo>
                  <a:cubicBezTo>
                    <a:pt x="43" y="173"/>
                    <a:pt x="43" y="173"/>
                    <a:pt x="43" y="173"/>
                  </a:cubicBezTo>
                  <a:cubicBezTo>
                    <a:pt x="50" y="164"/>
                    <a:pt x="63" y="164"/>
                    <a:pt x="71" y="172"/>
                  </a:cubicBezTo>
                  <a:cubicBezTo>
                    <a:pt x="90" y="192"/>
                    <a:pt x="90" y="192"/>
                    <a:pt x="90" y="192"/>
                  </a:cubicBezTo>
                  <a:cubicBezTo>
                    <a:pt x="91" y="192"/>
                    <a:pt x="91" y="192"/>
                    <a:pt x="92" y="192"/>
                  </a:cubicBezTo>
                  <a:cubicBezTo>
                    <a:pt x="94" y="215"/>
                    <a:pt x="94" y="215"/>
                    <a:pt x="94" y="215"/>
                  </a:cubicBezTo>
                  <a:cubicBezTo>
                    <a:pt x="82" y="232"/>
                    <a:pt x="82" y="232"/>
                    <a:pt x="82" y="232"/>
                  </a:cubicBezTo>
                  <a:cubicBezTo>
                    <a:pt x="71" y="236"/>
                    <a:pt x="71" y="236"/>
                    <a:pt x="71" y="236"/>
                  </a:cubicBezTo>
                  <a:cubicBezTo>
                    <a:pt x="64" y="238"/>
                    <a:pt x="60" y="245"/>
                    <a:pt x="61" y="252"/>
                  </a:cubicBezTo>
                  <a:cubicBezTo>
                    <a:pt x="62" y="254"/>
                    <a:pt x="62" y="254"/>
                    <a:pt x="62" y="254"/>
                  </a:cubicBezTo>
                  <a:cubicBezTo>
                    <a:pt x="84" y="251"/>
                    <a:pt x="84" y="251"/>
                    <a:pt x="84" y="251"/>
                  </a:cubicBezTo>
                  <a:cubicBezTo>
                    <a:pt x="85" y="251"/>
                    <a:pt x="86" y="250"/>
                    <a:pt x="88" y="249"/>
                  </a:cubicBezTo>
                  <a:cubicBezTo>
                    <a:pt x="114" y="230"/>
                    <a:pt x="114" y="230"/>
                    <a:pt x="114" y="230"/>
                  </a:cubicBezTo>
                  <a:cubicBezTo>
                    <a:pt x="117" y="228"/>
                    <a:pt x="118" y="226"/>
                    <a:pt x="118" y="223"/>
                  </a:cubicBezTo>
                  <a:cubicBezTo>
                    <a:pt x="117" y="200"/>
                    <a:pt x="117" y="200"/>
                    <a:pt x="117" y="200"/>
                  </a:cubicBezTo>
                  <a:cubicBezTo>
                    <a:pt x="123" y="208"/>
                    <a:pt x="123" y="208"/>
                    <a:pt x="123" y="208"/>
                  </a:cubicBezTo>
                  <a:cubicBezTo>
                    <a:pt x="130" y="238"/>
                    <a:pt x="130" y="238"/>
                    <a:pt x="130" y="238"/>
                  </a:cubicBezTo>
                  <a:cubicBezTo>
                    <a:pt x="128" y="258"/>
                    <a:pt x="128" y="258"/>
                    <a:pt x="128" y="258"/>
                  </a:cubicBezTo>
                  <a:cubicBezTo>
                    <a:pt x="128" y="263"/>
                    <a:pt x="131" y="268"/>
                    <a:pt x="136" y="269"/>
                  </a:cubicBezTo>
                  <a:cubicBezTo>
                    <a:pt x="141" y="271"/>
                    <a:pt x="141" y="271"/>
                    <a:pt x="141" y="271"/>
                  </a:cubicBezTo>
                  <a:cubicBezTo>
                    <a:pt x="149" y="238"/>
                    <a:pt x="149" y="238"/>
                    <a:pt x="149" y="238"/>
                  </a:cubicBezTo>
                  <a:cubicBezTo>
                    <a:pt x="149" y="237"/>
                    <a:pt x="149" y="236"/>
                    <a:pt x="149" y="234"/>
                  </a:cubicBezTo>
                  <a:cubicBezTo>
                    <a:pt x="145" y="199"/>
                    <a:pt x="145" y="199"/>
                    <a:pt x="145" y="199"/>
                  </a:cubicBezTo>
                  <a:cubicBezTo>
                    <a:pt x="145" y="198"/>
                    <a:pt x="144" y="197"/>
                    <a:pt x="143" y="195"/>
                  </a:cubicBezTo>
                  <a:cubicBezTo>
                    <a:pt x="132" y="177"/>
                    <a:pt x="132" y="177"/>
                    <a:pt x="132" y="177"/>
                  </a:cubicBezTo>
                  <a:cubicBezTo>
                    <a:pt x="144" y="189"/>
                    <a:pt x="144" y="189"/>
                    <a:pt x="144" y="189"/>
                  </a:cubicBezTo>
                  <a:cubicBezTo>
                    <a:pt x="153" y="210"/>
                    <a:pt x="153" y="210"/>
                    <a:pt x="153" y="210"/>
                  </a:cubicBezTo>
                  <a:cubicBezTo>
                    <a:pt x="156" y="227"/>
                    <a:pt x="156" y="227"/>
                    <a:pt x="156" y="227"/>
                  </a:cubicBezTo>
                  <a:cubicBezTo>
                    <a:pt x="157" y="232"/>
                    <a:pt x="161" y="236"/>
                    <a:pt x="167" y="236"/>
                  </a:cubicBezTo>
                  <a:cubicBezTo>
                    <a:pt x="170" y="236"/>
                    <a:pt x="170" y="236"/>
                    <a:pt x="170" y="236"/>
                  </a:cubicBezTo>
                  <a:cubicBezTo>
                    <a:pt x="170" y="210"/>
                    <a:pt x="170" y="210"/>
                    <a:pt x="170" y="210"/>
                  </a:cubicBezTo>
                  <a:cubicBezTo>
                    <a:pt x="170" y="210"/>
                    <a:pt x="170" y="209"/>
                    <a:pt x="170" y="208"/>
                  </a:cubicBezTo>
                  <a:cubicBezTo>
                    <a:pt x="163" y="186"/>
                    <a:pt x="163" y="186"/>
                    <a:pt x="163" y="186"/>
                  </a:cubicBezTo>
                  <a:cubicBezTo>
                    <a:pt x="165" y="188"/>
                    <a:pt x="167" y="188"/>
                    <a:pt x="170" y="188"/>
                  </a:cubicBezTo>
                  <a:lnTo>
                    <a:pt x="171" y="188"/>
                  </a:lnTo>
                  <a:close/>
                  <a:moveTo>
                    <a:pt x="141" y="157"/>
                  </a:moveTo>
                  <a:cubicBezTo>
                    <a:pt x="145" y="159"/>
                    <a:pt x="145" y="159"/>
                    <a:pt x="145" y="159"/>
                  </a:cubicBezTo>
                  <a:cubicBezTo>
                    <a:pt x="158" y="170"/>
                    <a:pt x="158" y="170"/>
                    <a:pt x="158" y="170"/>
                  </a:cubicBezTo>
                  <a:cubicBezTo>
                    <a:pt x="158" y="174"/>
                    <a:pt x="158" y="174"/>
                    <a:pt x="158" y="174"/>
                  </a:cubicBezTo>
                  <a:lnTo>
                    <a:pt x="141" y="157"/>
                  </a:lnTo>
                  <a:close/>
                </a:path>
              </a:pathLst>
            </a:custGeom>
            <a:solidFill>
              <a:srgbClr val="8E56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70">
              <a:extLst>
                <a:ext uri="{FF2B5EF4-FFF2-40B4-BE49-F238E27FC236}">
                  <a16:creationId xmlns:a16="http://schemas.microsoft.com/office/drawing/2014/main" id="{852260DA-14DD-4662-8781-63B75E5BBC7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0" y="1132"/>
              <a:ext cx="297" cy="242"/>
            </a:xfrm>
            <a:custGeom>
              <a:avLst/>
              <a:gdLst>
                <a:gd name="T0" fmla="*/ 8 w 119"/>
                <a:gd name="T1" fmla="*/ 25 h 97"/>
                <a:gd name="T2" fmla="*/ 48 w 119"/>
                <a:gd name="T3" fmla="*/ 35 h 97"/>
                <a:gd name="T4" fmla="*/ 119 w 119"/>
                <a:gd name="T5" fmla="*/ 97 h 97"/>
                <a:gd name="T6" fmla="*/ 71 w 119"/>
                <a:gd name="T7" fmla="*/ 22 h 97"/>
                <a:gd name="T8" fmla="*/ 65 w 119"/>
                <a:gd name="T9" fmla="*/ 0 h 97"/>
                <a:gd name="T10" fmla="*/ 0 w 119"/>
                <a:gd name="T11" fmla="*/ 11 h 97"/>
                <a:gd name="T12" fmla="*/ 8 w 119"/>
                <a:gd name="T13" fmla="*/ 2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97">
                  <a:moveTo>
                    <a:pt x="8" y="25"/>
                  </a:moveTo>
                  <a:cubicBezTo>
                    <a:pt x="8" y="25"/>
                    <a:pt x="26" y="36"/>
                    <a:pt x="48" y="35"/>
                  </a:cubicBezTo>
                  <a:cubicBezTo>
                    <a:pt x="71" y="77"/>
                    <a:pt x="119" y="97"/>
                    <a:pt x="119" y="97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1"/>
                    <a:pt x="0" y="11"/>
                    <a:pt x="0" y="11"/>
                  </a:cubicBezTo>
                  <a:lnTo>
                    <a:pt x="8" y="25"/>
                  </a:lnTo>
                  <a:close/>
                </a:path>
              </a:pathLst>
            </a:custGeom>
            <a:solidFill>
              <a:srgbClr val="704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71">
              <a:extLst>
                <a:ext uri="{FF2B5EF4-FFF2-40B4-BE49-F238E27FC236}">
                  <a16:creationId xmlns:a16="http://schemas.microsoft.com/office/drawing/2014/main" id="{1B47E6F1-FAE5-43FE-AFA0-F9882445803F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5" y="1598"/>
              <a:ext cx="139" cy="72"/>
            </a:xfrm>
            <a:custGeom>
              <a:avLst/>
              <a:gdLst>
                <a:gd name="T0" fmla="*/ 52 w 56"/>
                <a:gd name="T1" fmla="*/ 2 h 29"/>
                <a:gd name="T2" fmla="*/ 37 w 56"/>
                <a:gd name="T3" fmla="*/ 4 h 29"/>
                <a:gd name="T4" fmla="*/ 30 w 56"/>
                <a:gd name="T5" fmla="*/ 10 h 29"/>
                <a:gd name="T6" fmla="*/ 19 w 56"/>
                <a:gd name="T7" fmla="*/ 12 h 29"/>
                <a:gd name="T8" fmla="*/ 12 w 56"/>
                <a:gd name="T9" fmla="*/ 11 h 29"/>
                <a:gd name="T10" fmla="*/ 11 w 56"/>
                <a:gd name="T11" fmla="*/ 11 h 29"/>
                <a:gd name="T12" fmla="*/ 1 w 56"/>
                <a:gd name="T13" fmla="*/ 27 h 29"/>
                <a:gd name="T14" fmla="*/ 2 w 56"/>
                <a:gd name="T15" fmla="*/ 29 h 29"/>
                <a:gd name="T16" fmla="*/ 2 w 56"/>
                <a:gd name="T17" fmla="*/ 29 h 29"/>
                <a:gd name="T18" fmla="*/ 24 w 56"/>
                <a:gd name="T19" fmla="*/ 26 h 29"/>
                <a:gd name="T20" fmla="*/ 28 w 56"/>
                <a:gd name="T21" fmla="*/ 24 h 29"/>
                <a:gd name="T22" fmla="*/ 54 w 56"/>
                <a:gd name="T23" fmla="*/ 5 h 29"/>
                <a:gd name="T24" fmla="*/ 56 w 56"/>
                <a:gd name="T25" fmla="*/ 3 h 29"/>
                <a:gd name="T26" fmla="*/ 52 w 56"/>
                <a:gd name="T27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29">
                  <a:moveTo>
                    <a:pt x="52" y="2"/>
                  </a:moveTo>
                  <a:cubicBezTo>
                    <a:pt x="47" y="0"/>
                    <a:pt x="41" y="1"/>
                    <a:pt x="37" y="4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7" y="12"/>
                    <a:pt x="23" y="13"/>
                    <a:pt x="19" y="12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4" y="13"/>
                    <a:pt x="0" y="20"/>
                    <a:pt x="1" y="27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5" y="26"/>
                    <a:pt x="26" y="25"/>
                    <a:pt x="28" y="24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5" y="4"/>
                    <a:pt x="56" y="4"/>
                    <a:pt x="56" y="3"/>
                  </a:cubicBezTo>
                  <a:lnTo>
                    <a:pt x="52" y="2"/>
                  </a:lnTo>
                  <a:close/>
                </a:path>
              </a:pathLst>
            </a:custGeom>
            <a:solidFill>
              <a:srgbClr val="704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72">
              <a:extLst>
                <a:ext uri="{FF2B5EF4-FFF2-40B4-BE49-F238E27FC236}">
                  <a16:creationId xmlns:a16="http://schemas.microsoft.com/office/drawing/2014/main" id="{0112BB47-229A-4A12-8C0B-EDB6306544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6" y="1045"/>
              <a:ext cx="221" cy="135"/>
            </a:xfrm>
            <a:custGeom>
              <a:avLst/>
              <a:gdLst>
                <a:gd name="T0" fmla="*/ 82 w 89"/>
                <a:gd name="T1" fmla="*/ 13 h 54"/>
                <a:gd name="T2" fmla="*/ 89 w 89"/>
                <a:gd name="T3" fmla="*/ 44 h 54"/>
                <a:gd name="T4" fmla="*/ 88 w 89"/>
                <a:gd name="T5" fmla="*/ 45 h 54"/>
                <a:gd name="T6" fmla="*/ 13 w 89"/>
                <a:gd name="T7" fmla="*/ 49 h 54"/>
                <a:gd name="T8" fmla="*/ 13 w 89"/>
                <a:gd name="T9" fmla="*/ 49 h 54"/>
                <a:gd name="T10" fmla="*/ 0 w 89"/>
                <a:gd name="T11" fmla="*/ 13 h 54"/>
                <a:gd name="T12" fmla="*/ 40 w 89"/>
                <a:gd name="T13" fmla="*/ 0 h 54"/>
                <a:gd name="T14" fmla="*/ 82 w 89"/>
                <a:gd name="T15" fmla="*/ 1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54">
                  <a:moveTo>
                    <a:pt x="82" y="13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64" y="52"/>
                    <a:pt x="38" y="54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82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73">
              <a:extLst>
                <a:ext uri="{FF2B5EF4-FFF2-40B4-BE49-F238E27FC236}">
                  <a16:creationId xmlns:a16="http://schemas.microsoft.com/office/drawing/2014/main" id="{26914887-086A-4EF9-9CBB-E9D8BADE413F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3" y="1060"/>
              <a:ext cx="154" cy="110"/>
            </a:xfrm>
            <a:custGeom>
              <a:avLst/>
              <a:gdLst>
                <a:gd name="T0" fmla="*/ 36 w 62"/>
                <a:gd name="T1" fmla="*/ 44 h 44"/>
                <a:gd name="T2" fmla="*/ 61 w 62"/>
                <a:gd name="T3" fmla="*/ 39 h 44"/>
                <a:gd name="T4" fmla="*/ 62 w 62"/>
                <a:gd name="T5" fmla="*/ 38 h 44"/>
                <a:gd name="T6" fmla="*/ 55 w 62"/>
                <a:gd name="T7" fmla="*/ 7 h 44"/>
                <a:gd name="T8" fmla="*/ 33 w 62"/>
                <a:gd name="T9" fmla="*/ 0 h 44"/>
                <a:gd name="T10" fmla="*/ 0 w 62"/>
                <a:gd name="T11" fmla="*/ 16 h 44"/>
                <a:gd name="T12" fmla="*/ 36 w 62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44">
                  <a:moveTo>
                    <a:pt x="36" y="44"/>
                  </a:moveTo>
                  <a:cubicBezTo>
                    <a:pt x="45" y="43"/>
                    <a:pt x="53" y="41"/>
                    <a:pt x="61" y="39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0" y="16"/>
                    <a:pt x="0" y="16"/>
                    <a:pt x="0" y="16"/>
                  </a:cubicBezTo>
                  <a:lnTo>
                    <a:pt x="36" y="44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74">
              <a:extLst>
                <a:ext uri="{FF2B5EF4-FFF2-40B4-BE49-F238E27FC236}">
                  <a16:creationId xmlns:a16="http://schemas.microsoft.com/office/drawing/2014/main" id="{45C60C43-6E77-45F0-BBB8-A948D8A112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1" y="712"/>
              <a:ext cx="366" cy="418"/>
            </a:xfrm>
            <a:custGeom>
              <a:avLst/>
              <a:gdLst>
                <a:gd name="T0" fmla="*/ 50 w 147"/>
                <a:gd name="T1" fmla="*/ 152 h 168"/>
                <a:gd name="T2" fmla="*/ 50 w 147"/>
                <a:gd name="T3" fmla="*/ 152 h 168"/>
                <a:gd name="T4" fmla="*/ 147 w 147"/>
                <a:gd name="T5" fmla="*/ 152 h 168"/>
                <a:gd name="T6" fmla="*/ 147 w 147"/>
                <a:gd name="T7" fmla="*/ 152 h 168"/>
                <a:gd name="T8" fmla="*/ 121 w 147"/>
                <a:gd name="T9" fmla="*/ 0 h 168"/>
                <a:gd name="T10" fmla="*/ 0 w 147"/>
                <a:gd name="T11" fmla="*/ 0 h 168"/>
                <a:gd name="T12" fmla="*/ 50 w 147"/>
                <a:gd name="T13" fmla="*/ 15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168">
                  <a:moveTo>
                    <a:pt x="50" y="152"/>
                  </a:moveTo>
                  <a:cubicBezTo>
                    <a:pt x="50" y="152"/>
                    <a:pt x="50" y="152"/>
                    <a:pt x="50" y="152"/>
                  </a:cubicBezTo>
                  <a:cubicBezTo>
                    <a:pt x="81" y="168"/>
                    <a:pt x="117" y="167"/>
                    <a:pt x="147" y="152"/>
                  </a:cubicBezTo>
                  <a:cubicBezTo>
                    <a:pt x="147" y="152"/>
                    <a:pt x="147" y="152"/>
                    <a:pt x="147" y="152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0" y="152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75">
              <a:extLst>
                <a:ext uri="{FF2B5EF4-FFF2-40B4-BE49-F238E27FC236}">
                  <a16:creationId xmlns:a16="http://schemas.microsoft.com/office/drawing/2014/main" id="{828D9260-CD7C-4681-84C8-48A984B4212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4" y="722"/>
              <a:ext cx="241" cy="398"/>
            </a:xfrm>
            <a:custGeom>
              <a:avLst/>
              <a:gdLst>
                <a:gd name="T0" fmla="*/ 84 w 97"/>
                <a:gd name="T1" fmla="*/ 0 h 160"/>
                <a:gd name="T2" fmla="*/ 0 w 97"/>
                <a:gd name="T3" fmla="*/ 0 h 160"/>
                <a:gd name="T4" fmla="*/ 49 w 97"/>
                <a:gd name="T5" fmla="*/ 148 h 160"/>
                <a:gd name="T6" fmla="*/ 49 w 97"/>
                <a:gd name="T7" fmla="*/ 148 h 160"/>
                <a:gd name="T8" fmla="*/ 97 w 97"/>
                <a:gd name="T9" fmla="*/ 160 h 160"/>
                <a:gd name="T10" fmla="*/ 84 w 97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" h="160">
                  <a:moveTo>
                    <a:pt x="8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64" y="156"/>
                    <a:pt x="81" y="160"/>
                    <a:pt x="97" y="160"/>
                  </a:cubicBezTo>
                  <a:lnTo>
                    <a:pt x="84" y="0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Oval 76">
              <a:extLst>
                <a:ext uri="{FF2B5EF4-FFF2-40B4-BE49-F238E27FC236}">
                  <a16:creationId xmlns:a16="http://schemas.microsoft.com/office/drawing/2014/main" id="{2EB37179-D0B6-4F37-A24C-5919C8EFBD9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93" y="1030"/>
              <a:ext cx="37" cy="38"/>
            </a:xfrm>
            <a:prstGeom prst="ellipse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77">
              <a:extLst>
                <a:ext uri="{FF2B5EF4-FFF2-40B4-BE49-F238E27FC236}">
                  <a16:creationId xmlns:a16="http://schemas.microsoft.com/office/drawing/2014/main" id="{72A26542-BC9D-4DB7-980B-20A38983AA5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5" y="1401"/>
              <a:ext cx="194" cy="562"/>
            </a:xfrm>
            <a:custGeom>
              <a:avLst/>
              <a:gdLst>
                <a:gd name="T0" fmla="*/ 45 w 78"/>
                <a:gd name="T1" fmla="*/ 213 h 226"/>
                <a:gd name="T2" fmla="*/ 45 w 78"/>
                <a:gd name="T3" fmla="*/ 226 h 226"/>
                <a:gd name="T4" fmla="*/ 57 w 78"/>
                <a:gd name="T5" fmla="*/ 221 h 226"/>
                <a:gd name="T6" fmla="*/ 58 w 78"/>
                <a:gd name="T7" fmla="*/ 197 h 226"/>
                <a:gd name="T8" fmla="*/ 31 w 78"/>
                <a:gd name="T9" fmla="*/ 106 h 226"/>
                <a:gd name="T10" fmla="*/ 78 w 78"/>
                <a:gd name="T11" fmla="*/ 0 h 226"/>
                <a:gd name="T12" fmla="*/ 0 w 78"/>
                <a:gd name="T13" fmla="*/ 0 h 226"/>
                <a:gd name="T14" fmla="*/ 22 w 78"/>
                <a:gd name="T15" fmla="*/ 27 h 226"/>
                <a:gd name="T16" fmla="*/ 24 w 78"/>
                <a:gd name="T17" fmla="*/ 34 h 226"/>
                <a:gd name="T18" fmla="*/ 6 w 78"/>
                <a:gd name="T19" fmla="*/ 83 h 226"/>
                <a:gd name="T20" fmla="*/ 15 w 78"/>
                <a:gd name="T21" fmla="*/ 153 h 226"/>
                <a:gd name="T22" fmla="*/ 42 w 78"/>
                <a:gd name="T23" fmla="*/ 199 h 226"/>
                <a:gd name="T24" fmla="*/ 45 w 78"/>
                <a:gd name="T25" fmla="*/ 213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226">
                  <a:moveTo>
                    <a:pt x="45" y="213"/>
                  </a:moveTo>
                  <a:cubicBezTo>
                    <a:pt x="45" y="226"/>
                    <a:pt x="45" y="226"/>
                    <a:pt x="45" y="226"/>
                  </a:cubicBezTo>
                  <a:cubicBezTo>
                    <a:pt x="57" y="221"/>
                    <a:pt x="57" y="221"/>
                    <a:pt x="57" y="221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4" y="29"/>
                    <a:pt x="25" y="32"/>
                    <a:pt x="24" y="34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1" y="107"/>
                    <a:pt x="4" y="131"/>
                    <a:pt x="15" y="153"/>
                  </a:cubicBezTo>
                  <a:cubicBezTo>
                    <a:pt x="42" y="199"/>
                    <a:pt x="42" y="199"/>
                    <a:pt x="42" y="199"/>
                  </a:cubicBezTo>
                  <a:cubicBezTo>
                    <a:pt x="44" y="203"/>
                    <a:pt x="45" y="208"/>
                    <a:pt x="45" y="213"/>
                  </a:cubicBezTo>
                  <a:close/>
                </a:path>
              </a:pathLst>
            </a:custGeom>
            <a:solidFill>
              <a:srgbClr val="66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78">
              <a:extLst>
                <a:ext uri="{FF2B5EF4-FFF2-40B4-BE49-F238E27FC236}">
                  <a16:creationId xmlns:a16="http://schemas.microsoft.com/office/drawing/2014/main" id="{B8933E45-EE33-4202-9FCC-1C3A3A93F46D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6" y="1958"/>
              <a:ext cx="246" cy="229"/>
            </a:xfrm>
            <a:custGeom>
              <a:avLst/>
              <a:gdLst>
                <a:gd name="T0" fmla="*/ 97 w 99"/>
                <a:gd name="T1" fmla="*/ 61 h 92"/>
                <a:gd name="T2" fmla="*/ 79 w 99"/>
                <a:gd name="T3" fmla="*/ 61 h 92"/>
                <a:gd name="T4" fmla="*/ 72 w 99"/>
                <a:gd name="T5" fmla="*/ 58 h 92"/>
                <a:gd name="T6" fmla="*/ 57 w 99"/>
                <a:gd name="T7" fmla="*/ 44 h 92"/>
                <a:gd name="T8" fmla="*/ 54 w 99"/>
                <a:gd name="T9" fmla="*/ 38 h 92"/>
                <a:gd name="T10" fmla="*/ 49 w 99"/>
                <a:gd name="T11" fmla="*/ 18 h 92"/>
                <a:gd name="T12" fmla="*/ 37 w 99"/>
                <a:gd name="T13" fmla="*/ 12 h 92"/>
                <a:gd name="T14" fmla="*/ 35 w 99"/>
                <a:gd name="T15" fmla="*/ 13 h 92"/>
                <a:gd name="T16" fmla="*/ 36 w 99"/>
                <a:gd name="T17" fmla="*/ 23 h 92"/>
                <a:gd name="T18" fmla="*/ 33 w 99"/>
                <a:gd name="T19" fmla="*/ 27 h 92"/>
                <a:gd name="T20" fmla="*/ 27 w 99"/>
                <a:gd name="T21" fmla="*/ 27 h 92"/>
                <a:gd name="T22" fmla="*/ 21 w 99"/>
                <a:gd name="T23" fmla="*/ 23 h 92"/>
                <a:gd name="T24" fmla="*/ 18 w 99"/>
                <a:gd name="T25" fmla="*/ 24 h 92"/>
                <a:gd name="T26" fmla="*/ 16 w 99"/>
                <a:gd name="T27" fmla="*/ 25 h 92"/>
                <a:gd name="T28" fmla="*/ 4 w 99"/>
                <a:gd name="T29" fmla="*/ 18 h 92"/>
                <a:gd name="T30" fmla="*/ 2 w 99"/>
                <a:gd name="T31" fmla="*/ 8 h 92"/>
                <a:gd name="T32" fmla="*/ 1 w 99"/>
                <a:gd name="T33" fmla="*/ 0 h 92"/>
                <a:gd name="T34" fmla="*/ 0 w 99"/>
                <a:gd name="T35" fmla="*/ 19 h 92"/>
                <a:gd name="T36" fmla="*/ 4 w 99"/>
                <a:gd name="T37" fmla="*/ 52 h 92"/>
                <a:gd name="T38" fmla="*/ 4 w 99"/>
                <a:gd name="T39" fmla="*/ 54 h 92"/>
                <a:gd name="T40" fmla="*/ 14 w 99"/>
                <a:gd name="T41" fmla="*/ 78 h 92"/>
                <a:gd name="T42" fmla="*/ 17 w 99"/>
                <a:gd name="T43" fmla="*/ 76 h 92"/>
                <a:gd name="T44" fmla="*/ 22 w 99"/>
                <a:gd name="T45" fmla="*/ 73 h 92"/>
                <a:gd name="T46" fmla="*/ 15 w 99"/>
                <a:gd name="T47" fmla="*/ 59 h 92"/>
                <a:gd name="T48" fmla="*/ 22 w 99"/>
                <a:gd name="T49" fmla="*/ 56 h 92"/>
                <a:gd name="T50" fmla="*/ 20 w 99"/>
                <a:gd name="T51" fmla="*/ 47 h 92"/>
                <a:gd name="T52" fmla="*/ 20 w 99"/>
                <a:gd name="T53" fmla="*/ 35 h 92"/>
                <a:gd name="T54" fmla="*/ 31 w 99"/>
                <a:gd name="T55" fmla="*/ 64 h 92"/>
                <a:gd name="T56" fmla="*/ 32 w 99"/>
                <a:gd name="T57" fmla="*/ 67 h 92"/>
                <a:gd name="T58" fmla="*/ 54 w 99"/>
                <a:gd name="T59" fmla="*/ 92 h 92"/>
                <a:gd name="T60" fmla="*/ 58 w 99"/>
                <a:gd name="T61" fmla="*/ 89 h 92"/>
                <a:gd name="T62" fmla="*/ 60 w 99"/>
                <a:gd name="T63" fmla="*/ 75 h 92"/>
                <a:gd name="T64" fmla="*/ 50 w 99"/>
                <a:gd name="T65" fmla="*/ 58 h 92"/>
                <a:gd name="T66" fmla="*/ 50 w 99"/>
                <a:gd name="T67" fmla="*/ 58 h 92"/>
                <a:gd name="T68" fmla="*/ 72 w 99"/>
                <a:gd name="T69" fmla="*/ 70 h 92"/>
                <a:gd name="T70" fmla="*/ 76 w 99"/>
                <a:gd name="T71" fmla="*/ 71 h 92"/>
                <a:gd name="T72" fmla="*/ 99 w 99"/>
                <a:gd name="T73" fmla="*/ 71 h 92"/>
                <a:gd name="T74" fmla="*/ 99 w 99"/>
                <a:gd name="T75" fmla="*/ 70 h 92"/>
                <a:gd name="T76" fmla="*/ 97 w 99"/>
                <a:gd name="T77" fmla="*/ 6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92">
                  <a:moveTo>
                    <a:pt x="97" y="61"/>
                  </a:moveTo>
                  <a:cubicBezTo>
                    <a:pt x="79" y="61"/>
                    <a:pt x="79" y="61"/>
                    <a:pt x="79" y="61"/>
                  </a:cubicBezTo>
                  <a:cubicBezTo>
                    <a:pt x="76" y="61"/>
                    <a:pt x="74" y="60"/>
                    <a:pt x="72" y="58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5" y="43"/>
                    <a:pt x="54" y="41"/>
                    <a:pt x="54" y="3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8" y="12"/>
                    <a:pt x="42" y="9"/>
                    <a:pt x="37" y="12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1" y="28"/>
                    <a:pt x="29" y="29"/>
                    <a:pt x="27" y="27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1" y="27"/>
                    <a:pt x="5" y="24"/>
                    <a:pt x="4" y="1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6"/>
                    <a:pt x="1" y="3"/>
                    <a:pt x="1" y="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3"/>
                    <a:pt x="4" y="54"/>
                    <a:pt x="4" y="54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17" y="76"/>
                    <a:pt x="17" y="76"/>
                    <a:pt x="17" y="76"/>
                  </a:cubicBezTo>
                  <a:cubicBezTo>
                    <a:pt x="19" y="75"/>
                    <a:pt x="21" y="74"/>
                    <a:pt x="22" y="73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5"/>
                    <a:pt x="32" y="66"/>
                    <a:pt x="32" y="67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62" y="85"/>
                    <a:pt x="63" y="80"/>
                    <a:pt x="60" y="75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4" y="71"/>
                    <a:pt x="75" y="71"/>
                    <a:pt x="76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67"/>
                    <a:pt x="98" y="64"/>
                    <a:pt x="97" y="61"/>
                  </a:cubicBezTo>
                  <a:close/>
                </a:path>
              </a:pathLst>
            </a:custGeom>
            <a:solidFill>
              <a:srgbClr val="66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79">
              <a:extLst>
                <a:ext uri="{FF2B5EF4-FFF2-40B4-BE49-F238E27FC236}">
                  <a16:creationId xmlns:a16="http://schemas.microsoft.com/office/drawing/2014/main" id="{47B3642E-6689-43AB-A094-5C828E9302EA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1" y="3088"/>
              <a:ext cx="269" cy="117"/>
            </a:xfrm>
            <a:custGeom>
              <a:avLst/>
              <a:gdLst>
                <a:gd name="T0" fmla="*/ 12 w 108"/>
                <a:gd name="T1" fmla="*/ 0 h 47"/>
                <a:gd name="T2" fmla="*/ 0 w 108"/>
                <a:gd name="T3" fmla="*/ 24 h 47"/>
                <a:gd name="T4" fmla="*/ 108 w 108"/>
                <a:gd name="T5" fmla="*/ 47 h 47"/>
                <a:gd name="T6" fmla="*/ 108 w 108"/>
                <a:gd name="T7" fmla="*/ 22 h 47"/>
                <a:gd name="T8" fmla="*/ 108 w 108"/>
                <a:gd name="T9" fmla="*/ 14 h 47"/>
                <a:gd name="T10" fmla="*/ 12 w 108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8" h="47">
                  <a:moveTo>
                    <a:pt x="12" y="0"/>
                  </a:moveTo>
                  <a:cubicBezTo>
                    <a:pt x="6" y="7"/>
                    <a:pt x="2" y="15"/>
                    <a:pt x="0" y="24"/>
                  </a:cubicBezTo>
                  <a:cubicBezTo>
                    <a:pt x="108" y="47"/>
                    <a:pt x="108" y="47"/>
                    <a:pt x="108" y="47"/>
                  </a:cubicBezTo>
                  <a:cubicBezTo>
                    <a:pt x="108" y="22"/>
                    <a:pt x="108" y="22"/>
                    <a:pt x="108" y="22"/>
                  </a:cubicBezTo>
                  <a:cubicBezTo>
                    <a:pt x="108" y="14"/>
                    <a:pt x="108" y="14"/>
                    <a:pt x="108" y="14"/>
                  </a:cubicBezTo>
                  <a:lnTo>
                    <a:pt x="12" y="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1" name="TextBox 330">
            <a:extLst>
              <a:ext uri="{FF2B5EF4-FFF2-40B4-BE49-F238E27FC236}">
                <a16:creationId xmlns:a16="http://schemas.microsoft.com/office/drawing/2014/main" id="{08553C3B-4CEF-48E4-9C20-5DD8F74A4D74}"/>
              </a:ext>
            </a:extLst>
          </p:cNvPr>
          <p:cNvSpPr txBox="1"/>
          <p:nvPr userDrawn="1"/>
        </p:nvSpPr>
        <p:spPr>
          <a:xfrm>
            <a:off x="585215" y="2972233"/>
            <a:ext cx="718074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defTabSz="932742">
              <a:lnSpc>
                <a:spcPct val="100000"/>
              </a:lnSpc>
              <a:spcBef>
                <a:spcPct val="0"/>
              </a:spcBef>
              <a:buNone/>
              <a:defRPr lang="en-US" sz="3600" b="1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Metrics</a:t>
            </a:r>
          </a:p>
        </p:txBody>
      </p:sp>
    </p:spTree>
    <p:extLst>
      <p:ext uri="{BB962C8B-B14F-4D97-AF65-F5344CB8AC3E}">
        <p14:creationId xmlns:p14="http://schemas.microsoft.com/office/powerpoint/2010/main" val="45832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_Questions_Title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TextBox 256">
            <a:extLst>
              <a:ext uri="{FF2B5EF4-FFF2-40B4-BE49-F238E27FC236}">
                <a16:creationId xmlns:a16="http://schemas.microsoft.com/office/drawing/2014/main" id="{BF224067-6F4F-4902-9708-D0162488C29B}"/>
              </a:ext>
            </a:extLst>
          </p:cNvPr>
          <p:cNvSpPr txBox="1"/>
          <p:nvPr userDrawn="1"/>
        </p:nvSpPr>
        <p:spPr>
          <a:xfrm>
            <a:off x="585215" y="2436344"/>
            <a:ext cx="7180745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defTabSz="932742">
              <a:lnSpc>
                <a:spcPct val="100000"/>
              </a:lnSpc>
              <a:spcBef>
                <a:spcPct val="0"/>
              </a:spcBef>
              <a:buNone/>
              <a:defRPr lang="en-US" sz="3600" b="1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Big questions and what</a:t>
            </a:r>
            <a:br>
              <a:rPr lang="en-US" dirty="0"/>
            </a:br>
            <a:r>
              <a:rPr lang="en-US" dirty="0"/>
              <a:t>we’re doing to solve them</a:t>
            </a: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BB647DD5-63F6-43D2-BE21-017BA9D59D9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6586538" y="1874838"/>
            <a:ext cx="5021262" cy="3113088"/>
            <a:chOff x="4149" y="1181"/>
            <a:chExt cx="3163" cy="1961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E388D604-B152-43D7-B99D-031965C95D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966" y="2206"/>
              <a:ext cx="927" cy="935"/>
            </a:xfrm>
            <a:custGeom>
              <a:avLst/>
              <a:gdLst>
                <a:gd name="T0" fmla="*/ 558 w 575"/>
                <a:gd name="T1" fmla="*/ 352 h 580"/>
                <a:gd name="T2" fmla="*/ 564 w 575"/>
                <a:gd name="T3" fmla="*/ 295 h 580"/>
                <a:gd name="T4" fmla="*/ 290 w 575"/>
                <a:gd name="T5" fmla="*/ 22 h 580"/>
                <a:gd name="T6" fmla="*/ 242 w 575"/>
                <a:gd name="T7" fmla="*/ 26 h 580"/>
                <a:gd name="T8" fmla="*/ 156 w 575"/>
                <a:gd name="T9" fmla="*/ 0 h 580"/>
                <a:gd name="T10" fmla="*/ 0 w 575"/>
                <a:gd name="T11" fmla="*/ 157 h 580"/>
                <a:gd name="T12" fmla="*/ 22 w 575"/>
                <a:gd name="T13" fmla="*/ 238 h 580"/>
                <a:gd name="T14" fmla="*/ 16 w 575"/>
                <a:gd name="T15" fmla="*/ 295 h 580"/>
                <a:gd name="T16" fmla="*/ 290 w 575"/>
                <a:gd name="T17" fmla="*/ 569 h 580"/>
                <a:gd name="T18" fmla="*/ 347 w 575"/>
                <a:gd name="T19" fmla="*/ 563 h 580"/>
                <a:gd name="T20" fmla="*/ 418 w 575"/>
                <a:gd name="T21" fmla="*/ 580 h 580"/>
                <a:gd name="T22" fmla="*/ 575 w 575"/>
                <a:gd name="T23" fmla="*/ 423 h 580"/>
                <a:gd name="T24" fmla="*/ 558 w 575"/>
                <a:gd name="T25" fmla="*/ 352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580">
                  <a:moveTo>
                    <a:pt x="558" y="352"/>
                  </a:moveTo>
                  <a:cubicBezTo>
                    <a:pt x="561" y="334"/>
                    <a:pt x="564" y="315"/>
                    <a:pt x="564" y="295"/>
                  </a:cubicBezTo>
                  <a:cubicBezTo>
                    <a:pt x="564" y="144"/>
                    <a:pt x="441" y="22"/>
                    <a:pt x="290" y="22"/>
                  </a:cubicBezTo>
                  <a:cubicBezTo>
                    <a:pt x="273" y="22"/>
                    <a:pt x="258" y="23"/>
                    <a:pt x="242" y="26"/>
                  </a:cubicBezTo>
                  <a:cubicBezTo>
                    <a:pt x="217" y="10"/>
                    <a:pt x="188" y="0"/>
                    <a:pt x="156" y="0"/>
                  </a:cubicBezTo>
                  <a:cubicBezTo>
                    <a:pt x="70" y="0"/>
                    <a:pt x="0" y="71"/>
                    <a:pt x="0" y="157"/>
                  </a:cubicBezTo>
                  <a:cubicBezTo>
                    <a:pt x="0" y="187"/>
                    <a:pt x="8" y="215"/>
                    <a:pt x="22" y="238"/>
                  </a:cubicBezTo>
                  <a:cubicBezTo>
                    <a:pt x="18" y="257"/>
                    <a:pt x="16" y="276"/>
                    <a:pt x="16" y="295"/>
                  </a:cubicBezTo>
                  <a:cubicBezTo>
                    <a:pt x="16" y="447"/>
                    <a:pt x="139" y="569"/>
                    <a:pt x="290" y="569"/>
                  </a:cubicBezTo>
                  <a:cubicBezTo>
                    <a:pt x="309" y="569"/>
                    <a:pt x="328" y="567"/>
                    <a:pt x="347" y="563"/>
                  </a:cubicBezTo>
                  <a:cubicBezTo>
                    <a:pt x="368" y="574"/>
                    <a:pt x="392" y="580"/>
                    <a:pt x="418" y="580"/>
                  </a:cubicBezTo>
                  <a:cubicBezTo>
                    <a:pt x="504" y="580"/>
                    <a:pt x="575" y="510"/>
                    <a:pt x="575" y="423"/>
                  </a:cubicBezTo>
                  <a:cubicBezTo>
                    <a:pt x="575" y="398"/>
                    <a:pt x="568" y="374"/>
                    <a:pt x="558" y="352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52E496B1-BE7F-45C2-80D0-09B5512E2C0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77" y="2891"/>
              <a:ext cx="135" cy="251"/>
            </a:xfrm>
            <a:custGeom>
              <a:avLst/>
              <a:gdLst>
                <a:gd name="T0" fmla="*/ 75 w 84"/>
                <a:gd name="T1" fmla="*/ 76 h 156"/>
                <a:gd name="T2" fmla="*/ 75 w 84"/>
                <a:gd name="T3" fmla="*/ 70 h 156"/>
                <a:gd name="T4" fmla="*/ 52 w 84"/>
                <a:gd name="T5" fmla="*/ 47 h 156"/>
                <a:gd name="T6" fmla="*/ 33 w 84"/>
                <a:gd name="T7" fmla="*/ 47 h 156"/>
                <a:gd name="T8" fmla="*/ 33 w 84"/>
                <a:gd name="T9" fmla="*/ 0 h 156"/>
                <a:gd name="T10" fmla="*/ 9 w 84"/>
                <a:gd name="T11" fmla="*/ 0 h 156"/>
                <a:gd name="T12" fmla="*/ 9 w 84"/>
                <a:gd name="T13" fmla="*/ 88 h 156"/>
                <a:gd name="T14" fmla="*/ 6 w 84"/>
                <a:gd name="T15" fmla="*/ 88 h 156"/>
                <a:gd name="T16" fmla="*/ 6 w 84"/>
                <a:gd name="T17" fmla="*/ 101 h 156"/>
                <a:gd name="T18" fmla="*/ 2 w 84"/>
                <a:gd name="T19" fmla="*/ 101 h 156"/>
                <a:gd name="T20" fmla="*/ 0 w 84"/>
                <a:gd name="T21" fmla="*/ 150 h 156"/>
                <a:gd name="T22" fmla="*/ 42 w 84"/>
                <a:gd name="T23" fmla="*/ 155 h 156"/>
                <a:gd name="T24" fmla="*/ 40 w 84"/>
                <a:gd name="T25" fmla="*/ 101 h 156"/>
                <a:gd name="T26" fmla="*/ 36 w 84"/>
                <a:gd name="T27" fmla="*/ 101 h 156"/>
                <a:gd name="T28" fmla="*/ 36 w 84"/>
                <a:gd name="T29" fmla="*/ 88 h 156"/>
                <a:gd name="T30" fmla="*/ 33 w 84"/>
                <a:gd name="T31" fmla="*/ 88 h 156"/>
                <a:gd name="T32" fmla="*/ 33 w 84"/>
                <a:gd name="T33" fmla="*/ 55 h 156"/>
                <a:gd name="T34" fmla="*/ 52 w 84"/>
                <a:gd name="T35" fmla="*/ 55 h 156"/>
                <a:gd name="T36" fmla="*/ 68 w 84"/>
                <a:gd name="T37" fmla="*/ 70 h 156"/>
                <a:gd name="T38" fmla="*/ 68 w 84"/>
                <a:gd name="T39" fmla="*/ 76 h 156"/>
                <a:gd name="T40" fmla="*/ 59 w 84"/>
                <a:gd name="T41" fmla="*/ 100 h 156"/>
                <a:gd name="T42" fmla="*/ 61 w 84"/>
                <a:gd name="T43" fmla="*/ 102 h 156"/>
                <a:gd name="T44" fmla="*/ 82 w 84"/>
                <a:gd name="T45" fmla="*/ 102 h 156"/>
                <a:gd name="T46" fmla="*/ 84 w 84"/>
                <a:gd name="T47" fmla="*/ 100 h 156"/>
                <a:gd name="T48" fmla="*/ 75 w 84"/>
                <a:gd name="T49" fmla="*/ 7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56">
                  <a:moveTo>
                    <a:pt x="75" y="76"/>
                  </a:moveTo>
                  <a:cubicBezTo>
                    <a:pt x="75" y="70"/>
                    <a:pt x="75" y="70"/>
                    <a:pt x="75" y="70"/>
                  </a:cubicBezTo>
                  <a:cubicBezTo>
                    <a:pt x="75" y="58"/>
                    <a:pt x="65" y="47"/>
                    <a:pt x="52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2" y="101"/>
                    <a:pt x="2" y="101"/>
                    <a:pt x="2" y="101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6" y="152"/>
                    <a:pt x="22" y="156"/>
                    <a:pt x="42" y="155"/>
                  </a:cubicBezTo>
                  <a:cubicBezTo>
                    <a:pt x="40" y="101"/>
                    <a:pt x="40" y="101"/>
                    <a:pt x="40" y="101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36" y="88"/>
                    <a:pt x="36" y="88"/>
                    <a:pt x="36" y="88"/>
                  </a:cubicBezTo>
                  <a:cubicBezTo>
                    <a:pt x="33" y="88"/>
                    <a:pt x="33" y="88"/>
                    <a:pt x="33" y="88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61" y="55"/>
                    <a:pt x="68" y="62"/>
                    <a:pt x="68" y="70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3" y="83"/>
                    <a:pt x="60" y="92"/>
                    <a:pt x="59" y="100"/>
                  </a:cubicBezTo>
                  <a:cubicBezTo>
                    <a:pt x="59" y="101"/>
                    <a:pt x="60" y="102"/>
                    <a:pt x="61" y="102"/>
                  </a:cubicBezTo>
                  <a:cubicBezTo>
                    <a:pt x="82" y="102"/>
                    <a:pt x="82" y="102"/>
                    <a:pt x="82" y="102"/>
                  </a:cubicBezTo>
                  <a:cubicBezTo>
                    <a:pt x="83" y="102"/>
                    <a:pt x="84" y="101"/>
                    <a:pt x="84" y="100"/>
                  </a:cubicBezTo>
                  <a:cubicBezTo>
                    <a:pt x="84" y="92"/>
                    <a:pt x="80" y="83"/>
                    <a:pt x="75" y="76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077AE738-B85D-430D-8151-B8C27CE25F8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04" y="2496"/>
              <a:ext cx="161" cy="284"/>
            </a:xfrm>
            <a:custGeom>
              <a:avLst/>
              <a:gdLst>
                <a:gd name="T0" fmla="*/ 142 w 161"/>
                <a:gd name="T1" fmla="*/ 0 h 284"/>
                <a:gd name="T2" fmla="*/ 95 w 161"/>
                <a:gd name="T3" fmla="*/ 181 h 284"/>
                <a:gd name="T4" fmla="*/ 0 w 161"/>
                <a:gd name="T5" fmla="*/ 245 h 284"/>
                <a:gd name="T6" fmla="*/ 18 w 161"/>
                <a:gd name="T7" fmla="*/ 284 h 284"/>
                <a:gd name="T8" fmla="*/ 157 w 161"/>
                <a:gd name="T9" fmla="*/ 227 h 284"/>
                <a:gd name="T10" fmla="*/ 161 w 161"/>
                <a:gd name="T11" fmla="*/ 19 h 284"/>
                <a:gd name="T12" fmla="*/ 142 w 161"/>
                <a:gd name="T1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1" h="284">
                  <a:moveTo>
                    <a:pt x="142" y="0"/>
                  </a:moveTo>
                  <a:lnTo>
                    <a:pt x="95" y="181"/>
                  </a:lnTo>
                  <a:lnTo>
                    <a:pt x="0" y="245"/>
                  </a:lnTo>
                  <a:lnTo>
                    <a:pt x="18" y="284"/>
                  </a:lnTo>
                  <a:lnTo>
                    <a:pt x="157" y="227"/>
                  </a:lnTo>
                  <a:lnTo>
                    <a:pt x="161" y="19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D8B0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85D2D30-68E4-4944-9EAA-754A01EC89F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19" y="2383"/>
              <a:ext cx="425" cy="537"/>
            </a:xfrm>
            <a:custGeom>
              <a:avLst/>
              <a:gdLst>
                <a:gd name="T0" fmla="*/ 230 w 264"/>
                <a:gd name="T1" fmla="*/ 252 h 333"/>
                <a:gd name="T2" fmla="*/ 253 w 264"/>
                <a:gd name="T3" fmla="*/ 35 h 333"/>
                <a:gd name="T4" fmla="*/ 246 w 264"/>
                <a:gd name="T5" fmla="*/ 2 h 333"/>
                <a:gd name="T6" fmla="*/ 185 w 264"/>
                <a:gd name="T7" fmla="*/ 5 h 333"/>
                <a:gd name="T8" fmla="*/ 131 w 264"/>
                <a:gd name="T9" fmla="*/ 5 h 333"/>
                <a:gd name="T10" fmla="*/ 79 w 264"/>
                <a:gd name="T11" fmla="*/ 1 h 333"/>
                <a:gd name="T12" fmla="*/ 50 w 264"/>
                <a:gd name="T13" fmla="*/ 26 h 333"/>
                <a:gd name="T14" fmla="*/ 0 w 264"/>
                <a:gd name="T15" fmla="*/ 333 h 333"/>
                <a:gd name="T16" fmla="*/ 216 w 264"/>
                <a:gd name="T17" fmla="*/ 333 h 333"/>
                <a:gd name="T18" fmla="*/ 246 w 264"/>
                <a:gd name="T19" fmla="*/ 286 h 333"/>
                <a:gd name="T20" fmla="*/ 230 w 264"/>
                <a:gd name="T21" fmla="*/ 252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4" h="333">
                  <a:moveTo>
                    <a:pt x="230" y="252"/>
                  </a:moveTo>
                  <a:cubicBezTo>
                    <a:pt x="253" y="35"/>
                    <a:pt x="253" y="35"/>
                    <a:pt x="253" y="35"/>
                  </a:cubicBezTo>
                  <a:cubicBezTo>
                    <a:pt x="253" y="31"/>
                    <a:pt x="264" y="0"/>
                    <a:pt x="246" y="2"/>
                  </a:cubicBezTo>
                  <a:cubicBezTo>
                    <a:pt x="185" y="5"/>
                    <a:pt x="185" y="5"/>
                    <a:pt x="185" y="5"/>
                  </a:cubicBezTo>
                  <a:cubicBezTo>
                    <a:pt x="167" y="6"/>
                    <a:pt x="149" y="6"/>
                    <a:pt x="131" y="5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64" y="1"/>
                    <a:pt x="52" y="11"/>
                    <a:pt x="50" y="26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216" y="333"/>
                    <a:pt x="216" y="333"/>
                    <a:pt x="216" y="333"/>
                  </a:cubicBezTo>
                  <a:cubicBezTo>
                    <a:pt x="240" y="333"/>
                    <a:pt x="256" y="308"/>
                    <a:pt x="246" y="286"/>
                  </a:cubicBezTo>
                  <a:lnTo>
                    <a:pt x="230" y="252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0418E243-7A01-4E44-8607-E59AE6D9B2D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93" y="2443"/>
              <a:ext cx="314" cy="19"/>
            </a:xfrm>
            <a:custGeom>
              <a:avLst/>
              <a:gdLst>
                <a:gd name="T0" fmla="*/ 85 w 195"/>
                <a:gd name="T1" fmla="*/ 11 h 12"/>
                <a:gd name="T2" fmla="*/ 0 w 195"/>
                <a:gd name="T3" fmla="*/ 6 h 12"/>
                <a:gd name="T4" fmla="*/ 1 w 195"/>
                <a:gd name="T5" fmla="*/ 0 h 12"/>
                <a:gd name="T6" fmla="*/ 195 w 195"/>
                <a:gd name="T7" fmla="*/ 0 h 12"/>
                <a:gd name="T8" fmla="*/ 195 w 195"/>
                <a:gd name="T9" fmla="*/ 6 h 12"/>
                <a:gd name="T10" fmla="*/ 85 w 195"/>
                <a:gd name="T11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5" h="12">
                  <a:moveTo>
                    <a:pt x="85" y="11"/>
                  </a:moveTo>
                  <a:cubicBezTo>
                    <a:pt x="57" y="11"/>
                    <a:pt x="26" y="10"/>
                    <a:pt x="0" y="6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78" y="12"/>
                    <a:pt x="193" y="0"/>
                    <a:pt x="195" y="0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4" y="6"/>
                    <a:pt x="143" y="11"/>
                    <a:pt x="85" y="11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DA784C1E-1AC1-4EF2-91E2-5EDDAB24382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72" y="2519"/>
              <a:ext cx="324" cy="17"/>
            </a:xfrm>
            <a:custGeom>
              <a:avLst/>
              <a:gdLst>
                <a:gd name="T0" fmla="*/ 87 w 201"/>
                <a:gd name="T1" fmla="*/ 11 h 11"/>
                <a:gd name="T2" fmla="*/ 0 w 201"/>
                <a:gd name="T3" fmla="*/ 6 h 11"/>
                <a:gd name="T4" fmla="*/ 1 w 201"/>
                <a:gd name="T5" fmla="*/ 0 h 11"/>
                <a:gd name="T6" fmla="*/ 200 w 201"/>
                <a:gd name="T7" fmla="*/ 0 h 11"/>
                <a:gd name="T8" fmla="*/ 201 w 201"/>
                <a:gd name="T9" fmla="*/ 6 h 11"/>
                <a:gd name="T10" fmla="*/ 87 w 201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1" h="11">
                  <a:moveTo>
                    <a:pt x="87" y="11"/>
                  </a:moveTo>
                  <a:cubicBezTo>
                    <a:pt x="57" y="11"/>
                    <a:pt x="26" y="10"/>
                    <a:pt x="0" y="6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77" y="11"/>
                    <a:pt x="199" y="0"/>
                    <a:pt x="200" y="0"/>
                  </a:cubicBezTo>
                  <a:cubicBezTo>
                    <a:pt x="201" y="6"/>
                    <a:pt x="201" y="6"/>
                    <a:pt x="201" y="6"/>
                  </a:cubicBezTo>
                  <a:cubicBezTo>
                    <a:pt x="200" y="6"/>
                    <a:pt x="146" y="11"/>
                    <a:pt x="87" y="11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073543C9-2EF7-4429-8ECD-C3CB342F634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4" y="2596"/>
              <a:ext cx="327" cy="18"/>
            </a:xfrm>
            <a:custGeom>
              <a:avLst/>
              <a:gdLst>
                <a:gd name="T0" fmla="*/ 87 w 203"/>
                <a:gd name="T1" fmla="*/ 11 h 11"/>
                <a:gd name="T2" fmla="*/ 0 w 203"/>
                <a:gd name="T3" fmla="*/ 6 h 11"/>
                <a:gd name="T4" fmla="*/ 1 w 203"/>
                <a:gd name="T5" fmla="*/ 0 h 11"/>
                <a:gd name="T6" fmla="*/ 202 w 203"/>
                <a:gd name="T7" fmla="*/ 0 h 11"/>
                <a:gd name="T8" fmla="*/ 203 w 203"/>
                <a:gd name="T9" fmla="*/ 6 h 11"/>
                <a:gd name="T10" fmla="*/ 87 w 203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3" h="11">
                  <a:moveTo>
                    <a:pt x="87" y="11"/>
                  </a:moveTo>
                  <a:cubicBezTo>
                    <a:pt x="57" y="11"/>
                    <a:pt x="26" y="10"/>
                    <a:pt x="0" y="6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78" y="11"/>
                    <a:pt x="201" y="0"/>
                    <a:pt x="202" y="0"/>
                  </a:cubicBezTo>
                  <a:cubicBezTo>
                    <a:pt x="203" y="6"/>
                    <a:pt x="203" y="6"/>
                    <a:pt x="203" y="6"/>
                  </a:cubicBezTo>
                  <a:cubicBezTo>
                    <a:pt x="202" y="6"/>
                    <a:pt x="147" y="11"/>
                    <a:pt x="87" y="11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E454EDB3-58CF-427D-87FE-B6F539E46B4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59" y="2680"/>
              <a:ext cx="326" cy="13"/>
            </a:xfrm>
            <a:custGeom>
              <a:avLst/>
              <a:gdLst>
                <a:gd name="T0" fmla="*/ 94 w 202"/>
                <a:gd name="T1" fmla="*/ 8 h 8"/>
                <a:gd name="T2" fmla="*/ 0 w 202"/>
                <a:gd name="T3" fmla="*/ 6 h 8"/>
                <a:gd name="T4" fmla="*/ 1 w 202"/>
                <a:gd name="T5" fmla="*/ 0 h 8"/>
                <a:gd name="T6" fmla="*/ 202 w 202"/>
                <a:gd name="T7" fmla="*/ 0 h 8"/>
                <a:gd name="T8" fmla="*/ 202 w 202"/>
                <a:gd name="T9" fmla="*/ 6 h 8"/>
                <a:gd name="T10" fmla="*/ 94 w 202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8">
                  <a:moveTo>
                    <a:pt x="94" y="8"/>
                  </a:moveTo>
                  <a:cubicBezTo>
                    <a:pt x="64" y="8"/>
                    <a:pt x="32" y="7"/>
                    <a:pt x="0" y="6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93" y="3"/>
                    <a:pt x="201" y="1"/>
                    <a:pt x="202" y="0"/>
                  </a:cubicBezTo>
                  <a:cubicBezTo>
                    <a:pt x="202" y="6"/>
                    <a:pt x="202" y="6"/>
                    <a:pt x="202" y="6"/>
                  </a:cubicBezTo>
                  <a:cubicBezTo>
                    <a:pt x="202" y="7"/>
                    <a:pt x="154" y="8"/>
                    <a:pt x="94" y="8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id="{EA0F0FCC-A0E1-46F0-9243-6C9D0700F5F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451" y="2768"/>
              <a:ext cx="324" cy="1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14">
              <a:extLst>
                <a:ext uri="{FF2B5EF4-FFF2-40B4-BE49-F238E27FC236}">
                  <a16:creationId xmlns:a16="http://schemas.microsoft.com/office/drawing/2014/main" id="{FAE18696-D2B2-4169-A337-8F499DA1913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465" y="2851"/>
              <a:ext cx="324" cy="9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EFE762AF-EE11-47AE-BE63-D93F83FE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09" y="2386"/>
              <a:ext cx="327" cy="569"/>
            </a:xfrm>
            <a:custGeom>
              <a:avLst/>
              <a:gdLst>
                <a:gd name="T0" fmla="*/ 192 w 203"/>
                <a:gd name="T1" fmla="*/ 275 h 353"/>
                <a:gd name="T2" fmla="*/ 186 w 203"/>
                <a:gd name="T3" fmla="*/ 197 h 353"/>
                <a:gd name="T4" fmla="*/ 203 w 203"/>
                <a:gd name="T5" fmla="*/ 11 h 353"/>
                <a:gd name="T6" fmla="*/ 195 w 203"/>
                <a:gd name="T7" fmla="*/ 1 h 353"/>
                <a:gd name="T8" fmla="*/ 183 w 203"/>
                <a:gd name="T9" fmla="*/ 9 h 353"/>
                <a:gd name="T10" fmla="*/ 164 w 203"/>
                <a:gd name="T11" fmla="*/ 184 h 353"/>
                <a:gd name="T12" fmla="*/ 170 w 203"/>
                <a:gd name="T13" fmla="*/ 290 h 353"/>
                <a:gd name="T14" fmla="*/ 174 w 203"/>
                <a:gd name="T15" fmla="*/ 305 h 353"/>
                <a:gd name="T16" fmla="*/ 162 w 203"/>
                <a:gd name="T17" fmla="*/ 320 h 353"/>
                <a:gd name="T18" fmla="*/ 63 w 203"/>
                <a:gd name="T19" fmla="*/ 320 h 353"/>
                <a:gd name="T20" fmla="*/ 63 w 203"/>
                <a:gd name="T21" fmla="*/ 320 h 353"/>
                <a:gd name="T22" fmla="*/ 58 w 203"/>
                <a:gd name="T23" fmla="*/ 320 h 353"/>
                <a:gd name="T24" fmla="*/ 5 w 203"/>
                <a:gd name="T25" fmla="*/ 335 h 353"/>
                <a:gd name="T26" fmla="*/ 4 w 203"/>
                <a:gd name="T27" fmla="*/ 349 h 353"/>
                <a:gd name="T28" fmla="*/ 4 w 203"/>
                <a:gd name="T29" fmla="*/ 349 h 353"/>
                <a:gd name="T30" fmla="*/ 15 w 203"/>
                <a:gd name="T31" fmla="*/ 351 h 353"/>
                <a:gd name="T32" fmla="*/ 20 w 203"/>
                <a:gd name="T33" fmla="*/ 349 h 353"/>
                <a:gd name="T34" fmla="*/ 54 w 203"/>
                <a:gd name="T35" fmla="*/ 341 h 353"/>
                <a:gd name="T36" fmla="*/ 63 w 203"/>
                <a:gd name="T37" fmla="*/ 341 h 353"/>
                <a:gd name="T38" fmla="*/ 115 w 203"/>
                <a:gd name="T39" fmla="*/ 341 h 353"/>
                <a:gd name="T40" fmla="*/ 167 w 203"/>
                <a:gd name="T41" fmla="*/ 341 h 353"/>
                <a:gd name="T42" fmla="*/ 198 w 203"/>
                <a:gd name="T43" fmla="*/ 303 h 353"/>
                <a:gd name="T44" fmla="*/ 192 w 203"/>
                <a:gd name="T45" fmla="*/ 2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3" h="353">
                  <a:moveTo>
                    <a:pt x="192" y="275"/>
                  </a:moveTo>
                  <a:cubicBezTo>
                    <a:pt x="186" y="249"/>
                    <a:pt x="184" y="223"/>
                    <a:pt x="186" y="197"/>
                  </a:cubicBezTo>
                  <a:cubicBezTo>
                    <a:pt x="203" y="11"/>
                    <a:pt x="203" y="11"/>
                    <a:pt x="203" y="11"/>
                  </a:cubicBezTo>
                  <a:cubicBezTo>
                    <a:pt x="203" y="6"/>
                    <a:pt x="200" y="1"/>
                    <a:pt x="195" y="1"/>
                  </a:cubicBezTo>
                  <a:cubicBezTo>
                    <a:pt x="189" y="0"/>
                    <a:pt x="184" y="3"/>
                    <a:pt x="183" y="9"/>
                  </a:cubicBezTo>
                  <a:cubicBezTo>
                    <a:pt x="164" y="184"/>
                    <a:pt x="164" y="184"/>
                    <a:pt x="164" y="184"/>
                  </a:cubicBezTo>
                  <a:cubicBezTo>
                    <a:pt x="160" y="220"/>
                    <a:pt x="162" y="256"/>
                    <a:pt x="170" y="290"/>
                  </a:cubicBezTo>
                  <a:cubicBezTo>
                    <a:pt x="174" y="305"/>
                    <a:pt x="174" y="305"/>
                    <a:pt x="174" y="305"/>
                  </a:cubicBezTo>
                  <a:cubicBezTo>
                    <a:pt x="176" y="313"/>
                    <a:pt x="170" y="321"/>
                    <a:pt x="162" y="320"/>
                  </a:cubicBezTo>
                  <a:cubicBezTo>
                    <a:pt x="63" y="320"/>
                    <a:pt x="63" y="320"/>
                    <a:pt x="63" y="320"/>
                  </a:cubicBezTo>
                  <a:cubicBezTo>
                    <a:pt x="63" y="320"/>
                    <a:pt x="63" y="320"/>
                    <a:pt x="63" y="320"/>
                  </a:cubicBezTo>
                  <a:cubicBezTo>
                    <a:pt x="58" y="320"/>
                    <a:pt x="58" y="320"/>
                    <a:pt x="58" y="320"/>
                  </a:cubicBezTo>
                  <a:cubicBezTo>
                    <a:pt x="39" y="320"/>
                    <a:pt x="21" y="325"/>
                    <a:pt x="5" y="335"/>
                  </a:cubicBezTo>
                  <a:cubicBezTo>
                    <a:pt x="1" y="338"/>
                    <a:pt x="0" y="345"/>
                    <a:pt x="4" y="349"/>
                  </a:cubicBezTo>
                  <a:cubicBezTo>
                    <a:pt x="4" y="349"/>
                    <a:pt x="4" y="349"/>
                    <a:pt x="4" y="349"/>
                  </a:cubicBezTo>
                  <a:cubicBezTo>
                    <a:pt x="7" y="352"/>
                    <a:pt x="11" y="353"/>
                    <a:pt x="15" y="351"/>
                  </a:cubicBezTo>
                  <a:cubicBezTo>
                    <a:pt x="20" y="349"/>
                    <a:pt x="20" y="349"/>
                    <a:pt x="20" y="349"/>
                  </a:cubicBezTo>
                  <a:cubicBezTo>
                    <a:pt x="31" y="343"/>
                    <a:pt x="42" y="341"/>
                    <a:pt x="54" y="341"/>
                  </a:cubicBezTo>
                  <a:cubicBezTo>
                    <a:pt x="63" y="341"/>
                    <a:pt x="63" y="341"/>
                    <a:pt x="63" y="341"/>
                  </a:cubicBezTo>
                  <a:cubicBezTo>
                    <a:pt x="115" y="341"/>
                    <a:pt x="115" y="341"/>
                    <a:pt x="115" y="341"/>
                  </a:cubicBezTo>
                  <a:cubicBezTo>
                    <a:pt x="167" y="341"/>
                    <a:pt x="167" y="341"/>
                    <a:pt x="167" y="341"/>
                  </a:cubicBezTo>
                  <a:cubicBezTo>
                    <a:pt x="187" y="341"/>
                    <a:pt x="202" y="322"/>
                    <a:pt x="198" y="303"/>
                  </a:cubicBezTo>
                  <a:lnTo>
                    <a:pt x="192" y="275"/>
                  </a:ln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Line 16">
              <a:extLst>
                <a:ext uri="{FF2B5EF4-FFF2-40B4-BE49-F238E27FC236}">
                  <a16:creationId xmlns:a16="http://schemas.microsoft.com/office/drawing/2014/main" id="{E60A8CFA-8499-4B8C-BEDC-18AAA3839EAC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6138" y="2639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Line 17">
              <a:extLst>
                <a:ext uri="{FF2B5EF4-FFF2-40B4-BE49-F238E27FC236}">
                  <a16:creationId xmlns:a16="http://schemas.microsoft.com/office/drawing/2014/main" id="{549AA923-5C76-42A2-82E7-72068AD0BFAA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6138" y="2639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A6E069F1-D1F4-41DA-8938-E4ADD621CB8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35" y="2733"/>
              <a:ext cx="442" cy="340"/>
            </a:xfrm>
            <a:custGeom>
              <a:avLst/>
              <a:gdLst>
                <a:gd name="T0" fmla="*/ 59 w 274"/>
                <a:gd name="T1" fmla="*/ 211 h 211"/>
                <a:gd name="T2" fmla="*/ 70 w 274"/>
                <a:gd name="T3" fmla="*/ 137 h 211"/>
                <a:gd name="T4" fmla="*/ 185 w 274"/>
                <a:gd name="T5" fmla="*/ 116 h 211"/>
                <a:gd name="T6" fmla="*/ 242 w 274"/>
                <a:gd name="T7" fmla="*/ 71 h 211"/>
                <a:gd name="T8" fmla="*/ 274 w 274"/>
                <a:gd name="T9" fmla="*/ 0 h 211"/>
                <a:gd name="T10" fmla="*/ 168 w 274"/>
                <a:gd name="T11" fmla="*/ 1 h 211"/>
                <a:gd name="T12" fmla="*/ 155 w 274"/>
                <a:gd name="T13" fmla="*/ 33 h 211"/>
                <a:gd name="T14" fmla="*/ 30 w 274"/>
                <a:gd name="T15" fmla="*/ 69 h 211"/>
                <a:gd name="T16" fmla="*/ 4 w 274"/>
                <a:gd name="T17" fmla="*/ 102 h 211"/>
                <a:gd name="T18" fmla="*/ 0 w 274"/>
                <a:gd name="T19" fmla="*/ 171 h 211"/>
                <a:gd name="T20" fmla="*/ 59 w 274"/>
                <a:gd name="T2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4" h="211">
                  <a:moveTo>
                    <a:pt x="59" y="211"/>
                  </a:moveTo>
                  <a:cubicBezTo>
                    <a:pt x="70" y="137"/>
                    <a:pt x="70" y="137"/>
                    <a:pt x="70" y="137"/>
                  </a:cubicBezTo>
                  <a:cubicBezTo>
                    <a:pt x="185" y="116"/>
                    <a:pt x="185" y="116"/>
                    <a:pt x="185" y="116"/>
                  </a:cubicBezTo>
                  <a:cubicBezTo>
                    <a:pt x="210" y="111"/>
                    <a:pt x="231" y="95"/>
                    <a:pt x="242" y="71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155" y="33"/>
                    <a:pt x="155" y="33"/>
                    <a:pt x="155" y="33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15" y="73"/>
                    <a:pt x="4" y="86"/>
                    <a:pt x="4" y="102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1"/>
                    <a:pt x="24" y="194"/>
                    <a:pt x="59" y="2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24C1B545-70C7-4465-B7C8-F70036C4AEF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78" y="2672"/>
              <a:ext cx="287" cy="453"/>
            </a:xfrm>
            <a:custGeom>
              <a:avLst/>
              <a:gdLst>
                <a:gd name="T0" fmla="*/ 122 w 178"/>
                <a:gd name="T1" fmla="*/ 0 h 281"/>
                <a:gd name="T2" fmla="*/ 72 w 178"/>
                <a:gd name="T3" fmla="*/ 88 h 281"/>
                <a:gd name="T4" fmla="*/ 31 w 178"/>
                <a:gd name="T5" fmla="*/ 107 h 281"/>
                <a:gd name="T6" fmla="*/ 6 w 178"/>
                <a:gd name="T7" fmla="*/ 161 h 281"/>
                <a:gd name="T8" fmla="*/ 40 w 178"/>
                <a:gd name="T9" fmla="*/ 280 h 281"/>
                <a:gd name="T10" fmla="*/ 91 w 178"/>
                <a:gd name="T11" fmla="*/ 274 h 281"/>
                <a:gd name="T12" fmla="*/ 106 w 178"/>
                <a:gd name="T13" fmla="*/ 281 h 281"/>
                <a:gd name="T14" fmla="*/ 91 w 178"/>
                <a:gd name="T15" fmla="*/ 168 h 281"/>
                <a:gd name="T16" fmla="*/ 104 w 178"/>
                <a:gd name="T17" fmla="*/ 150 h 281"/>
                <a:gd name="T18" fmla="*/ 143 w 178"/>
                <a:gd name="T19" fmla="*/ 146 h 281"/>
                <a:gd name="T20" fmla="*/ 177 w 178"/>
                <a:gd name="T21" fmla="*/ 111 h 281"/>
                <a:gd name="T22" fmla="*/ 178 w 178"/>
                <a:gd name="T23" fmla="*/ 94 h 281"/>
                <a:gd name="T24" fmla="*/ 122 w 178"/>
                <a:gd name="T25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" h="281">
                  <a:moveTo>
                    <a:pt x="122" y="0"/>
                  </a:moveTo>
                  <a:cubicBezTo>
                    <a:pt x="72" y="88"/>
                    <a:pt x="72" y="88"/>
                    <a:pt x="72" y="88"/>
                  </a:cubicBezTo>
                  <a:cubicBezTo>
                    <a:pt x="31" y="107"/>
                    <a:pt x="31" y="107"/>
                    <a:pt x="31" y="107"/>
                  </a:cubicBezTo>
                  <a:cubicBezTo>
                    <a:pt x="10" y="117"/>
                    <a:pt x="0" y="140"/>
                    <a:pt x="6" y="161"/>
                  </a:cubicBezTo>
                  <a:cubicBezTo>
                    <a:pt x="40" y="280"/>
                    <a:pt x="40" y="280"/>
                    <a:pt x="40" y="280"/>
                  </a:cubicBezTo>
                  <a:cubicBezTo>
                    <a:pt x="48" y="280"/>
                    <a:pt x="67" y="279"/>
                    <a:pt x="91" y="274"/>
                  </a:cubicBezTo>
                  <a:cubicBezTo>
                    <a:pt x="96" y="277"/>
                    <a:pt x="101" y="279"/>
                    <a:pt x="106" y="281"/>
                  </a:cubicBezTo>
                  <a:cubicBezTo>
                    <a:pt x="91" y="168"/>
                    <a:pt x="91" y="168"/>
                    <a:pt x="91" y="168"/>
                  </a:cubicBezTo>
                  <a:cubicBezTo>
                    <a:pt x="89" y="159"/>
                    <a:pt x="96" y="151"/>
                    <a:pt x="104" y="150"/>
                  </a:cubicBezTo>
                  <a:cubicBezTo>
                    <a:pt x="143" y="146"/>
                    <a:pt x="143" y="146"/>
                    <a:pt x="143" y="146"/>
                  </a:cubicBezTo>
                  <a:cubicBezTo>
                    <a:pt x="162" y="144"/>
                    <a:pt x="176" y="129"/>
                    <a:pt x="177" y="111"/>
                  </a:cubicBezTo>
                  <a:cubicBezTo>
                    <a:pt x="178" y="94"/>
                    <a:pt x="178" y="94"/>
                    <a:pt x="178" y="94"/>
                  </a:cubicBezTo>
                  <a:lnTo>
                    <a:pt x="122" y="0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0">
              <a:extLst>
                <a:ext uri="{FF2B5EF4-FFF2-40B4-BE49-F238E27FC236}">
                  <a16:creationId xmlns:a16="http://schemas.microsoft.com/office/drawing/2014/main" id="{0F00BAF0-179F-4E8D-AA88-675183FFC1D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64" y="2385"/>
              <a:ext cx="359" cy="482"/>
            </a:xfrm>
            <a:custGeom>
              <a:avLst/>
              <a:gdLst>
                <a:gd name="T0" fmla="*/ 71 w 223"/>
                <a:gd name="T1" fmla="*/ 14 h 299"/>
                <a:gd name="T2" fmla="*/ 117 w 223"/>
                <a:gd name="T3" fmla="*/ 6 h 299"/>
                <a:gd name="T4" fmla="*/ 143 w 223"/>
                <a:gd name="T5" fmla="*/ 1 h 299"/>
                <a:gd name="T6" fmla="*/ 217 w 223"/>
                <a:gd name="T7" fmla="*/ 93 h 299"/>
                <a:gd name="T8" fmla="*/ 187 w 223"/>
                <a:gd name="T9" fmla="*/ 299 h 299"/>
                <a:gd name="T10" fmla="*/ 183 w 223"/>
                <a:gd name="T11" fmla="*/ 297 h 299"/>
                <a:gd name="T12" fmla="*/ 24 w 223"/>
                <a:gd name="T13" fmla="*/ 243 h 299"/>
                <a:gd name="T14" fmla="*/ 0 w 223"/>
                <a:gd name="T15" fmla="*/ 244 h 299"/>
                <a:gd name="T16" fmla="*/ 37 w 223"/>
                <a:gd name="T17" fmla="*/ 171 h 299"/>
                <a:gd name="T18" fmla="*/ 71 w 223"/>
                <a:gd name="T19" fmla="*/ 14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3" h="299">
                  <a:moveTo>
                    <a:pt x="71" y="14"/>
                  </a:moveTo>
                  <a:cubicBezTo>
                    <a:pt x="92" y="0"/>
                    <a:pt x="117" y="6"/>
                    <a:pt x="117" y="6"/>
                  </a:cubicBezTo>
                  <a:cubicBezTo>
                    <a:pt x="143" y="1"/>
                    <a:pt x="143" y="1"/>
                    <a:pt x="143" y="1"/>
                  </a:cubicBezTo>
                  <a:cubicBezTo>
                    <a:pt x="191" y="6"/>
                    <a:pt x="223" y="51"/>
                    <a:pt x="217" y="93"/>
                  </a:cubicBezTo>
                  <a:cubicBezTo>
                    <a:pt x="187" y="299"/>
                    <a:pt x="187" y="299"/>
                    <a:pt x="187" y="299"/>
                  </a:cubicBezTo>
                  <a:cubicBezTo>
                    <a:pt x="183" y="297"/>
                    <a:pt x="183" y="297"/>
                    <a:pt x="183" y="297"/>
                  </a:cubicBezTo>
                  <a:cubicBezTo>
                    <a:pt x="138" y="260"/>
                    <a:pt x="82" y="242"/>
                    <a:pt x="24" y="243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37" y="171"/>
                    <a:pt x="37" y="171"/>
                    <a:pt x="37" y="171"/>
                  </a:cubicBezTo>
                  <a:cubicBezTo>
                    <a:pt x="51" y="134"/>
                    <a:pt x="26" y="45"/>
                    <a:pt x="71" y="14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1">
              <a:extLst>
                <a:ext uri="{FF2B5EF4-FFF2-40B4-BE49-F238E27FC236}">
                  <a16:creationId xmlns:a16="http://schemas.microsoft.com/office/drawing/2014/main" id="{7E0D61E0-4420-44CE-BFAF-D39048802E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91" y="2538"/>
              <a:ext cx="323" cy="293"/>
            </a:xfrm>
            <a:custGeom>
              <a:avLst/>
              <a:gdLst>
                <a:gd name="T0" fmla="*/ 193 w 200"/>
                <a:gd name="T1" fmla="*/ 0 h 182"/>
                <a:gd name="T2" fmla="*/ 130 w 200"/>
                <a:gd name="T3" fmla="*/ 0 h 182"/>
                <a:gd name="T4" fmla="*/ 150 w 200"/>
                <a:gd name="T5" fmla="*/ 108 h 182"/>
                <a:gd name="T6" fmla="*/ 61 w 200"/>
                <a:gd name="T7" fmla="*/ 148 h 182"/>
                <a:gd name="T8" fmla="*/ 26 w 200"/>
                <a:gd name="T9" fmla="*/ 138 h 182"/>
                <a:gd name="T10" fmla="*/ 8 w 200"/>
                <a:gd name="T11" fmla="*/ 146 h 182"/>
                <a:gd name="T12" fmla="*/ 0 w 200"/>
                <a:gd name="T13" fmla="*/ 158 h 182"/>
                <a:gd name="T14" fmla="*/ 17 w 200"/>
                <a:gd name="T15" fmla="*/ 182 h 182"/>
                <a:gd name="T16" fmla="*/ 74 w 200"/>
                <a:gd name="T17" fmla="*/ 177 h 182"/>
                <a:gd name="T18" fmla="*/ 75 w 200"/>
                <a:gd name="T19" fmla="*/ 173 h 182"/>
                <a:gd name="T20" fmla="*/ 188 w 200"/>
                <a:gd name="T21" fmla="*/ 145 h 182"/>
                <a:gd name="T22" fmla="*/ 200 w 200"/>
                <a:gd name="T23" fmla="*/ 128 h 182"/>
                <a:gd name="T24" fmla="*/ 193 w 200"/>
                <a:gd name="T25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182">
                  <a:moveTo>
                    <a:pt x="193" y="0"/>
                  </a:moveTo>
                  <a:cubicBezTo>
                    <a:pt x="175" y="11"/>
                    <a:pt x="130" y="0"/>
                    <a:pt x="130" y="0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61" y="148"/>
                    <a:pt x="61" y="148"/>
                    <a:pt x="61" y="148"/>
                  </a:cubicBezTo>
                  <a:cubicBezTo>
                    <a:pt x="26" y="138"/>
                    <a:pt x="26" y="138"/>
                    <a:pt x="26" y="138"/>
                  </a:cubicBezTo>
                  <a:cubicBezTo>
                    <a:pt x="19" y="136"/>
                    <a:pt x="11" y="139"/>
                    <a:pt x="8" y="146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17" y="182"/>
                    <a:pt x="17" y="182"/>
                    <a:pt x="17" y="182"/>
                  </a:cubicBezTo>
                  <a:cubicBezTo>
                    <a:pt x="74" y="177"/>
                    <a:pt x="74" y="177"/>
                    <a:pt x="74" y="177"/>
                  </a:cubicBezTo>
                  <a:cubicBezTo>
                    <a:pt x="75" y="173"/>
                    <a:pt x="75" y="173"/>
                    <a:pt x="75" y="173"/>
                  </a:cubicBezTo>
                  <a:cubicBezTo>
                    <a:pt x="188" y="145"/>
                    <a:pt x="188" y="145"/>
                    <a:pt x="188" y="145"/>
                  </a:cubicBezTo>
                  <a:cubicBezTo>
                    <a:pt x="195" y="143"/>
                    <a:pt x="200" y="136"/>
                    <a:pt x="200" y="128"/>
                  </a:cubicBezTo>
                  <a:cubicBezTo>
                    <a:pt x="198" y="99"/>
                    <a:pt x="194" y="26"/>
                    <a:pt x="193" y="0"/>
                  </a:cubicBez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2">
              <a:extLst>
                <a:ext uri="{FF2B5EF4-FFF2-40B4-BE49-F238E27FC236}">
                  <a16:creationId xmlns:a16="http://schemas.microsoft.com/office/drawing/2014/main" id="{E837EA8C-7D03-433A-8FDC-463A5E05D9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44" y="2106"/>
              <a:ext cx="241" cy="335"/>
            </a:xfrm>
            <a:custGeom>
              <a:avLst/>
              <a:gdLst>
                <a:gd name="T0" fmla="*/ 139 w 149"/>
                <a:gd name="T1" fmla="*/ 95 h 208"/>
                <a:gd name="T2" fmla="*/ 139 w 149"/>
                <a:gd name="T3" fmla="*/ 95 h 208"/>
                <a:gd name="T4" fmla="*/ 133 w 149"/>
                <a:gd name="T5" fmla="*/ 95 h 208"/>
                <a:gd name="T6" fmla="*/ 137 w 149"/>
                <a:gd name="T7" fmla="*/ 83 h 208"/>
                <a:gd name="T8" fmla="*/ 97 w 149"/>
                <a:gd name="T9" fmla="*/ 9 h 208"/>
                <a:gd name="T10" fmla="*/ 23 w 149"/>
                <a:gd name="T11" fmla="*/ 49 h 208"/>
                <a:gd name="T12" fmla="*/ 7 w 149"/>
                <a:gd name="T13" fmla="*/ 106 h 208"/>
                <a:gd name="T14" fmla="*/ 35 w 149"/>
                <a:gd name="T15" fmla="*/ 162 h 208"/>
                <a:gd name="T16" fmla="*/ 40 w 149"/>
                <a:gd name="T17" fmla="*/ 174 h 208"/>
                <a:gd name="T18" fmla="*/ 42 w 149"/>
                <a:gd name="T19" fmla="*/ 193 h 208"/>
                <a:gd name="T20" fmla="*/ 60 w 149"/>
                <a:gd name="T21" fmla="*/ 206 h 208"/>
                <a:gd name="T22" fmla="*/ 88 w 149"/>
                <a:gd name="T23" fmla="*/ 197 h 208"/>
                <a:gd name="T24" fmla="*/ 97 w 149"/>
                <a:gd name="T25" fmla="*/ 170 h 208"/>
                <a:gd name="T26" fmla="*/ 96 w 149"/>
                <a:gd name="T27" fmla="*/ 162 h 208"/>
                <a:gd name="T28" fmla="*/ 122 w 149"/>
                <a:gd name="T29" fmla="*/ 133 h 208"/>
                <a:gd name="T30" fmla="*/ 142 w 149"/>
                <a:gd name="T31" fmla="*/ 122 h 208"/>
                <a:gd name="T32" fmla="*/ 146 w 149"/>
                <a:gd name="T33" fmla="*/ 110 h 208"/>
                <a:gd name="T34" fmla="*/ 139 w 149"/>
                <a:gd name="T35" fmla="*/ 95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9" h="208">
                  <a:moveTo>
                    <a:pt x="139" y="95"/>
                  </a:moveTo>
                  <a:cubicBezTo>
                    <a:pt x="139" y="95"/>
                    <a:pt x="139" y="95"/>
                    <a:pt x="139" y="95"/>
                  </a:cubicBezTo>
                  <a:cubicBezTo>
                    <a:pt x="137" y="95"/>
                    <a:pt x="135" y="95"/>
                    <a:pt x="133" y="95"/>
                  </a:cubicBezTo>
                  <a:cubicBezTo>
                    <a:pt x="137" y="83"/>
                    <a:pt x="137" y="83"/>
                    <a:pt x="137" y="83"/>
                  </a:cubicBezTo>
                  <a:cubicBezTo>
                    <a:pt x="146" y="51"/>
                    <a:pt x="128" y="18"/>
                    <a:pt x="97" y="9"/>
                  </a:cubicBezTo>
                  <a:cubicBezTo>
                    <a:pt x="66" y="0"/>
                    <a:pt x="33" y="18"/>
                    <a:pt x="23" y="49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0" y="130"/>
                    <a:pt x="12" y="154"/>
                    <a:pt x="35" y="162"/>
                  </a:cubicBezTo>
                  <a:cubicBezTo>
                    <a:pt x="37" y="166"/>
                    <a:pt x="39" y="170"/>
                    <a:pt x="40" y="174"/>
                  </a:cubicBezTo>
                  <a:cubicBezTo>
                    <a:pt x="42" y="193"/>
                    <a:pt x="42" y="193"/>
                    <a:pt x="42" y="193"/>
                  </a:cubicBezTo>
                  <a:cubicBezTo>
                    <a:pt x="43" y="199"/>
                    <a:pt x="49" y="205"/>
                    <a:pt x="60" y="206"/>
                  </a:cubicBezTo>
                  <a:cubicBezTo>
                    <a:pt x="71" y="208"/>
                    <a:pt x="81" y="205"/>
                    <a:pt x="88" y="197"/>
                  </a:cubicBezTo>
                  <a:cubicBezTo>
                    <a:pt x="95" y="190"/>
                    <a:pt x="99" y="180"/>
                    <a:pt x="97" y="170"/>
                  </a:cubicBezTo>
                  <a:cubicBezTo>
                    <a:pt x="96" y="162"/>
                    <a:pt x="96" y="162"/>
                    <a:pt x="96" y="162"/>
                  </a:cubicBezTo>
                  <a:cubicBezTo>
                    <a:pt x="107" y="156"/>
                    <a:pt x="117" y="145"/>
                    <a:pt x="122" y="133"/>
                  </a:cubicBezTo>
                  <a:cubicBezTo>
                    <a:pt x="130" y="134"/>
                    <a:pt x="139" y="130"/>
                    <a:pt x="142" y="122"/>
                  </a:cubicBezTo>
                  <a:cubicBezTo>
                    <a:pt x="146" y="110"/>
                    <a:pt x="146" y="110"/>
                    <a:pt x="146" y="110"/>
                  </a:cubicBezTo>
                  <a:cubicBezTo>
                    <a:pt x="149" y="104"/>
                    <a:pt x="145" y="97"/>
                    <a:pt x="139" y="95"/>
                  </a:cubicBez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">
              <a:extLst>
                <a:ext uri="{FF2B5EF4-FFF2-40B4-BE49-F238E27FC236}">
                  <a16:creationId xmlns:a16="http://schemas.microsoft.com/office/drawing/2014/main" id="{9EECFDA4-A868-413B-8123-40C406918D2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25" y="2367"/>
              <a:ext cx="77" cy="60"/>
            </a:xfrm>
            <a:custGeom>
              <a:avLst/>
              <a:gdLst>
                <a:gd name="T0" fmla="*/ 46 w 48"/>
                <a:gd name="T1" fmla="*/ 0 h 37"/>
                <a:gd name="T2" fmla="*/ 0 w 48"/>
                <a:gd name="T3" fmla="*/ 5 h 37"/>
                <a:gd name="T4" fmla="*/ 41 w 48"/>
                <a:gd name="T5" fmla="*/ 32 h 37"/>
                <a:gd name="T6" fmla="*/ 47 w 48"/>
                <a:gd name="T7" fmla="*/ 8 h 37"/>
                <a:gd name="T8" fmla="*/ 46 w 48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7">
                  <a:moveTo>
                    <a:pt x="46" y="0"/>
                  </a:moveTo>
                  <a:cubicBezTo>
                    <a:pt x="32" y="7"/>
                    <a:pt x="16" y="10"/>
                    <a:pt x="0" y="5"/>
                  </a:cubicBezTo>
                  <a:cubicBezTo>
                    <a:pt x="0" y="5"/>
                    <a:pt x="8" y="37"/>
                    <a:pt x="41" y="32"/>
                  </a:cubicBezTo>
                  <a:cubicBezTo>
                    <a:pt x="46" y="26"/>
                    <a:pt x="48" y="17"/>
                    <a:pt x="47" y="8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D8B0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5D9751BC-D754-4BF3-8C02-1CA1F3785B2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43" y="2142"/>
              <a:ext cx="84" cy="227"/>
            </a:xfrm>
            <a:custGeom>
              <a:avLst/>
              <a:gdLst>
                <a:gd name="T0" fmla="*/ 52 w 52"/>
                <a:gd name="T1" fmla="*/ 14 h 141"/>
                <a:gd name="T2" fmla="*/ 42 w 52"/>
                <a:gd name="T3" fmla="*/ 0 h 141"/>
                <a:gd name="T4" fmla="*/ 21 w 52"/>
                <a:gd name="T5" fmla="*/ 38 h 141"/>
                <a:gd name="T6" fmla="*/ 8 w 52"/>
                <a:gd name="T7" fmla="*/ 84 h 141"/>
                <a:gd name="T8" fmla="*/ 38 w 52"/>
                <a:gd name="T9" fmla="*/ 141 h 141"/>
                <a:gd name="T10" fmla="*/ 48 w 52"/>
                <a:gd name="T11" fmla="*/ 96 h 141"/>
                <a:gd name="T12" fmla="*/ 37 w 52"/>
                <a:gd name="T13" fmla="*/ 92 h 141"/>
                <a:gd name="T14" fmla="*/ 33 w 52"/>
                <a:gd name="T15" fmla="*/ 84 h 141"/>
                <a:gd name="T16" fmla="*/ 42 w 52"/>
                <a:gd name="T17" fmla="*/ 62 h 141"/>
                <a:gd name="T18" fmla="*/ 39 w 52"/>
                <a:gd name="T19" fmla="*/ 43 h 141"/>
                <a:gd name="T20" fmla="*/ 39 w 52"/>
                <a:gd name="T21" fmla="*/ 43 h 141"/>
                <a:gd name="T22" fmla="*/ 52 w 52"/>
                <a:gd name="T23" fmla="*/ 1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141">
                  <a:moveTo>
                    <a:pt x="52" y="14"/>
                  </a:moveTo>
                  <a:cubicBezTo>
                    <a:pt x="51" y="7"/>
                    <a:pt x="42" y="0"/>
                    <a:pt x="42" y="0"/>
                  </a:cubicBezTo>
                  <a:cubicBezTo>
                    <a:pt x="42" y="0"/>
                    <a:pt x="27" y="8"/>
                    <a:pt x="21" y="38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0" y="109"/>
                    <a:pt x="14" y="134"/>
                    <a:pt x="38" y="141"/>
                  </a:cubicBezTo>
                  <a:cubicBezTo>
                    <a:pt x="29" y="118"/>
                    <a:pt x="48" y="96"/>
                    <a:pt x="48" y="9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3" y="91"/>
                    <a:pt x="31" y="87"/>
                    <a:pt x="33" y="84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5" y="55"/>
                    <a:pt x="44" y="48"/>
                    <a:pt x="39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39" y="43"/>
                    <a:pt x="44" y="20"/>
                    <a:pt x="52" y="14"/>
                  </a:cubicBezTo>
                  <a:close/>
                </a:path>
              </a:pathLst>
            </a:custGeom>
            <a:solidFill>
              <a:srgbClr val="D8B0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id="{78332A99-6BE0-4E41-8D64-C0B84CD1BAE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67" y="2245"/>
              <a:ext cx="23" cy="22"/>
            </a:xfrm>
            <a:custGeom>
              <a:avLst/>
              <a:gdLst>
                <a:gd name="T0" fmla="*/ 1 w 14"/>
                <a:gd name="T1" fmla="*/ 5 h 14"/>
                <a:gd name="T2" fmla="*/ 6 w 14"/>
                <a:gd name="T3" fmla="*/ 13 h 14"/>
                <a:gd name="T4" fmla="*/ 13 w 14"/>
                <a:gd name="T5" fmla="*/ 9 h 14"/>
                <a:gd name="T6" fmla="*/ 9 w 14"/>
                <a:gd name="T7" fmla="*/ 1 h 14"/>
                <a:gd name="T8" fmla="*/ 1 w 14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" y="5"/>
                  </a:moveTo>
                  <a:cubicBezTo>
                    <a:pt x="0" y="8"/>
                    <a:pt x="2" y="12"/>
                    <a:pt x="6" y="13"/>
                  </a:cubicBezTo>
                  <a:cubicBezTo>
                    <a:pt x="9" y="14"/>
                    <a:pt x="12" y="12"/>
                    <a:pt x="13" y="9"/>
                  </a:cubicBezTo>
                  <a:cubicBezTo>
                    <a:pt x="14" y="5"/>
                    <a:pt x="13" y="2"/>
                    <a:pt x="9" y="1"/>
                  </a:cubicBezTo>
                  <a:cubicBezTo>
                    <a:pt x="6" y="0"/>
                    <a:pt x="2" y="2"/>
                    <a:pt x="1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6">
              <a:extLst>
                <a:ext uri="{FF2B5EF4-FFF2-40B4-BE49-F238E27FC236}">
                  <a16:creationId xmlns:a16="http://schemas.microsoft.com/office/drawing/2014/main" id="{778A5A38-925C-4689-A240-27F3D4B5BF2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80" y="2219"/>
              <a:ext cx="23" cy="22"/>
            </a:xfrm>
            <a:custGeom>
              <a:avLst/>
              <a:gdLst>
                <a:gd name="T0" fmla="*/ 1 w 14"/>
                <a:gd name="T1" fmla="*/ 6 h 14"/>
                <a:gd name="T2" fmla="*/ 5 w 14"/>
                <a:gd name="T3" fmla="*/ 13 h 14"/>
                <a:gd name="T4" fmla="*/ 13 w 14"/>
                <a:gd name="T5" fmla="*/ 9 h 14"/>
                <a:gd name="T6" fmla="*/ 9 w 14"/>
                <a:gd name="T7" fmla="*/ 1 h 14"/>
                <a:gd name="T8" fmla="*/ 1 w 14"/>
                <a:gd name="T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" y="6"/>
                  </a:moveTo>
                  <a:cubicBezTo>
                    <a:pt x="0" y="9"/>
                    <a:pt x="2" y="12"/>
                    <a:pt x="5" y="13"/>
                  </a:cubicBezTo>
                  <a:cubicBezTo>
                    <a:pt x="8" y="14"/>
                    <a:pt x="12" y="13"/>
                    <a:pt x="13" y="9"/>
                  </a:cubicBezTo>
                  <a:cubicBezTo>
                    <a:pt x="14" y="6"/>
                    <a:pt x="12" y="2"/>
                    <a:pt x="9" y="1"/>
                  </a:cubicBezTo>
                  <a:cubicBezTo>
                    <a:pt x="5" y="0"/>
                    <a:pt x="2" y="2"/>
                    <a:pt x="1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7">
              <a:extLst>
                <a:ext uri="{FF2B5EF4-FFF2-40B4-BE49-F238E27FC236}">
                  <a16:creationId xmlns:a16="http://schemas.microsoft.com/office/drawing/2014/main" id="{DF1CB02B-7D91-46DE-A328-A53C10C667E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85" y="2309"/>
              <a:ext cx="61" cy="24"/>
            </a:xfrm>
            <a:custGeom>
              <a:avLst/>
              <a:gdLst>
                <a:gd name="T0" fmla="*/ 38 w 38"/>
                <a:gd name="T1" fmla="*/ 11 h 15"/>
                <a:gd name="T2" fmla="*/ 0 w 38"/>
                <a:gd name="T3" fmla="*/ 0 h 15"/>
                <a:gd name="T4" fmla="*/ 7 w 38"/>
                <a:gd name="T5" fmla="*/ 6 h 15"/>
                <a:gd name="T6" fmla="*/ 29 w 38"/>
                <a:gd name="T7" fmla="*/ 13 h 15"/>
                <a:gd name="T8" fmla="*/ 38 w 38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5">
                  <a:moveTo>
                    <a:pt x="38" y="1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2" y="12"/>
                    <a:pt x="21" y="15"/>
                    <a:pt x="29" y="13"/>
                  </a:cubicBezTo>
                  <a:lnTo>
                    <a:pt x="38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8">
              <a:extLst>
                <a:ext uri="{FF2B5EF4-FFF2-40B4-BE49-F238E27FC236}">
                  <a16:creationId xmlns:a16="http://schemas.microsoft.com/office/drawing/2014/main" id="{18AEC477-0489-4A8F-8598-2E0DF41877F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01" y="2103"/>
              <a:ext cx="193" cy="190"/>
            </a:xfrm>
            <a:custGeom>
              <a:avLst/>
              <a:gdLst>
                <a:gd name="T0" fmla="*/ 77 w 120"/>
                <a:gd name="T1" fmla="*/ 115 h 118"/>
                <a:gd name="T2" fmla="*/ 87 w 120"/>
                <a:gd name="T3" fmla="*/ 118 h 118"/>
                <a:gd name="T4" fmla="*/ 90 w 120"/>
                <a:gd name="T5" fmla="*/ 105 h 118"/>
                <a:gd name="T6" fmla="*/ 103 w 120"/>
                <a:gd name="T7" fmla="*/ 97 h 118"/>
                <a:gd name="T8" fmla="*/ 108 w 120"/>
                <a:gd name="T9" fmla="*/ 78 h 118"/>
                <a:gd name="T10" fmla="*/ 71 w 120"/>
                <a:gd name="T11" fmla="*/ 12 h 118"/>
                <a:gd name="T12" fmla="*/ 49 w 120"/>
                <a:gd name="T13" fmla="*/ 8 h 118"/>
                <a:gd name="T14" fmla="*/ 29 w 120"/>
                <a:gd name="T15" fmla="*/ 4 h 118"/>
                <a:gd name="T16" fmla="*/ 18 w 120"/>
                <a:gd name="T17" fmla="*/ 0 h 118"/>
                <a:gd name="T18" fmla="*/ 18 w 120"/>
                <a:gd name="T19" fmla="*/ 11 h 118"/>
                <a:gd name="T20" fmla="*/ 17 w 120"/>
                <a:gd name="T21" fmla="*/ 12 h 118"/>
                <a:gd name="T22" fmla="*/ 0 w 120"/>
                <a:gd name="T23" fmla="*/ 7 h 118"/>
                <a:gd name="T24" fmla="*/ 7 w 120"/>
                <a:gd name="T25" fmla="*/ 27 h 118"/>
                <a:gd name="T26" fmla="*/ 28 w 120"/>
                <a:gd name="T27" fmla="*/ 47 h 118"/>
                <a:gd name="T28" fmla="*/ 36 w 120"/>
                <a:gd name="T29" fmla="*/ 50 h 118"/>
                <a:gd name="T30" fmla="*/ 43 w 120"/>
                <a:gd name="T31" fmla="*/ 50 h 118"/>
                <a:gd name="T32" fmla="*/ 60 w 120"/>
                <a:gd name="T33" fmla="*/ 48 h 118"/>
                <a:gd name="T34" fmla="*/ 86 w 120"/>
                <a:gd name="T35" fmla="*/ 61 h 118"/>
                <a:gd name="T36" fmla="*/ 91 w 120"/>
                <a:gd name="T37" fmla="*/ 69 h 118"/>
                <a:gd name="T38" fmla="*/ 91 w 120"/>
                <a:gd name="T39" fmla="*/ 81 h 118"/>
                <a:gd name="T40" fmla="*/ 77 w 120"/>
                <a:gd name="T41" fmla="*/ 11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0" h="118">
                  <a:moveTo>
                    <a:pt x="77" y="115"/>
                  </a:moveTo>
                  <a:cubicBezTo>
                    <a:pt x="87" y="118"/>
                    <a:pt x="87" y="118"/>
                    <a:pt x="87" y="118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2" y="100"/>
                    <a:pt x="97" y="96"/>
                    <a:pt x="103" y="97"/>
                  </a:cubicBezTo>
                  <a:cubicBezTo>
                    <a:pt x="105" y="90"/>
                    <a:pt x="107" y="82"/>
                    <a:pt x="108" y="78"/>
                  </a:cubicBezTo>
                  <a:cubicBezTo>
                    <a:pt x="120" y="39"/>
                    <a:pt x="92" y="18"/>
                    <a:pt x="71" y="12"/>
                  </a:cubicBezTo>
                  <a:cubicBezTo>
                    <a:pt x="61" y="9"/>
                    <a:pt x="54" y="8"/>
                    <a:pt x="49" y="8"/>
                  </a:cubicBezTo>
                  <a:cubicBezTo>
                    <a:pt x="42" y="8"/>
                    <a:pt x="35" y="7"/>
                    <a:pt x="29" y="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1" y="12"/>
                    <a:pt x="5" y="10"/>
                    <a:pt x="0" y="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11" y="37"/>
                    <a:pt x="18" y="44"/>
                    <a:pt x="28" y="47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8" y="50"/>
                    <a:pt x="41" y="50"/>
                    <a:pt x="43" y="50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70" y="46"/>
                    <a:pt x="81" y="51"/>
                    <a:pt x="86" y="61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3" y="73"/>
                    <a:pt x="93" y="77"/>
                    <a:pt x="91" y="81"/>
                  </a:cubicBezTo>
                  <a:lnTo>
                    <a:pt x="77" y="1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9">
              <a:extLst>
                <a:ext uri="{FF2B5EF4-FFF2-40B4-BE49-F238E27FC236}">
                  <a16:creationId xmlns:a16="http://schemas.microsoft.com/office/drawing/2014/main" id="{604DB311-1B36-4236-9FEB-39B34982AA2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70" y="2224"/>
              <a:ext cx="37" cy="26"/>
            </a:xfrm>
            <a:custGeom>
              <a:avLst/>
              <a:gdLst>
                <a:gd name="T0" fmla="*/ 21 w 23"/>
                <a:gd name="T1" fmla="*/ 16 h 16"/>
                <a:gd name="T2" fmla="*/ 19 w 23"/>
                <a:gd name="T3" fmla="*/ 15 h 16"/>
                <a:gd name="T4" fmla="*/ 3 w 23"/>
                <a:gd name="T5" fmla="*/ 5 h 16"/>
                <a:gd name="T6" fmla="*/ 3 w 23"/>
                <a:gd name="T7" fmla="*/ 5 h 16"/>
                <a:gd name="T8" fmla="*/ 3 w 23"/>
                <a:gd name="T9" fmla="*/ 5 h 16"/>
                <a:gd name="T10" fmla="*/ 0 w 23"/>
                <a:gd name="T11" fmla="*/ 3 h 16"/>
                <a:gd name="T12" fmla="*/ 3 w 23"/>
                <a:gd name="T13" fmla="*/ 0 h 16"/>
                <a:gd name="T14" fmla="*/ 3 w 23"/>
                <a:gd name="T15" fmla="*/ 0 h 16"/>
                <a:gd name="T16" fmla="*/ 23 w 23"/>
                <a:gd name="T17" fmla="*/ 12 h 16"/>
                <a:gd name="T18" fmla="*/ 22 w 23"/>
                <a:gd name="T19" fmla="*/ 15 h 16"/>
                <a:gd name="T20" fmla="*/ 21 w 23"/>
                <a:gd name="T2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6">
                  <a:moveTo>
                    <a:pt x="21" y="16"/>
                  </a:moveTo>
                  <a:cubicBezTo>
                    <a:pt x="20" y="16"/>
                    <a:pt x="19" y="15"/>
                    <a:pt x="19" y="15"/>
                  </a:cubicBezTo>
                  <a:cubicBezTo>
                    <a:pt x="19" y="14"/>
                    <a:pt x="1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6" y="0"/>
                    <a:pt x="22" y="12"/>
                    <a:pt x="23" y="12"/>
                  </a:cubicBezTo>
                  <a:cubicBezTo>
                    <a:pt x="23" y="13"/>
                    <a:pt x="23" y="15"/>
                    <a:pt x="22" y="15"/>
                  </a:cubicBezTo>
                  <a:cubicBezTo>
                    <a:pt x="22" y="16"/>
                    <a:pt x="21" y="16"/>
                    <a:pt x="21" y="1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0">
              <a:extLst>
                <a:ext uri="{FF2B5EF4-FFF2-40B4-BE49-F238E27FC236}">
                  <a16:creationId xmlns:a16="http://schemas.microsoft.com/office/drawing/2014/main" id="{D2C52647-BE0F-4519-852A-E35FE7E65A1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73" y="2195"/>
              <a:ext cx="41" cy="21"/>
            </a:xfrm>
            <a:custGeom>
              <a:avLst/>
              <a:gdLst>
                <a:gd name="T0" fmla="*/ 23 w 25"/>
                <a:gd name="T1" fmla="*/ 13 h 13"/>
                <a:gd name="T2" fmla="*/ 21 w 25"/>
                <a:gd name="T3" fmla="*/ 13 h 13"/>
                <a:gd name="T4" fmla="*/ 3 w 25"/>
                <a:gd name="T5" fmla="*/ 9 h 13"/>
                <a:gd name="T6" fmla="*/ 0 w 25"/>
                <a:gd name="T7" fmla="*/ 7 h 13"/>
                <a:gd name="T8" fmla="*/ 2 w 25"/>
                <a:gd name="T9" fmla="*/ 4 h 13"/>
                <a:gd name="T10" fmla="*/ 24 w 25"/>
                <a:gd name="T11" fmla="*/ 9 h 13"/>
                <a:gd name="T12" fmla="*/ 24 w 25"/>
                <a:gd name="T13" fmla="*/ 13 h 13"/>
                <a:gd name="T14" fmla="*/ 23 w 25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3">
                  <a:moveTo>
                    <a:pt x="23" y="13"/>
                  </a:moveTo>
                  <a:cubicBezTo>
                    <a:pt x="22" y="13"/>
                    <a:pt x="22" y="13"/>
                    <a:pt x="21" y="13"/>
                  </a:cubicBezTo>
                  <a:cubicBezTo>
                    <a:pt x="14" y="5"/>
                    <a:pt x="3" y="9"/>
                    <a:pt x="3" y="9"/>
                  </a:cubicBezTo>
                  <a:cubicBezTo>
                    <a:pt x="2" y="9"/>
                    <a:pt x="0" y="8"/>
                    <a:pt x="0" y="7"/>
                  </a:cubicBezTo>
                  <a:cubicBezTo>
                    <a:pt x="0" y="6"/>
                    <a:pt x="0" y="5"/>
                    <a:pt x="2" y="4"/>
                  </a:cubicBezTo>
                  <a:cubicBezTo>
                    <a:pt x="2" y="4"/>
                    <a:pt x="15" y="0"/>
                    <a:pt x="24" y="9"/>
                  </a:cubicBezTo>
                  <a:cubicBezTo>
                    <a:pt x="25" y="10"/>
                    <a:pt x="25" y="12"/>
                    <a:pt x="24" y="13"/>
                  </a:cubicBezTo>
                  <a:cubicBezTo>
                    <a:pt x="24" y="13"/>
                    <a:pt x="23" y="13"/>
                    <a:pt x="23" y="1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1">
              <a:extLst>
                <a:ext uri="{FF2B5EF4-FFF2-40B4-BE49-F238E27FC236}">
                  <a16:creationId xmlns:a16="http://schemas.microsoft.com/office/drawing/2014/main" id="{D60C154E-F509-42CB-AE6D-F9091B0CCAE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17" y="2538"/>
              <a:ext cx="253" cy="251"/>
            </a:xfrm>
            <a:custGeom>
              <a:avLst/>
              <a:gdLst>
                <a:gd name="T0" fmla="*/ 153 w 157"/>
                <a:gd name="T1" fmla="*/ 88 h 156"/>
                <a:gd name="T2" fmla="*/ 130 w 157"/>
                <a:gd name="T3" fmla="*/ 3 h 156"/>
                <a:gd name="T4" fmla="*/ 114 w 157"/>
                <a:gd name="T5" fmla="*/ 0 h 156"/>
                <a:gd name="T6" fmla="*/ 134 w 157"/>
                <a:gd name="T7" fmla="*/ 108 h 156"/>
                <a:gd name="T8" fmla="*/ 43 w 157"/>
                <a:gd name="T9" fmla="*/ 147 h 156"/>
                <a:gd name="T10" fmla="*/ 10 w 157"/>
                <a:gd name="T11" fmla="*/ 136 h 156"/>
                <a:gd name="T12" fmla="*/ 0 w 157"/>
                <a:gd name="T13" fmla="*/ 136 h 156"/>
                <a:gd name="T14" fmla="*/ 4 w 157"/>
                <a:gd name="T15" fmla="*/ 151 h 156"/>
                <a:gd name="T16" fmla="*/ 49 w 157"/>
                <a:gd name="T17" fmla="*/ 156 h 156"/>
                <a:gd name="T18" fmla="*/ 131 w 157"/>
                <a:gd name="T19" fmla="*/ 128 h 156"/>
                <a:gd name="T20" fmla="*/ 153 w 157"/>
                <a:gd name="T21" fmla="*/ 8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7" h="156">
                  <a:moveTo>
                    <a:pt x="153" y="88"/>
                  </a:moveTo>
                  <a:cubicBezTo>
                    <a:pt x="130" y="3"/>
                    <a:pt x="130" y="3"/>
                    <a:pt x="130" y="3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34" y="108"/>
                    <a:pt x="134" y="108"/>
                    <a:pt x="134" y="108"/>
                  </a:cubicBezTo>
                  <a:cubicBezTo>
                    <a:pt x="43" y="147"/>
                    <a:pt x="43" y="147"/>
                    <a:pt x="43" y="147"/>
                  </a:cubicBezTo>
                  <a:cubicBezTo>
                    <a:pt x="10" y="136"/>
                    <a:pt x="10" y="136"/>
                    <a:pt x="10" y="136"/>
                  </a:cubicBezTo>
                  <a:cubicBezTo>
                    <a:pt x="7" y="135"/>
                    <a:pt x="3" y="135"/>
                    <a:pt x="0" y="136"/>
                  </a:cubicBezTo>
                  <a:cubicBezTo>
                    <a:pt x="4" y="151"/>
                    <a:pt x="4" y="151"/>
                    <a:pt x="4" y="151"/>
                  </a:cubicBezTo>
                  <a:cubicBezTo>
                    <a:pt x="49" y="156"/>
                    <a:pt x="49" y="156"/>
                    <a:pt x="49" y="156"/>
                  </a:cubicBezTo>
                  <a:cubicBezTo>
                    <a:pt x="131" y="128"/>
                    <a:pt x="131" y="128"/>
                    <a:pt x="131" y="128"/>
                  </a:cubicBezTo>
                  <a:cubicBezTo>
                    <a:pt x="148" y="122"/>
                    <a:pt x="157" y="105"/>
                    <a:pt x="153" y="88"/>
                  </a:cubicBezTo>
                  <a:close/>
                </a:path>
              </a:pathLst>
            </a:custGeom>
            <a:solidFill>
              <a:srgbClr val="D8B0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2">
              <a:extLst>
                <a:ext uri="{FF2B5EF4-FFF2-40B4-BE49-F238E27FC236}">
                  <a16:creationId xmlns:a16="http://schemas.microsoft.com/office/drawing/2014/main" id="{3905659B-0221-4B79-8F05-0D9094D60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03" y="2673"/>
              <a:ext cx="503" cy="186"/>
            </a:xfrm>
            <a:custGeom>
              <a:avLst/>
              <a:gdLst>
                <a:gd name="T0" fmla="*/ 2 w 312"/>
                <a:gd name="T1" fmla="*/ 16 h 115"/>
                <a:gd name="T2" fmla="*/ 10 w 312"/>
                <a:gd name="T3" fmla="*/ 13 h 115"/>
                <a:gd name="T4" fmla="*/ 163 w 312"/>
                <a:gd name="T5" fmla="*/ 1 h 115"/>
                <a:gd name="T6" fmla="*/ 178 w 312"/>
                <a:gd name="T7" fmla="*/ 9 h 115"/>
                <a:gd name="T8" fmla="*/ 218 w 312"/>
                <a:gd name="T9" fmla="*/ 90 h 115"/>
                <a:gd name="T10" fmla="*/ 223 w 312"/>
                <a:gd name="T11" fmla="*/ 93 h 115"/>
                <a:gd name="T12" fmla="*/ 312 w 312"/>
                <a:gd name="T13" fmla="*/ 86 h 115"/>
                <a:gd name="T14" fmla="*/ 312 w 312"/>
                <a:gd name="T15" fmla="*/ 94 h 115"/>
                <a:gd name="T16" fmla="*/ 214 w 312"/>
                <a:gd name="T17" fmla="*/ 102 h 115"/>
                <a:gd name="T18" fmla="*/ 52 w 312"/>
                <a:gd name="T19" fmla="*/ 115 h 115"/>
                <a:gd name="T20" fmla="*/ 0 w 312"/>
                <a:gd name="T21" fmla="*/ 18 h 115"/>
                <a:gd name="T22" fmla="*/ 2 w 312"/>
                <a:gd name="T23" fmla="*/ 1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2" h="115">
                  <a:moveTo>
                    <a:pt x="2" y="16"/>
                  </a:moveTo>
                  <a:cubicBezTo>
                    <a:pt x="4" y="15"/>
                    <a:pt x="7" y="13"/>
                    <a:pt x="10" y="13"/>
                  </a:cubicBezTo>
                  <a:cubicBezTo>
                    <a:pt x="163" y="1"/>
                    <a:pt x="163" y="1"/>
                    <a:pt x="163" y="1"/>
                  </a:cubicBezTo>
                  <a:cubicBezTo>
                    <a:pt x="170" y="0"/>
                    <a:pt x="176" y="4"/>
                    <a:pt x="178" y="9"/>
                  </a:cubicBezTo>
                  <a:cubicBezTo>
                    <a:pt x="218" y="90"/>
                    <a:pt x="218" y="90"/>
                    <a:pt x="218" y="90"/>
                  </a:cubicBezTo>
                  <a:cubicBezTo>
                    <a:pt x="219" y="92"/>
                    <a:pt x="221" y="93"/>
                    <a:pt x="223" y="93"/>
                  </a:cubicBezTo>
                  <a:cubicBezTo>
                    <a:pt x="312" y="86"/>
                    <a:pt x="312" y="86"/>
                    <a:pt x="312" y="86"/>
                  </a:cubicBezTo>
                  <a:cubicBezTo>
                    <a:pt x="312" y="94"/>
                    <a:pt x="312" y="94"/>
                    <a:pt x="312" y="94"/>
                  </a:cubicBezTo>
                  <a:cubicBezTo>
                    <a:pt x="214" y="102"/>
                    <a:pt x="214" y="102"/>
                    <a:pt x="214" y="102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2" y="16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3">
              <a:extLst>
                <a:ext uri="{FF2B5EF4-FFF2-40B4-BE49-F238E27FC236}">
                  <a16:creationId xmlns:a16="http://schemas.microsoft.com/office/drawing/2014/main" id="{6EB9BCD5-BE2B-4F16-BAF0-178944838DF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096" y="2680"/>
              <a:ext cx="382" cy="180"/>
            </a:xfrm>
            <a:custGeom>
              <a:avLst/>
              <a:gdLst>
                <a:gd name="T0" fmla="*/ 6 w 237"/>
                <a:gd name="T1" fmla="*/ 13 h 112"/>
                <a:gd name="T2" fmla="*/ 162 w 237"/>
                <a:gd name="T3" fmla="*/ 1 h 112"/>
                <a:gd name="T4" fmla="*/ 174 w 237"/>
                <a:gd name="T5" fmla="*/ 8 h 112"/>
                <a:gd name="T6" fmla="*/ 214 w 237"/>
                <a:gd name="T7" fmla="*/ 91 h 112"/>
                <a:gd name="T8" fmla="*/ 226 w 237"/>
                <a:gd name="T9" fmla="*/ 98 h 112"/>
                <a:gd name="T10" fmla="*/ 237 w 237"/>
                <a:gd name="T11" fmla="*/ 97 h 112"/>
                <a:gd name="T12" fmla="*/ 46 w 237"/>
                <a:gd name="T13" fmla="*/ 112 h 112"/>
                <a:gd name="T14" fmla="*/ 2 w 237"/>
                <a:gd name="T15" fmla="*/ 20 h 112"/>
                <a:gd name="T16" fmla="*/ 6 w 237"/>
                <a:gd name="T17" fmla="*/ 1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7" h="112">
                  <a:moveTo>
                    <a:pt x="6" y="13"/>
                  </a:moveTo>
                  <a:cubicBezTo>
                    <a:pt x="162" y="1"/>
                    <a:pt x="162" y="1"/>
                    <a:pt x="162" y="1"/>
                  </a:cubicBezTo>
                  <a:cubicBezTo>
                    <a:pt x="167" y="0"/>
                    <a:pt x="171" y="3"/>
                    <a:pt x="174" y="8"/>
                  </a:cubicBezTo>
                  <a:cubicBezTo>
                    <a:pt x="214" y="91"/>
                    <a:pt x="214" y="91"/>
                    <a:pt x="214" y="91"/>
                  </a:cubicBezTo>
                  <a:cubicBezTo>
                    <a:pt x="216" y="95"/>
                    <a:pt x="221" y="98"/>
                    <a:pt x="226" y="98"/>
                  </a:cubicBezTo>
                  <a:cubicBezTo>
                    <a:pt x="237" y="97"/>
                    <a:pt x="237" y="97"/>
                    <a:pt x="237" y="97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7"/>
                    <a:pt x="2" y="14"/>
                    <a:pt x="6" y="13"/>
                  </a:cubicBezTo>
                  <a:close/>
                </a:path>
              </a:pathLst>
            </a:cu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4">
              <a:extLst>
                <a:ext uri="{FF2B5EF4-FFF2-40B4-BE49-F238E27FC236}">
                  <a16:creationId xmlns:a16="http://schemas.microsoft.com/office/drawing/2014/main" id="{56AE434E-BCD0-42F9-BB7A-ED2BDBBAE2E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61" y="2817"/>
              <a:ext cx="279" cy="27"/>
            </a:xfrm>
            <a:custGeom>
              <a:avLst/>
              <a:gdLst>
                <a:gd name="T0" fmla="*/ 0 w 279"/>
                <a:gd name="T1" fmla="*/ 21 h 27"/>
                <a:gd name="T2" fmla="*/ 275 w 279"/>
                <a:gd name="T3" fmla="*/ 0 h 27"/>
                <a:gd name="T4" fmla="*/ 279 w 279"/>
                <a:gd name="T5" fmla="*/ 5 h 27"/>
                <a:gd name="T6" fmla="*/ 1 w 279"/>
                <a:gd name="T7" fmla="*/ 27 h 27"/>
                <a:gd name="T8" fmla="*/ 0 w 279"/>
                <a:gd name="T9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7">
                  <a:moveTo>
                    <a:pt x="0" y="21"/>
                  </a:moveTo>
                  <a:lnTo>
                    <a:pt x="275" y="0"/>
                  </a:lnTo>
                  <a:lnTo>
                    <a:pt x="279" y="5"/>
                  </a:lnTo>
                  <a:lnTo>
                    <a:pt x="1" y="27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4E11B674-7352-4BCF-BE77-0536DB61439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56" y="2754"/>
              <a:ext cx="21" cy="11"/>
            </a:xfrm>
            <a:custGeom>
              <a:avLst/>
              <a:gdLst>
                <a:gd name="T0" fmla="*/ 5 w 21"/>
                <a:gd name="T1" fmla="*/ 11 h 11"/>
                <a:gd name="T2" fmla="*/ 0 w 21"/>
                <a:gd name="T3" fmla="*/ 0 h 11"/>
                <a:gd name="T4" fmla="*/ 16 w 21"/>
                <a:gd name="T5" fmla="*/ 0 h 11"/>
                <a:gd name="T6" fmla="*/ 21 w 21"/>
                <a:gd name="T7" fmla="*/ 10 h 11"/>
                <a:gd name="T8" fmla="*/ 5 w 2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1">
                  <a:moveTo>
                    <a:pt x="5" y="11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21" y="10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6">
              <a:extLst>
                <a:ext uri="{FF2B5EF4-FFF2-40B4-BE49-F238E27FC236}">
                  <a16:creationId xmlns:a16="http://schemas.microsoft.com/office/drawing/2014/main" id="{99B7AF0F-DCD7-4A06-9FE3-BC9914606F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38" y="2756"/>
              <a:ext cx="19" cy="11"/>
            </a:xfrm>
            <a:custGeom>
              <a:avLst/>
              <a:gdLst>
                <a:gd name="T0" fmla="*/ 19 w 19"/>
                <a:gd name="T1" fmla="*/ 9 h 11"/>
                <a:gd name="T2" fmla="*/ 5 w 19"/>
                <a:gd name="T3" fmla="*/ 11 h 11"/>
                <a:gd name="T4" fmla="*/ 0 w 19"/>
                <a:gd name="T5" fmla="*/ 0 h 11"/>
                <a:gd name="T6" fmla="*/ 15 w 19"/>
                <a:gd name="T7" fmla="*/ 0 h 11"/>
                <a:gd name="T8" fmla="*/ 19 w 19"/>
                <a:gd name="T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1">
                  <a:moveTo>
                    <a:pt x="19" y="9"/>
                  </a:moveTo>
                  <a:lnTo>
                    <a:pt x="5" y="1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7">
              <a:extLst>
                <a:ext uri="{FF2B5EF4-FFF2-40B4-BE49-F238E27FC236}">
                  <a16:creationId xmlns:a16="http://schemas.microsoft.com/office/drawing/2014/main" id="{ADD414A9-1CFA-4F95-B353-7D8DF461F5D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62" y="2767"/>
              <a:ext cx="21" cy="11"/>
            </a:xfrm>
            <a:custGeom>
              <a:avLst/>
              <a:gdLst>
                <a:gd name="T0" fmla="*/ 0 w 21"/>
                <a:gd name="T1" fmla="*/ 1 h 11"/>
                <a:gd name="T2" fmla="*/ 16 w 21"/>
                <a:gd name="T3" fmla="*/ 0 h 11"/>
                <a:gd name="T4" fmla="*/ 21 w 21"/>
                <a:gd name="T5" fmla="*/ 11 h 11"/>
                <a:gd name="T6" fmla="*/ 7 w 21"/>
                <a:gd name="T7" fmla="*/ 11 h 11"/>
                <a:gd name="T8" fmla="*/ 0 w 21"/>
                <a:gd name="T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1">
                  <a:moveTo>
                    <a:pt x="0" y="1"/>
                  </a:moveTo>
                  <a:lnTo>
                    <a:pt x="16" y="0"/>
                  </a:lnTo>
                  <a:lnTo>
                    <a:pt x="21" y="11"/>
                  </a:lnTo>
                  <a:lnTo>
                    <a:pt x="7" y="1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8">
              <a:extLst>
                <a:ext uri="{FF2B5EF4-FFF2-40B4-BE49-F238E27FC236}">
                  <a16:creationId xmlns:a16="http://schemas.microsoft.com/office/drawing/2014/main" id="{47DF74C5-B1BE-42C8-9588-BC692B7FB00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45" y="2768"/>
              <a:ext cx="19" cy="12"/>
            </a:xfrm>
            <a:custGeom>
              <a:avLst/>
              <a:gdLst>
                <a:gd name="T0" fmla="*/ 14 w 19"/>
                <a:gd name="T1" fmla="*/ 0 h 12"/>
                <a:gd name="T2" fmla="*/ 19 w 19"/>
                <a:gd name="T3" fmla="*/ 12 h 12"/>
                <a:gd name="T4" fmla="*/ 4 w 19"/>
                <a:gd name="T5" fmla="*/ 12 h 12"/>
                <a:gd name="T6" fmla="*/ 0 w 19"/>
                <a:gd name="T7" fmla="*/ 2 h 12"/>
                <a:gd name="T8" fmla="*/ 14 w 1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2">
                  <a:moveTo>
                    <a:pt x="14" y="0"/>
                  </a:moveTo>
                  <a:lnTo>
                    <a:pt x="19" y="12"/>
                  </a:lnTo>
                  <a:lnTo>
                    <a:pt x="4" y="12"/>
                  </a:lnTo>
                  <a:lnTo>
                    <a:pt x="0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9">
              <a:extLst>
                <a:ext uri="{FF2B5EF4-FFF2-40B4-BE49-F238E27FC236}">
                  <a16:creationId xmlns:a16="http://schemas.microsoft.com/office/drawing/2014/main" id="{89622B5F-BC22-4DA2-A169-443765ADC8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585" y="1789"/>
              <a:ext cx="581" cy="1057"/>
            </a:xfrm>
            <a:custGeom>
              <a:avLst/>
              <a:gdLst>
                <a:gd name="T0" fmla="*/ 360 w 360"/>
                <a:gd name="T1" fmla="*/ 445 h 656"/>
                <a:gd name="T2" fmla="*/ 360 w 360"/>
                <a:gd name="T3" fmla="*/ 15 h 656"/>
                <a:gd name="T4" fmla="*/ 345 w 360"/>
                <a:gd name="T5" fmla="*/ 0 h 656"/>
                <a:gd name="T6" fmla="*/ 15 w 360"/>
                <a:gd name="T7" fmla="*/ 0 h 656"/>
                <a:gd name="T8" fmla="*/ 0 w 360"/>
                <a:gd name="T9" fmla="*/ 15 h 656"/>
                <a:gd name="T10" fmla="*/ 0 w 360"/>
                <a:gd name="T11" fmla="*/ 445 h 656"/>
                <a:gd name="T12" fmla="*/ 15 w 360"/>
                <a:gd name="T13" fmla="*/ 461 h 656"/>
                <a:gd name="T14" fmla="*/ 104 w 360"/>
                <a:gd name="T15" fmla="*/ 461 h 656"/>
                <a:gd name="T16" fmla="*/ 133 w 360"/>
                <a:gd name="T17" fmla="*/ 490 h 656"/>
                <a:gd name="T18" fmla="*/ 133 w 360"/>
                <a:gd name="T19" fmla="*/ 617 h 656"/>
                <a:gd name="T20" fmla="*/ 171 w 360"/>
                <a:gd name="T21" fmla="*/ 656 h 656"/>
                <a:gd name="T22" fmla="*/ 359 w 360"/>
                <a:gd name="T23" fmla="*/ 656 h 656"/>
                <a:gd name="T24" fmla="*/ 349 w 360"/>
                <a:gd name="T25" fmla="*/ 636 h 656"/>
                <a:gd name="T26" fmla="*/ 216 w 360"/>
                <a:gd name="T27" fmla="*/ 636 h 656"/>
                <a:gd name="T28" fmla="*/ 193 w 360"/>
                <a:gd name="T29" fmla="*/ 613 h 656"/>
                <a:gd name="T30" fmla="*/ 193 w 360"/>
                <a:gd name="T31" fmla="*/ 490 h 656"/>
                <a:gd name="T32" fmla="*/ 222 w 360"/>
                <a:gd name="T33" fmla="*/ 461 h 656"/>
                <a:gd name="T34" fmla="*/ 345 w 360"/>
                <a:gd name="T35" fmla="*/ 461 h 656"/>
                <a:gd name="T36" fmla="*/ 360 w 360"/>
                <a:gd name="T37" fmla="*/ 445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0" h="656">
                  <a:moveTo>
                    <a:pt x="360" y="445"/>
                  </a:moveTo>
                  <a:cubicBezTo>
                    <a:pt x="360" y="15"/>
                    <a:pt x="360" y="15"/>
                    <a:pt x="360" y="15"/>
                  </a:cubicBezTo>
                  <a:cubicBezTo>
                    <a:pt x="360" y="7"/>
                    <a:pt x="353" y="0"/>
                    <a:pt x="34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0" y="454"/>
                    <a:pt x="7" y="461"/>
                    <a:pt x="15" y="461"/>
                  </a:cubicBezTo>
                  <a:cubicBezTo>
                    <a:pt x="104" y="461"/>
                    <a:pt x="104" y="461"/>
                    <a:pt x="104" y="461"/>
                  </a:cubicBezTo>
                  <a:cubicBezTo>
                    <a:pt x="120" y="461"/>
                    <a:pt x="133" y="474"/>
                    <a:pt x="133" y="490"/>
                  </a:cubicBezTo>
                  <a:cubicBezTo>
                    <a:pt x="133" y="617"/>
                    <a:pt x="133" y="617"/>
                    <a:pt x="133" y="617"/>
                  </a:cubicBezTo>
                  <a:cubicBezTo>
                    <a:pt x="133" y="638"/>
                    <a:pt x="150" y="656"/>
                    <a:pt x="171" y="656"/>
                  </a:cubicBezTo>
                  <a:cubicBezTo>
                    <a:pt x="359" y="656"/>
                    <a:pt x="359" y="656"/>
                    <a:pt x="359" y="656"/>
                  </a:cubicBezTo>
                  <a:cubicBezTo>
                    <a:pt x="349" y="636"/>
                    <a:pt x="349" y="636"/>
                    <a:pt x="349" y="636"/>
                  </a:cubicBezTo>
                  <a:cubicBezTo>
                    <a:pt x="216" y="636"/>
                    <a:pt x="216" y="636"/>
                    <a:pt x="216" y="636"/>
                  </a:cubicBezTo>
                  <a:cubicBezTo>
                    <a:pt x="203" y="636"/>
                    <a:pt x="193" y="626"/>
                    <a:pt x="193" y="613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3" y="474"/>
                    <a:pt x="206" y="461"/>
                    <a:pt x="222" y="461"/>
                  </a:cubicBezTo>
                  <a:cubicBezTo>
                    <a:pt x="345" y="461"/>
                    <a:pt x="345" y="461"/>
                    <a:pt x="345" y="461"/>
                  </a:cubicBezTo>
                  <a:cubicBezTo>
                    <a:pt x="353" y="461"/>
                    <a:pt x="360" y="454"/>
                    <a:pt x="360" y="445"/>
                  </a:cubicBez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40">
              <a:extLst>
                <a:ext uri="{FF2B5EF4-FFF2-40B4-BE49-F238E27FC236}">
                  <a16:creationId xmlns:a16="http://schemas.microsoft.com/office/drawing/2014/main" id="{915AD358-6592-46B5-AA42-11F2B74C46A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611" y="1816"/>
              <a:ext cx="527" cy="374"/>
            </a:xfrm>
            <a:custGeom>
              <a:avLst/>
              <a:gdLst>
                <a:gd name="T0" fmla="*/ 320 w 327"/>
                <a:gd name="T1" fmla="*/ 232 h 232"/>
                <a:gd name="T2" fmla="*/ 8 w 327"/>
                <a:gd name="T3" fmla="*/ 232 h 232"/>
                <a:gd name="T4" fmla="*/ 0 w 327"/>
                <a:gd name="T5" fmla="*/ 225 h 232"/>
                <a:gd name="T6" fmla="*/ 0 w 327"/>
                <a:gd name="T7" fmla="*/ 7 h 232"/>
                <a:gd name="T8" fmla="*/ 8 w 327"/>
                <a:gd name="T9" fmla="*/ 0 h 232"/>
                <a:gd name="T10" fmla="*/ 320 w 327"/>
                <a:gd name="T11" fmla="*/ 0 h 232"/>
                <a:gd name="T12" fmla="*/ 327 w 327"/>
                <a:gd name="T13" fmla="*/ 7 h 232"/>
                <a:gd name="T14" fmla="*/ 327 w 327"/>
                <a:gd name="T15" fmla="*/ 225 h 232"/>
                <a:gd name="T16" fmla="*/ 320 w 327"/>
                <a:gd name="T17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7" h="232">
                  <a:moveTo>
                    <a:pt x="320" y="232"/>
                  </a:moveTo>
                  <a:cubicBezTo>
                    <a:pt x="8" y="232"/>
                    <a:pt x="8" y="232"/>
                    <a:pt x="8" y="232"/>
                  </a:cubicBezTo>
                  <a:cubicBezTo>
                    <a:pt x="4" y="232"/>
                    <a:pt x="0" y="229"/>
                    <a:pt x="0" y="22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24" y="0"/>
                    <a:pt x="327" y="3"/>
                    <a:pt x="327" y="7"/>
                  </a:cubicBezTo>
                  <a:cubicBezTo>
                    <a:pt x="327" y="225"/>
                    <a:pt x="327" y="225"/>
                    <a:pt x="327" y="225"/>
                  </a:cubicBezTo>
                  <a:cubicBezTo>
                    <a:pt x="327" y="229"/>
                    <a:pt x="324" y="232"/>
                    <a:pt x="320" y="232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A397E47F-6800-45D1-9C7D-CA575C4642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780" y="2009"/>
              <a:ext cx="75" cy="157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42">
              <a:extLst>
                <a:ext uri="{FF2B5EF4-FFF2-40B4-BE49-F238E27FC236}">
                  <a16:creationId xmlns:a16="http://schemas.microsoft.com/office/drawing/2014/main" id="{91D968F9-D3E1-4B5A-884D-1C5FAFE8637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16" y="1484"/>
              <a:ext cx="74" cy="682"/>
            </a:xfrm>
            <a:prstGeom prst="rect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43">
              <a:extLst>
                <a:ext uri="{FF2B5EF4-FFF2-40B4-BE49-F238E27FC236}">
                  <a16:creationId xmlns:a16="http://schemas.microsoft.com/office/drawing/2014/main" id="{79AA7F2A-9DA2-43FF-A348-6755922A1D6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64" y="2087"/>
              <a:ext cx="74" cy="79"/>
            </a:xfrm>
            <a:prstGeom prst="rect">
              <a:avLst/>
            </a:pr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44">
              <a:extLst>
                <a:ext uri="{FF2B5EF4-FFF2-40B4-BE49-F238E27FC236}">
                  <a16:creationId xmlns:a16="http://schemas.microsoft.com/office/drawing/2014/main" id="{80551EDD-7C0E-4704-B9FB-4BC87FE38DE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898" y="1655"/>
              <a:ext cx="74" cy="511"/>
            </a:xfrm>
            <a:prstGeom prst="rect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45">
              <a:extLst>
                <a:ext uri="{FF2B5EF4-FFF2-40B4-BE49-F238E27FC236}">
                  <a16:creationId xmlns:a16="http://schemas.microsoft.com/office/drawing/2014/main" id="{DA92C7A1-0E8C-41A0-BF79-A5482704B8B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11" y="2229"/>
              <a:ext cx="314" cy="2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46">
              <a:extLst>
                <a:ext uri="{FF2B5EF4-FFF2-40B4-BE49-F238E27FC236}">
                  <a16:creationId xmlns:a16="http://schemas.microsoft.com/office/drawing/2014/main" id="{7B64275D-7BD5-40B3-93A2-E43B88B9A45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11" y="2272"/>
              <a:ext cx="314" cy="24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47">
              <a:extLst>
                <a:ext uri="{FF2B5EF4-FFF2-40B4-BE49-F238E27FC236}">
                  <a16:creationId xmlns:a16="http://schemas.microsoft.com/office/drawing/2014/main" id="{745AAC35-28AC-4395-8F11-88727EB37FE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611" y="2314"/>
              <a:ext cx="242" cy="26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48">
              <a:extLst>
                <a:ext uri="{FF2B5EF4-FFF2-40B4-BE49-F238E27FC236}">
                  <a16:creationId xmlns:a16="http://schemas.microsoft.com/office/drawing/2014/main" id="{BFDC044F-062C-4B13-B36A-7410213FC0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359" y="1281"/>
              <a:ext cx="92" cy="92"/>
            </a:xfrm>
            <a:prstGeom prst="rect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49">
              <a:extLst>
                <a:ext uri="{FF2B5EF4-FFF2-40B4-BE49-F238E27FC236}">
                  <a16:creationId xmlns:a16="http://schemas.microsoft.com/office/drawing/2014/main" id="{6BB23493-6071-4628-8645-8FB200E10DF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859" y="1255"/>
              <a:ext cx="92" cy="92"/>
            </a:xfrm>
            <a:prstGeom prst="rect">
              <a:avLst/>
            </a:pr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50">
              <a:extLst>
                <a:ext uri="{FF2B5EF4-FFF2-40B4-BE49-F238E27FC236}">
                  <a16:creationId xmlns:a16="http://schemas.microsoft.com/office/drawing/2014/main" id="{D5B467A9-A284-425F-B25C-5516F978129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6033" y="1308"/>
              <a:ext cx="381" cy="226"/>
            </a:xfrm>
            <a:custGeom>
              <a:avLst/>
              <a:gdLst>
                <a:gd name="T0" fmla="*/ 227 w 236"/>
                <a:gd name="T1" fmla="*/ 0 h 140"/>
                <a:gd name="T2" fmla="*/ 218 w 236"/>
                <a:gd name="T3" fmla="*/ 10 h 140"/>
                <a:gd name="T4" fmla="*/ 218 w 236"/>
                <a:gd name="T5" fmla="*/ 12 h 140"/>
                <a:gd name="T6" fmla="*/ 16 w 236"/>
                <a:gd name="T7" fmla="*/ 124 h 140"/>
                <a:gd name="T8" fmla="*/ 9 w 236"/>
                <a:gd name="T9" fmla="*/ 121 h 140"/>
                <a:gd name="T10" fmla="*/ 0 w 236"/>
                <a:gd name="T11" fmla="*/ 130 h 140"/>
                <a:gd name="T12" fmla="*/ 9 w 236"/>
                <a:gd name="T13" fmla="*/ 140 h 140"/>
                <a:gd name="T14" fmla="*/ 18 w 236"/>
                <a:gd name="T15" fmla="*/ 130 h 140"/>
                <a:gd name="T16" fmla="*/ 18 w 236"/>
                <a:gd name="T17" fmla="*/ 128 h 140"/>
                <a:gd name="T18" fmla="*/ 220 w 236"/>
                <a:gd name="T19" fmla="*/ 16 h 140"/>
                <a:gd name="T20" fmla="*/ 227 w 236"/>
                <a:gd name="T21" fmla="*/ 19 h 140"/>
                <a:gd name="T22" fmla="*/ 236 w 236"/>
                <a:gd name="T23" fmla="*/ 10 h 140"/>
                <a:gd name="T24" fmla="*/ 227 w 236"/>
                <a:gd name="T25" fmla="*/ 0 h 140"/>
                <a:gd name="T26" fmla="*/ 9 w 236"/>
                <a:gd name="T27" fmla="*/ 136 h 140"/>
                <a:gd name="T28" fmla="*/ 4 w 236"/>
                <a:gd name="T29" fmla="*/ 130 h 140"/>
                <a:gd name="T30" fmla="*/ 9 w 236"/>
                <a:gd name="T31" fmla="*/ 125 h 140"/>
                <a:gd name="T32" fmla="*/ 14 w 236"/>
                <a:gd name="T33" fmla="*/ 130 h 140"/>
                <a:gd name="T34" fmla="*/ 9 w 236"/>
                <a:gd name="T35" fmla="*/ 136 h 140"/>
                <a:gd name="T36" fmla="*/ 227 w 236"/>
                <a:gd name="T37" fmla="*/ 15 h 140"/>
                <a:gd name="T38" fmla="*/ 222 w 236"/>
                <a:gd name="T39" fmla="*/ 10 h 140"/>
                <a:gd name="T40" fmla="*/ 227 w 236"/>
                <a:gd name="T41" fmla="*/ 4 h 140"/>
                <a:gd name="T42" fmla="*/ 232 w 236"/>
                <a:gd name="T43" fmla="*/ 10 h 140"/>
                <a:gd name="T44" fmla="*/ 227 w 236"/>
                <a:gd name="T45" fmla="*/ 1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6" h="140">
                  <a:moveTo>
                    <a:pt x="227" y="0"/>
                  </a:moveTo>
                  <a:cubicBezTo>
                    <a:pt x="222" y="0"/>
                    <a:pt x="218" y="5"/>
                    <a:pt x="218" y="10"/>
                  </a:cubicBezTo>
                  <a:cubicBezTo>
                    <a:pt x="218" y="11"/>
                    <a:pt x="218" y="12"/>
                    <a:pt x="218" y="1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4" y="123"/>
                    <a:pt x="12" y="121"/>
                    <a:pt x="9" y="121"/>
                  </a:cubicBezTo>
                  <a:cubicBezTo>
                    <a:pt x="4" y="121"/>
                    <a:pt x="0" y="125"/>
                    <a:pt x="0" y="130"/>
                  </a:cubicBezTo>
                  <a:cubicBezTo>
                    <a:pt x="0" y="135"/>
                    <a:pt x="4" y="140"/>
                    <a:pt x="9" y="140"/>
                  </a:cubicBezTo>
                  <a:cubicBezTo>
                    <a:pt x="14" y="140"/>
                    <a:pt x="18" y="135"/>
                    <a:pt x="18" y="130"/>
                  </a:cubicBezTo>
                  <a:cubicBezTo>
                    <a:pt x="18" y="130"/>
                    <a:pt x="18" y="129"/>
                    <a:pt x="18" y="128"/>
                  </a:cubicBezTo>
                  <a:cubicBezTo>
                    <a:pt x="220" y="16"/>
                    <a:pt x="220" y="16"/>
                    <a:pt x="220" y="16"/>
                  </a:cubicBezTo>
                  <a:cubicBezTo>
                    <a:pt x="222" y="18"/>
                    <a:pt x="224" y="19"/>
                    <a:pt x="227" y="19"/>
                  </a:cubicBezTo>
                  <a:cubicBezTo>
                    <a:pt x="232" y="19"/>
                    <a:pt x="236" y="15"/>
                    <a:pt x="236" y="10"/>
                  </a:cubicBezTo>
                  <a:cubicBezTo>
                    <a:pt x="236" y="5"/>
                    <a:pt x="232" y="0"/>
                    <a:pt x="227" y="0"/>
                  </a:cubicBezTo>
                  <a:close/>
                  <a:moveTo>
                    <a:pt x="9" y="136"/>
                  </a:moveTo>
                  <a:cubicBezTo>
                    <a:pt x="6" y="136"/>
                    <a:pt x="4" y="133"/>
                    <a:pt x="4" y="130"/>
                  </a:cubicBezTo>
                  <a:cubicBezTo>
                    <a:pt x="4" y="128"/>
                    <a:pt x="6" y="125"/>
                    <a:pt x="9" y="125"/>
                  </a:cubicBezTo>
                  <a:cubicBezTo>
                    <a:pt x="12" y="125"/>
                    <a:pt x="14" y="128"/>
                    <a:pt x="14" y="130"/>
                  </a:cubicBezTo>
                  <a:cubicBezTo>
                    <a:pt x="14" y="133"/>
                    <a:pt x="12" y="136"/>
                    <a:pt x="9" y="136"/>
                  </a:cubicBezTo>
                  <a:close/>
                  <a:moveTo>
                    <a:pt x="227" y="15"/>
                  </a:moveTo>
                  <a:cubicBezTo>
                    <a:pt x="224" y="15"/>
                    <a:pt x="222" y="12"/>
                    <a:pt x="222" y="10"/>
                  </a:cubicBezTo>
                  <a:cubicBezTo>
                    <a:pt x="222" y="7"/>
                    <a:pt x="224" y="4"/>
                    <a:pt x="227" y="4"/>
                  </a:cubicBezTo>
                  <a:cubicBezTo>
                    <a:pt x="230" y="4"/>
                    <a:pt x="232" y="7"/>
                    <a:pt x="232" y="10"/>
                  </a:cubicBezTo>
                  <a:cubicBezTo>
                    <a:pt x="232" y="12"/>
                    <a:pt x="230" y="15"/>
                    <a:pt x="227" y="15"/>
                  </a:cubicBez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1">
              <a:extLst>
                <a:ext uri="{FF2B5EF4-FFF2-40B4-BE49-F238E27FC236}">
                  <a16:creationId xmlns:a16="http://schemas.microsoft.com/office/drawing/2014/main" id="{DF6CA403-5B71-4810-88BA-E14D044A3E78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5890" y="1284"/>
              <a:ext cx="60" cy="416"/>
            </a:xfrm>
            <a:custGeom>
              <a:avLst/>
              <a:gdLst>
                <a:gd name="T0" fmla="*/ 30 w 37"/>
                <a:gd name="T1" fmla="*/ 240 h 258"/>
                <a:gd name="T2" fmla="*/ 12 w 37"/>
                <a:gd name="T3" fmla="*/ 18 h 258"/>
                <a:gd name="T4" fmla="*/ 19 w 37"/>
                <a:gd name="T5" fmla="*/ 9 h 258"/>
                <a:gd name="T6" fmla="*/ 10 w 37"/>
                <a:gd name="T7" fmla="*/ 0 h 258"/>
                <a:gd name="T8" fmla="*/ 0 w 37"/>
                <a:gd name="T9" fmla="*/ 9 h 258"/>
                <a:gd name="T10" fmla="*/ 8 w 37"/>
                <a:gd name="T11" fmla="*/ 18 h 258"/>
                <a:gd name="T12" fmla="*/ 26 w 37"/>
                <a:gd name="T13" fmla="*/ 240 h 258"/>
                <a:gd name="T14" fmla="*/ 19 w 37"/>
                <a:gd name="T15" fmla="*/ 249 h 258"/>
                <a:gd name="T16" fmla="*/ 28 w 37"/>
                <a:gd name="T17" fmla="*/ 258 h 258"/>
                <a:gd name="T18" fmla="*/ 37 w 37"/>
                <a:gd name="T19" fmla="*/ 249 h 258"/>
                <a:gd name="T20" fmla="*/ 30 w 37"/>
                <a:gd name="T21" fmla="*/ 240 h 258"/>
                <a:gd name="T22" fmla="*/ 4 w 37"/>
                <a:gd name="T23" fmla="*/ 9 h 258"/>
                <a:gd name="T24" fmla="*/ 10 w 37"/>
                <a:gd name="T25" fmla="*/ 4 h 258"/>
                <a:gd name="T26" fmla="*/ 15 w 37"/>
                <a:gd name="T27" fmla="*/ 9 h 258"/>
                <a:gd name="T28" fmla="*/ 10 w 37"/>
                <a:gd name="T29" fmla="*/ 14 h 258"/>
                <a:gd name="T30" fmla="*/ 4 w 37"/>
                <a:gd name="T31" fmla="*/ 9 h 258"/>
                <a:gd name="T32" fmla="*/ 28 w 37"/>
                <a:gd name="T33" fmla="*/ 254 h 258"/>
                <a:gd name="T34" fmla="*/ 23 w 37"/>
                <a:gd name="T35" fmla="*/ 249 h 258"/>
                <a:gd name="T36" fmla="*/ 28 w 37"/>
                <a:gd name="T37" fmla="*/ 244 h 258"/>
                <a:gd name="T38" fmla="*/ 33 w 37"/>
                <a:gd name="T39" fmla="*/ 249 h 258"/>
                <a:gd name="T40" fmla="*/ 28 w 37"/>
                <a:gd name="T41" fmla="*/ 254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" h="258">
                  <a:moveTo>
                    <a:pt x="30" y="240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16" y="17"/>
                    <a:pt x="19" y="13"/>
                    <a:pt x="19" y="9"/>
                  </a:cubicBez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4"/>
                    <a:pt x="4" y="18"/>
                    <a:pt x="8" y="18"/>
                  </a:cubicBezTo>
                  <a:cubicBezTo>
                    <a:pt x="26" y="240"/>
                    <a:pt x="26" y="240"/>
                    <a:pt x="26" y="240"/>
                  </a:cubicBezTo>
                  <a:cubicBezTo>
                    <a:pt x="22" y="241"/>
                    <a:pt x="19" y="245"/>
                    <a:pt x="19" y="249"/>
                  </a:cubicBezTo>
                  <a:cubicBezTo>
                    <a:pt x="19" y="254"/>
                    <a:pt x="23" y="258"/>
                    <a:pt x="28" y="258"/>
                  </a:cubicBezTo>
                  <a:cubicBezTo>
                    <a:pt x="33" y="258"/>
                    <a:pt x="37" y="254"/>
                    <a:pt x="37" y="249"/>
                  </a:cubicBezTo>
                  <a:cubicBezTo>
                    <a:pt x="37" y="244"/>
                    <a:pt x="34" y="241"/>
                    <a:pt x="30" y="240"/>
                  </a:cubicBezTo>
                  <a:close/>
                  <a:moveTo>
                    <a:pt x="4" y="9"/>
                  </a:moveTo>
                  <a:cubicBezTo>
                    <a:pt x="4" y="6"/>
                    <a:pt x="7" y="4"/>
                    <a:pt x="10" y="4"/>
                  </a:cubicBezTo>
                  <a:cubicBezTo>
                    <a:pt x="12" y="4"/>
                    <a:pt x="15" y="6"/>
                    <a:pt x="15" y="9"/>
                  </a:cubicBezTo>
                  <a:cubicBezTo>
                    <a:pt x="15" y="12"/>
                    <a:pt x="12" y="14"/>
                    <a:pt x="10" y="14"/>
                  </a:cubicBezTo>
                  <a:cubicBezTo>
                    <a:pt x="7" y="14"/>
                    <a:pt x="4" y="12"/>
                    <a:pt x="4" y="9"/>
                  </a:cubicBezTo>
                  <a:close/>
                  <a:moveTo>
                    <a:pt x="28" y="254"/>
                  </a:moveTo>
                  <a:cubicBezTo>
                    <a:pt x="26" y="254"/>
                    <a:pt x="23" y="252"/>
                    <a:pt x="23" y="249"/>
                  </a:cubicBezTo>
                  <a:cubicBezTo>
                    <a:pt x="23" y="246"/>
                    <a:pt x="26" y="244"/>
                    <a:pt x="28" y="244"/>
                  </a:cubicBezTo>
                  <a:cubicBezTo>
                    <a:pt x="31" y="244"/>
                    <a:pt x="33" y="246"/>
                    <a:pt x="33" y="249"/>
                  </a:cubicBezTo>
                  <a:cubicBezTo>
                    <a:pt x="33" y="252"/>
                    <a:pt x="31" y="254"/>
                    <a:pt x="28" y="254"/>
                  </a:cubicBez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2">
              <a:extLst>
                <a:ext uri="{FF2B5EF4-FFF2-40B4-BE49-F238E27FC236}">
                  <a16:creationId xmlns:a16="http://schemas.microsoft.com/office/drawing/2014/main" id="{76403834-8B1E-4B67-9497-A875DDACDBA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149" y="1379"/>
              <a:ext cx="1385" cy="1480"/>
            </a:xfrm>
            <a:custGeom>
              <a:avLst/>
              <a:gdLst>
                <a:gd name="T0" fmla="*/ 723 w 859"/>
                <a:gd name="T1" fmla="*/ 675 h 918"/>
                <a:gd name="T2" fmla="*/ 815 w 859"/>
                <a:gd name="T3" fmla="*/ 300 h 918"/>
                <a:gd name="T4" fmla="*/ 352 w 859"/>
                <a:gd name="T5" fmla="*/ 62 h 918"/>
                <a:gd name="T6" fmla="*/ 292 w 859"/>
                <a:gd name="T7" fmla="*/ 87 h 918"/>
                <a:gd name="T8" fmla="*/ 172 w 859"/>
                <a:gd name="T9" fmla="*/ 90 h 918"/>
                <a:gd name="T10" fmla="*/ 36 w 859"/>
                <a:gd name="T11" fmla="*/ 355 h 918"/>
                <a:gd name="T12" fmla="*/ 98 w 859"/>
                <a:gd name="T13" fmla="*/ 450 h 918"/>
                <a:gd name="T14" fmla="*/ 114 w 859"/>
                <a:gd name="T15" fmla="*/ 526 h 918"/>
                <a:gd name="T16" fmla="*/ 447 w 859"/>
                <a:gd name="T17" fmla="*/ 781 h 918"/>
                <a:gd name="T18" fmla="*/ 451 w 859"/>
                <a:gd name="T19" fmla="*/ 796 h 918"/>
                <a:gd name="T20" fmla="*/ 640 w 859"/>
                <a:gd name="T21" fmla="*/ 893 h 918"/>
                <a:gd name="T22" fmla="*/ 736 w 859"/>
                <a:gd name="T23" fmla="*/ 705 h 918"/>
                <a:gd name="T24" fmla="*/ 723 w 859"/>
                <a:gd name="T25" fmla="*/ 675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9" h="918">
                  <a:moveTo>
                    <a:pt x="723" y="675"/>
                  </a:moveTo>
                  <a:cubicBezTo>
                    <a:pt x="819" y="581"/>
                    <a:pt x="859" y="437"/>
                    <a:pt x="815" y="300"/>
                  </a:cubicBezTo>
                  <a:cubicBezTo>
                    <a:pt x="753" y="107"/>
                    <a:pt x="545" y="0"/>
                    <a:pt x="352" y="62"/>
                  </a:cubicBezTo>
                  <a:cubicBezTo>
                    <a:pt x="331" y="69"/>
                    <a:pt x="311" y="78"/>
                    <a:pt x="292" y="87"/>
                  </a:cubicBezTo>
                  <a:cubicBezTo>
                    <a:pt x="254" y="77"/>
                    <a:pt x="213" y="77"/>
                    <a:pt x="172" y="90"/>
                  </a:cubicBezTo>
                  <a:cubicBezTo>
                    <a:pt x="61" y="126"/>
                    <a:pt x="0" y="244"/>
                    <a:pt x="36" y="355"/>
                  </a:cubicBezTo>
                  <a:cubicBezTo>
                    <a:pt x="48" y="393"/>
                    <a:pt x="70" y="425"/>
                    <a:pt x="98" y="450"/>
                  </a:cubicBezTo>
                  <a:cubicBezTo>
                    <a:pt x="101" y="475"/>
                    <a:pt x="106" y="500"/>
                    <a:pt x="114" y="526"/>
                  </a:cubicBezTo>
                  <a:cubicBezTo>
                    <a:pt x="162" y="676"/>
                    <a:pt x="298" y="774"/>
                    <a:pt x="447" y="781"/>
                  </a:cubicBezTo>
                  <a:cubicBezTo>
                    <a:pt x="448" y="786"/>
                    <a:pt x="450" y="791"/>
                    <a:pt x="451" y="796"/>
                  </a:cubicBezTo>
                  <a:cubicBezTo>
                    <a:pt x="477" y="875"/>
                    <a:pt x="561" y="918"/>
                    <a:pt x="640" y="893"/>
                  </a:cubicBezTo>
                  <a:cubicBezTo>
                    <a:pt x="718" y="868"/>
                    <a:pt x="762" y="783"/>
                    <a:pt x="736" y="705"/>
                  </a:cubicBezTo>
                  <a:cubicBezTo>
                    <a:pt x="733" y="694"/>
                    <a:pt x="728" y="684"/>
                    <a:pt x="723" y="675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3">
              <a:extLst>
                <a:ext uri="{FF2B5EF4-FFF2-40B4-BE49-F238E27FC236}">
                  <a16:creationId xmlns:a16="http://schemas.microsoft.com/office/drawing/2014/main" id="{C3F42984-7C55-4DFE-A965-76F8DA35E6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647" y="2320"/>
              <a:ext cx="500" cy="519"/>
            </a:xfrm>
            <a:custGeom>
              <a:avLst/>
              <a:gdLst>
                <a:gd name="T0" fmla="*/ 9 w 310"/>
                <a:gd name="T1" fmla="*/ 72 h 322"/>
                <a:gd name="T2" fmla="*/ 0 w 310"/>
                <a:gd name="T3" fmla="*/ 163 h 322"/>
                <a:gd name="T4" fmla="*/ 138 w 310"/>
                <a:gd name="T5" fmla="*/ 197 h 322"/>
                <a:gd name="T6" fmla="*/ 142 w 310"/>
                <a:gd name="T7" fmla="*/ 212 h 322"/>
                <a:gd name="T8" fmla="*/ 157 w 310"/>
                <a:gd name="T9" fmla="*/ 244 h 322"/>
                <a:gd name="T10" fmla="*/ 158 w 310"/>
                <a:gd name="T11" fmla="*/ 241 h 322"/>
                <a:gd name="T12" fmla="*/ 158 w 310"/>
                <a:gd name="T13" fmla="*/ 247 h 322"/>
                <a:gd name="T14" fmla="*/ 304 w 310"/>
                <a:gd name="T15" fmla="*/ 315 h 322"/>
                <a:gd name="T16" fmla="*/ 310 w 310"/>
                <a:gd name="T17" fmla="*/ 50 h 322"/>
                <a:gd name="T18" fmla="*/ 171 w 310"/>
                <a:gd name="T19" fmla="*/ 0 h 322"/>
                <a:gd name="T20" fmla="*/ 9 w 310"/>
                <a:gd name="T21" fmla="*/ 7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0" h="322">
                  <a:moveTo>
                    <a:pt x="9" y="72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43" y="183"/>
                    <a:pt x="90" y="195"/>
                    <a:pt x="138" y="197"/>
                  </a:cubicBezTo>
                  <a:cubicBezTo>
                    <a:pt x="139" y="202"/>
                    <a:pt x="141" y="207"/>
                    <a:pt x="142" y="212"/>
                  </a:cubicBezTo>
                  <a:cubicBezTo>
                    <a:pt x="146" y="224"/>
                    <a:pt x="151" y="234"/>
                    <a:pt x="157" y="244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158" y="247"/>
                    <a:pt x="158" y="247"/>
                    <a:pt x="158" y="247"/>
                  </a:cubicBezTo>
                  <a:cubicBezTo>
                    <a:pt x="189" y="295"/>
                    <a:pt x="246" y="322"/>
                    <a:pt x="304" y="315"/>
                  </a:cubicBezTo>
                  <a:cubicBezTo>
                    <a:pt x="310" y="50"/>
                    <a:pt x="310" y="50"/>
                    <a:pt x="310" y="50"/>
                  </a:cubicBezTo>
                  <a:cubicBezTo>
                    <a:pt x="171" y="0"/>
                    <a:pt x="171" y="0"/>
                    <a:pt x="171" y="0"/>
                  </a:cubicBezTo>
                  <a:lnTo>
                    <a:pt x="9" y="72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4">
              <a:extLst>
                <a:ext uri="{FF2B5EF4-FFF2-40B4-BE49-F238E27FC236}">
                  <a16:creationId xmlns:a16="http://schemas.microsoft.com/office/drawing/2014/main" id="{EB67D7FB-35BB-4609-993C-8B898DC6510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529" y="1537"/>
              <a:ext cx="308" cy="115"/>
            </a:xfrm>
            <a:custGeom>
              <a:avLst/>
              <a:gdLst>
                <a:gd name="T0" fmla="*/ 0 w 191"/>
                <a:gd name="T1" fmla="*/ 47 h 71"/>
                <a:gd name="T2" fmla="*/ 42 w 191"/>
                <a:gd name="T3" fmla="*/ 11 h 71"/>
                <a:gd name="T4" fmla="*/ 63 w 191"/>
                <a:gd name="T5" fmla="*/ 1 h 71"/>
                <a:gd name="T6" fmla="*/ 191 w 191"/>
                <a:gd name="T7" fmla="*/ 8 h 71"/>
                <a:gd name="T8" fmla="*/ 189 w 191"/>
                <a:gd name="T9" fmla="*/ 13 h 71"/>
                <a:gd name="T10" fmla="*/ 174 w 191"/>
                <a:gd name="T11" fmla="*/ 24 h 71"/>
                <a:gd name="T12" fmla="*/ 135 w 191"/>
                <a:gd name="T13" fmla="*/ 24 h 71"/>
                <a:gd name="T14" fmla="*/ 142 w 191"/>
                <a:gd name="T15" fmla="*/ 45 h 71"/>
                <a:gd name="T16" fmla="*/ 137 w 191"/>
                <a:gd name="T17" fmla="*/ 60 h 71"/>
                <a:gd name="T18" fmla="*/ 125 w 191"/>
                <a:gd name="T19" fmla="*/ 69 h 71"/>
                <a:gd name="T20" fmla="*/ 116 w 191"/>
                <a:gd name="T21" fmla="*/ 71 h 71"/>
                <a:gd name="T22" fmla="*/ 77 w 191"/>
                <a:gd name="T23" fmla="*/ 66 h 71"/>
                <a:gd name="T24" fmla="*/ 83 w 191"/>
                <a:gd name="T25" fmla="*/ 51 h 71"/>
                <a:gd name="T26" fmla="*/ 36 w 191"/>
                <a:gd name="T27" fmla="*/ 71 h 71"/>
                <a:gd name="T28" fmla="*/ 0 w 191"/>
                <a:gd name="T29" fmla="*/ 4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1" h="71">
                  <a:moveTo>
                    <a:pt x="0" y="47"/>
                  </a:moveTo>
                  <a:cubicBezTo>
                    <a:pt x="42" y="11"/>
                    <a:pt x="42" y="11"/>
                    <a:pt x="42" y="11"/>
                  </a:cubicBezTo>
                  <a:cubicBezTo>
                    <a:pt x="47" y="5"/>
                    <a:pt x="55" y="0"/>
                    <a:pt x="63" y="1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89" y="13"/>
                    <a:pt x="189" y="13"/>
                    <a:pt x="189" y="13"/>
                  </a:cubicBezTo>
                  <a:cubicBezTo>
                    <a:pt x="187" y="20"/>
                    <a:pt x="181" y="24"/>
                    <a:pt x="174" y="24"/>
                  </a:cubicBezTo>
                  <a:cubicBezTo>
                    <a:pt x="135" y="24"/>
                    <a:pt x="135" y="24"/>
                    <a:pt x="135" y="24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44" y="51"/>
                    <a:pt x="142" y="57"/>
                    <a:pt x="137" y="60"/>
                  </a:cubicBezTo>
                  <a:cubicBezTo>
                    <a:pt x="125" y="69"/>
                    <a:pt x="125" y="69"/>
                    <a:pt x="125" y="69"/>
                  </a:cubicBezTo>
                  <a:cubicBezTo>
                    <a:pt x="122" y="70"/>
                    <a:pt x="119" y="71"/>
                    <a:pt x="116" y="71"/>
                  </a:cubicBezTo>
                  <a:cubicBezTo>
                    <a:pt x="77" y="66"/>
                    <a:pt x="77" y="66"/>
                    <a:pt x="77" y="66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36" y="71"/>
                    <a:pt x="36" y="71"/>
                    <a:pt x="36" y="71"/>
                  </a:cubicBezTo>
                  <a:lnTo>
                    <a:pt x="0" y="47"/>
                  </a:lnTo>
                  <a:close/>
                </a:path>
              </a:pathLst>
            </a:custGeom>
            <a:solidFill>
              <a:srgbClr val="CB8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5">
              <a:extLst>
                <a:ext uri="{FF2B5EF4-FFF2-40B4-BE49-F238E27FC236}">
                  <a16:creationId xmlns:a16="http://schemas.microsoft.com/office/drawing/2014/main" id="{7005E59C-BABC-4677-B198-DDB22E43B6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531" y="1532"/>
              <a:ext cx="306" cy="92"/>
            </a:xfrm>
            <a:custGeom>
              <a:avLst/>
              <a:gdLst>
                <a:gd name="T0" fmla="*/ 39 w 190"/>
                <a:gd name="T1" fmla="*/ 9 h 57"/>
                <a:gd name="T2" fmla="*/ 0 w 190"/>
                <a:gd name="T3" fmla="*/ 49 h 57"/>
                <a:gd name="T4" fmla="*/ 28 w 190"/>
                <a:gd name="T5" fmla="*/ 57 h 57"/>
                <a:gd name="T6" fmla="*/ 73 w 190"/>
                <a:gd name="T7" fmla="*/ 27 h 57"/>
                <a:gd name="T8" fmla="*/ 118 w 190"/>
                <a:gd name="T9" fmla="*/ 15 h 57"/>
                <a:gd name="T10" fmla="*/ 187 w 190"/>
                <a:gd name="T11" fmla="*/ 19 h 57"/>
                <a:gd name="T12" fmla="*/ 188 w 190"/>
                <a:gd name="T13" fmla="*/ 16 h 57"/>
                <a:gd name="T14" fmla="*/ 190 w 190"/>
                <a:gd name="T15" fmla="*/ 11 h 57"/>
                <a:gd name="T16" fmla="*/ 61 w 190"/>
                <a:gd name="T17" fmla="*/ 1 h 57"/>
                <a:gd name="T18" fmla="*/ 39 w 190"/>
                <a:gd name="T19" fmla="*/ 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57">
                  <a:moveTo>
                    <a:pt x="39" y="9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87" y="18"/>
                    <a:pt x="102" y="14"/>
                    <a:pt x="118" y="15"/>
                  </a:cubicBezTo>
                  <a:cubicBezTo>
                    <a:pt x="187" y="19"/>
                    <a:pt x="187" y="19"/>
                    <a:pt x="187" y="19"/>
                  </a:cubicBezTo>
                  <a:cubicBezTo>
                    <a:pt x="187" y="18"/>
                    <a:pt x="188" y="17"/>
                    <a:pt x="188" y="16"/>
                  </a:cubicBezTo>
                  <a:cubicBezTo>
                    <a:pt x="190" y="11"/>
                    <a:pt x="190" y="11"/>
                    <a:pt x="190" y="1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3" y="0"/>
                    <a:pt x="45" y="3"/>
                    <a:pt x="39" y="9"/>
                  </a:cubicBezTo>
                  <a:close/>
                </a:path>
              </a:pathLst>
            </a:custGeom>
            <a:solidFill>
              <a:srgbClr val="DB9C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6">
              <a:extLst>
                <a:ext uri="{FF2B5EF4-FFF2-40B4-BE49-F238E27FC236}">
                  <a16:creationId xmlns:a16="http://schemas.microsoft.com/office/drawing/2014/main" id="{C2916323-7A53-4214-A9D5-F30750F191B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47" y="1577"/>
              <a:ext cx="1267" cy="995"/>
            </a:xfrm>
            <a:custGeom>
              <a:avLst/>
              <a:gdLst>
                <a:gd name="T0" fmla="*/ 744 w 786"/>
                <a:gd name="T1" fmla="*/ 0 h 617"/>
                <a:gd name="T2" fmla="*/ 630 w 786"/>
                <a:gd name="T3" fmla="*/ 82 h 617"/>
                <a:gd name="T4" fmla="*/ 448 w 786"/>
                <a:gd name="T5" fmla="*/ 70 h 617"/>
                <a:gd name="T6" fmla="*/ 448 w 786"/>
                <a:gd name="T7" fmla="*/ 70 h 617"/>
                <a:gd name="T8" fmla="*/ 418 w 786"/>
                <a:gd name="T9" fmla="*/ 53 h 617"/>
                <a:gd name="T10" fmla="*/ 221 w 786"/>
                <a:gd name="T11" fmla="*/ 85 h 617"/>
                <a:gd name="T12" fmla="*/ 221 w 786"/>
                <a:gd name="T13" fmla="*/ 85 h 617"/>
                <a:gd name="T14" fmla="*/ 166 w 786"/>
                <a:gd name="T15" fmla="*/ 96 h 617"/>
                <a:gd name="T16" fmla="*/ 114 w 786"/>
                <a:gd name="T17" fmla="*/ 134 h 617"/>
                <a:gd name="T18" fmla="*/ 13 w 786"/>
                <a:gd name="T19" fmla="*/ 311 h 617"/>
                <a:gd name="T20" fmla="*/ 24 w 786"/>
                <a:gd name="T21" fmla="*/ 380 h 617"/>
                <a:gd name="T22" fmla="*/ 141 w 786"/>
                <a:gd name="T23" fmla="*/ 490 h 617"/>
                <a:gd name="T24" fmla="*/ 184 w 786"/>
                <a:gd name="T25" fmla="*/ 443 h 617"/>
                <a:gd name="T26" fmla="*/ 102 w 786"/>
                <a:gd name="T27" fmla="*/ 336 h 617"/>
                <a:gd name="T28" fmla="*/ 173 w 786"/>
                <a:gd name="T29" fmla="*/ 281 h 617"/>
                <a:gd name="T30" fmla="*/ 218 w 786"/>
                <a:gd name="T31" fmla="*/ 394 h 617"/>
                <a:gd name="T32" fmla="*/ 177 w 786"/>
                <a:gd name="T33" fmla="*/ 582 h 617"/>
                <a:gd name="T34" fmla="*/ 362 w 786"/>
                <a:gd name="T35" fmla="*/ 519 h 617"/>
                <a:gd name="T36" fmla="*/ 519 w 786"/>
                <a:gd name="T37" fmla="*/ 530 h 617"/>
                <a:gd name="T38" fmla="*/ 480 w 786"/>
                <a:gd name="T39" fmla="*/ 368 h 617"/>
                <a:gd name="T40" fmla="*/ 500 w 786"/>
                <a:gd name="T41" fmla="*/ 247 h 617"/>
                <a:gd name="T42" fmla="*/ 495 w 786"/>
                <a:gd name="T43" fmla="*/ 179 h 617"/>
                <a:gd name="T44" fmla="*/ 630 w 786"/>
                <a:gd name="T45" fmla="*/ 173 h 617"/>
                <a:gd name="T46" fmla="*/ 645 w 786"/>
                <a:gd name="T47" fmla="*/ 168 h 617"/>
                <a:gd name="T48" fmla="*/ 786 w 786"/>
                <a:gd name="T49" fmla="*/ 45 h 617"/>
                <a:gd name="T50" fmla="*/ 744 w 786"/>
                <a:gd name="T51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86" h="617">
                  <a:moveTo>
                    <a:pt x="744" y="0"/>
                  </a:moveTo>
                  <a:cubicBezTo>
                    <a:pt x="630" y="82"/>
                    <a:pt x="630" y="82"/>
                    <a:pt x="630" y="82"/>
                  </a:cubicBezTo>
                  <a:cubicBezTo>
                    <a:pt x="448" y="70"/>
                    <a:pt x="448" y="70"/>
                    <a:pt x="448" y="70"/>
                  </a:cubicBezTo>
                  <a:cubicBezTo>
                    <a:pt x="448" y="70"/>
                    <a:pt x="448" y="70"/>
                    <a:pt x="448" y="70"/>
                  </a:cubicBezTo>
                  <a:cubicBezTo>
                    <a:pt x="443" y="58"/>
                    <a:pt x="431" y="51"/>
                    <a:pt x="418" y="53"/>
                  </a:cubicBezTo>
                  <a:cubicBezTo>
                    <a:pt x="221" y="85"/>
                    <a:pt x="221" y="85"/>
                    <a:pt x="221" y="85"/>
                  </a:cubicBezTo>
                  <a:cubicBezTo>
                    <a:pt x="221" y="85"/>
                    <a:pt x="221" y="85"/>
                    <a:pt x="221" y="85"/>
                  </a:cubicBezTo>
                  <a:cubicBezTo>
                    <a:pt x="166" y="96"/>
                    <a:pt x="166" y="96"/>
                    <a:pt x="166" y="96"/>
                  </a:cubicBezTo>
                  <a:cubicBezTo>
                    <a:pt x="144" y="101"/>
                    <a:pt x="125" y="115"/>
                    <a:pt x="114" y="134"/>
                  </a:cubicBezTo>
                  <a:cubicBezTo>
                    <a:pt x="13" y="311"/>
                    <a:pt x="13" y="311"/>
                    <a:pt x="13" y="311"/>
                  </a:cubicBezTo>
                  <a:cubicBezTo>
                    <a:pt x="0" y="333"/>
                    <a:pt x="5" y="362"/>
                    <a:pt x="24" y="380"/>
                  </a:cubicBezTo>
                  <a:cubicBezTo>
                    <a:pt x="141" y="490"/>
                    <a:pt x="141" y="490"/>
                    <a:pt x="141" y="490"/>
                  </a:cubicBezTo>
                  <a:cubicBezTo>
                    <a:pt x="141" y="490"/>
                    <a:pt x="168" y="487"/>
                    <a:pt x="184" y="443"/>
                  </a:cubicBezTo>
                  <a:cubicBezTo>
                    <a:pt x="184" y="442"/>
                    <a:pt x="102" y="336"/>
                    <a:pt x="102" y="336"/>
                  </a:cubicBezTo>
                  <a:cubicBezTo>
                    <a:pt x="173" y="281"/>
                    <a:pt x="173" y="281"/>
                    <a:pt x="173" y="281"/>
                  </a:cubicBezTo>
                  <a:cubicBezTo>
                    <a:pt x="183" y="310"/>
                    <a:pt x="200" y="357"/>
                    <a:pt x="218" y="394"/>
                  </a:cubicBezTo>
                  <a:cubicBezTo>
                    <a:pt x="192" y="442"/>
                    <a:pt x="177" y="582"/>
                    <a:pt x="177" y="582"/>
                  </a:cubicBezTo>
                  <a:cubicBezTo>
                    <a:pt x="177" y="582"/>
                    <a:pt x="295" y="617"/>
                    <a:pt x="362" y="519"/>
                  </a:cubicBezTo>
                  <a:cubicBezTo>
                    <a:pt x="411" y="550"/>
                    <a:pt x="519" y="530"/>
                    <a:pt x="519" y="530"/>
                  </a:cubicBezTo>
                  <a:cubicBezTo>
                    <a:pt x="519" y="530"/>
                    <a:pt x="478" y="419"/>
                    <a:pt x="480" y="368"/>
                  </a:cubicBezTo>
                  <a:cubicBezTo>
                    <a:pt x="481" y="336"/>
                    <a:pt x="492" y="283"/>
                    <a:pt x="500" y="247"/>
                  </a:cubicBezTo>
                  <a:cubicBezTo>
                    <a:pt x="505" y="224"/>
                    <a:pt x="503" y="201"/>
                    <a:pt x="495" y="179"/>
                  </a:cubicBezTo>
                  <a:cubicBezTo>
                    <a:pt x="630" y="173"/>
                    <a:pt x="630" y="173"/>
                    <a:pt x="630" y="173"/>
                  </a:cubicBezTo>
                  <a:cubicBezTo>
                    <a:pt x="635" y="173"/>
                    <a:pt x="641" y="171"/>
                    <a:pt x="645" y="168"/>
                  </a:cubicBezTo>
                  <a:cubicBezTo>
                    <a:pt x="786" y="45"/>
                    <a:pt x="786" y="45"/>
                    <a:pt x="786" y="45"/>
                  </a:cubicBezTo>
                  <a:cubicBezTo>
                    <a:pt x="786" y="16"/>
                    <a:pt x="744" y="0"/>
                    <a:pt x="744" y="0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7">
              <a:extLst>
                <a:ext uri="{FF2B5EF4-FFF2-40B4-BE49-F238E27FC236}">
                  <a16:creationId xmlns:a16="http://schemas.microsoft.com/office/drawing/2014/main" id="{A7901811-77C7-44A5-8546-DBA77F0B3C6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966" y="1740"/>
              <a:ext cx="83" cy="115"/>
            </a:xfrm>
            <a:custGeom>
              <a:avLst/>
              <a:gdLst>
                <a:gd name="T0" fmla="*/ 0 w 51"/>
                <a:gd name="T1" fmla="*/ 29 h 71"/>
                <a:gd name="T2" fmla="*/ 11 w 51"/>
                <a:gd name="T3" fmla="*/ 71 h 71"/>
                <a:gd name="T4" fmla="*/ 23 w 51"/>
                <a:gd name="T5" fmla="*/ 43 h 71"/>
                <a:gd name="T6" fmla="*/ 51 w 51"/>
                <a:gd name="T7" fmla="*/ 39 h 71"/>
                <a:gd name="T8" fmla="*/ 14 w 51"/>
                <a:gd name="T9" fmla="*/ 0 h 71"/>
                <a:gd name="T10" fmla="*/ 0 w 51"/>
                <a:gd name="T11" fmla="*/ 2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71">
                  <a:moveTo>
                    <a:pt x="0" y="29"/>
                  </a:moveTo>
                  <a:cubicBezTo>
                    <a:pt x="0" y="29"/>
                    <a:pt x="8" y="58"/>
                    <a:pt x="11" y="71"/>
                  </a:cubicBezTo>
                  <a:cubicBezTo>
                    <a:pt x="17" y="54"/>
                    <a:pt x="23" y="43"/>
                    <a:pt x="23" y="4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8">
              <a:extLst>
                <a:ext uri="{FF2B5EF4-FFF2-40B4-BE49-F238E27FC236}">
                  <a16:creationId xmlns:a16="http://schemas.microsoft.com/office/drawing/2014/main" id="{7313E119-57DC-4FAC-BA49-0F473258891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752" y="1656"/>
              <a:ext cx="251" cy="542"/>
            </a:xfrm>
            <a:custGeom>
              <a:avLst/>
              <a:gdLst>
                <a:gd name="T0" fmla="*/ 0 w 156"/>
                <a:gd name="T1" fmla="*/ 42 h 336"/>
                <a:gd name="T2" fmla="*/ 90 w 156"/>
                <a:gd name="T3" fmla="*/ 197 h 336"/>
                <a:gd name="T4" fmla="*/ 104 w 156"/>
                <a:gd name="T5" fmla="*/ 336 h 336"/>
                <a:gd name="T6" fmla="*/ 155 w 156"/>
                <a:gd name="T7" fmla="*/ 219 h 336"/>
                <a:gd name="T8" fmla="*/ 133 w 156"/>
                <a:gd name="T9" fmla="*/ 81 h 336"/>
                <a:gd name="T10" fmla="*/ 155 w 156"/>
                <a:gd name="T11" fmla="*/ 36 h 336"/>
                <a:gd name="T12" fmla="*/ 122 w 156"/>
                <a:gd name="T13" fmla="*/ 11 h 336"/>
                <a:gd name="T14" fmla="*/ 7 w 156"/>
                <a:gd name="T15" fmla="*/ 0 h 336"/>
                <a:gd name="T16" fmla="*/ 0 w 156"/>
                <a:gd name="T17" fmla="*/ 42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336">
                  <a:moveTo>
                    <a:pt x="0" y="42"/>
                  </a:moveTo>
                  <a:cubicBezTo>
                    <a:pt x="0" y="42"/>
                    <a:pt x="72" y="136"/>
                    <a:pt x="90" y="197"/>
                  </a:cubicBezTo>
                  <a:cubicBezTo>
                    <a:pt x="109" y="258"/>
                    <a:pt x="104" y="336"/>
                    <a:pt x="104" y="336"/>
                  </a:cubicBezTo>
                  <a:cubicBezTo>
                    <a:pt x="104" y="336"/>
                    <a:pt x="154" y="282"/>
                    <a:pt x="155" y="219"/>
                  </a:cubicBezTo>
                  <a:cubicBezTo>
                    <a:pt x="156" y="155"/>
                    <a:pt x="133" y="81"/>
                    <a:pt x="133" y="81"/>
                  </a:cubicBezTo>
                  <a:cubicBezTo>
                    <a:pt x="155" y="36"/>
                    <a:pt x="155" y="36"/>
                    <a:pt x="155" y="36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42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9">
              <a:extLst>
                <a:ext uri="{FF2B5EF4-FFF2-40B4-BE49-F238E27FC236}">
                  <a16:creationId xmlns:a16="http://schemas.microsoft.com/office/drawing/2014/main" id="{41141768-915E-4098-B093-DB89957914A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945" y="1687"/>
              <a:ext cx="26" cy="42"/>
            </a:xfrm>
            <a:custGeom>
              <a:avLst/>
              <a:gdLst>
                <a:gd name="T0" fmla="*/ 13 w 26"/>
                <a:gd name="T1" fmla="*/ 42 h 42"/>
                <a:gd name="T2" fmla="*/ 26 w 26"/>
                <a:gd name="T3" fmla="*/ 18 h 42"/>
                <a:gd name="T4" fmla="*/ 0 w 26"/>
                <a:gd name="T5" fmla="*/ 0 h 42"/>
                <a:gd name="T6" fmla="*/ 5 w 26"/>
                <a:gd name="T7" fmla="*/ 39 h 42"/>
                <a:gd name="T8" fmla="*/ 13 w 26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2">
                  <a:moveTo>
                    <a:pt x="13" y="42"/>
                  </a:moveTo>
                  <a:lnTo>
                    <a:pt x="26" y="18"/>
                  </a:lnTo>
                  <a:lnTo>
                    <a:pt x="0" y="0"/>
                  </a:lnTo>
                  <a:lnTo>
                    <a:pt x="5" y="39"/>
                  </a:lnTo>
                  <a:lnTo>
                    <a:pt x="13" y="42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0">
              <a:extLst>
                <a:ext uri="{FF2B5EF4-FFF2-40B4-BE49-F238E27FC236}">
                  <a16:creationId xmlns:a16="http://schemas.microsoft.com/office/drawing/2014/main" id="{EB76FE1F-AC9E-4842-843B-ABE1BFE4AF3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689" y="1241"/>
              <a:ext cx="363" cy="631"/>
            </a:xfrm>
            <a:custGeom>
              <a:avLst/>
              <a:gdLst>
                <a:gd name="T0" fmla="*/ 220 w 225"/>
                <a:gd name="T1" fmla="*/ 148 h 392"/>
                <a:gd name="T2" fmla="*/ 213 w 225"/>
                <a:gd name="T3" fmla="*/ 94 h 392"/>
                <a:gd name="T4" fmla="*/ 100 w 225"/>
                <a:gd name="T5" fmla="*/ 7 h 392"/>
                <a:gd name="T6" fmla="*/ 94 w 225"/>
                <a:gd name="T7" fmla="*/ 8 h 392"/>
                <a:gd name="T8" fmla="*/ 7 w 225"/>
                <a:gd name="T9" fmla="*/ 120 h 392"/>
                <a:gd name="T10" fmla="*/ 14 w 225"/>
                <a:gd name="T11" fmla="*/ 174 h 392"/>
                <a:gd name="T12" fmla="*/ 65 w 225"/>
                <a:gd name="T13" fmla="*/ 250 h 392"/>
                <a:gd name="T14" fmla="*/ 63 w 225"/>
                <a:gd name="T15" fmla="*/ 285 h 392"/>
                <a:gd name="T16" fmla="*/ 102 w 225"/>
                <a:gd name="T17" fmla="*/ 315 h 392"/>
                <a:gd name="T18" fmla="*/ 141 w 225"/>
                <a:gd name="T19" fmla="*/ 392 h 392"/>
                <a:gd name="T20" fmla="*/ 167 w 225"/>
                <a:gd name="T21" fmla="*/ 303 h 392"/>
                <a:gd name="T22" fmla="*/ 163 w 225"/>
                <a:gd name="T23" fmla="*/ 288 h 392"/>
                <a:gd name="T24" fmla="*/ 161 w 225"/>
                <a:gd name="T25" fmla="*/ 269 h 392"/>
                <a:gd name="T26" fmla="*/ 173 w 225"/>
                <a:gd name="T27" fmla="*/ 247 h 392"/>
                <a:gd name="T28" fmla="*/ 220 w 225"/>
                <a:gd name="T29" fmla="*/ 148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5" h="392">
                  <a:moveTo>
                    <a:pt x="220" y="148"/>
                  </a:moveTo>
                  <a:cubicBezTo>
                    <a:pt x="213" y="94"/>
                    <a:pt x="213" y="94"/>
                    <a:pt x="213" y="94"/>
                  </a:cubicBezTo>
                  <a:cubicBezTo>
                    <a:pt x="206" y="39"/>
                    <a:pt x="155" y="0"/>
                    <a:pt x="100" y="7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39" y="15"/>
                    <a:pt x="0" y="65"/>
                    <a:pt x="7" y="120"/>
                  </a:cubicBezTo>
                  <a:cubicBezTo>
                    <a:pt x="14" y="174"/>
                    <a:pt x="14" y="174"/>
                    <a:pt x="14" y="174"/>
                  </a:cubicBezTo>
                  <a:cubicBezTo>
                    <a:pt x="18" y="208"/>
                    <a:pt x="38" y="235"/>
                    <a:pt x="65" y="250"/>
                  </a:cubicBezTo>
                  <a:cubicBezTo>
                    <a:pt x="63" y="285"/>
                    <a:pt x="63" y="285"/>
                    <a:pt x="63" y="285"/>
                  </a:cubicBezTo>
                  <a:cubicBezTo>
                    <a:pt x="102" y="315"/>
                    <a:pt x="102" y="315"/>
                    <a:pt x="102" y="315"/>
                  </a:cubicBezTo>
                  <a:cubicBezTo>
                    <a:pt x="141" y="392"/>
                    <a:pt x="141" y="392"/>
                    <a:pt x="141" y="392"/>
                  </a:cubicBezTo>
                  <a:cubicBezTo>
                    <a:pt x="167" y="303"/>
                    <a:pt x="167" y="303"/>
                    <a:pt x="167" y="303"/>
                  </a:cubicBezTo>
                  <a:cubicBezTo>
                    <a:pt x="163" y="288"/>
                    <a:pt x="163" y="288"/>
                    <a:pt x="163" y="288"/>
                  </a:cubicBezTo>
                  <a:cubicBezTo>
                    <a:pt x="161" y="269"/>
                    <a:pt x="161" y="269"/>
                    <a:pt x="161" y="269"/>
                  </a:cubicBezTo>
                  <a:cubicBezTo>
                    <a:pt x="160" y="260"/>
                    <a:pt x="165" y="251"/>
                    <a:pt x="173" y="247"/>
                  </a:cubicBezTo>
                  <a:cubicBezTo>
                    <a:pt x="205" y="226"/>
                    <a:pt x="225" y="188"/>
                    <a:pt x="220" y="148"/>
                  </a:cubicBezTo>
                  <a:close/>
                </a:path>
              </a:pathLst>
            </a:custGeom>
            <a:solidFill>
              <a:srgbClr val="DB9C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1">
              <a:extLst>
                <a:ext uri="{FF2B5EF4-FFF2-40B4-BE49-F238E27FC236}">
                  <a16:creationId xmlns:a16="http://schemas.microsoft.com/office/drawing/2014/main" id="{D254FA56-E951-4605-B677-496BDE50453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842" y="1254"/>
              <a:ext cx="210" cy="618"/>
            </a:xfrm>
            <a:custGeom>
              <a:avLst/>
              <a:gdLst>
                <a:gd name="T0" fmla="*/ 125 w 130"/>
                <a:gd name="T1" fmla="*/ 140 h 384"/>
                <a:gd name="T2" fmla="*/ 118 w 130"/>
                <a:gd name="T3" fmla="*/ 86 h 384"/>
                <a:gd name="T4" fmla="*/ 37 w 130"/>
                <a:gd name="T5" fmla="*/ 0 h 384"/>
                <a:gd name="T6" fmla="*/ 22 w 130"/>
                <a:gd name="T7" fmla="*/ 20 h 384"/>
                <a:gd name="T8" fmla="*/ 41 w 130"/>
                <a:gd name="T9" fmla="*/ 37 h 384"/>
                <a:gd name="T10" fmla="*/ 61 w 130"/>
                <a:gd name="T11" fmla="*/ 81 h 384"/>
                <a:gd name="T12" fmla="*/ 61 w 130"/>
                <a:gd name="T13" fmla="*/ 87 h 384"/>
                <a:gd name="T14" fmla="*/ 74 w 130"/>
                <a:gd name="T15" fmla="*/ 107 h 384"/>
                <a:gd name="T16" fmla="*/ 96 w 130"/>
                <a:gd name="T17" fmla="*/ 117 h 384"/>
                <a:gd name="T18" fmla="*/ 97 w 130"/>
                <a:gd name="T19" fmla="*/ 135 h 384"/>
                <a:gd name="T20" fmla="*/ 87 w 130"/>
                <a:gd name="T21" fmla="*/ 143 h 384"/>
                <a:gd name="T22" fmla="*/ 91 w 130"/>
                <a:gd name="T23" fmla="*/ 154 h 384"/>
                <a:gd name="T24" fmla="*/ 96 w 130"/>
                <a:gd name="T25" fmla="*/ 172 h 384"/>
                <a:gd name="T26" fmla="*/ 77 w 130"/>
                <a:gd name="T27" fmla="*/ 176 h 384"/>
                <a:gd name="T28" fmla="*/ 90 w 130"/>
                <a:gd name="T29" fmla="*/ 189 h 384"/>
                <a:gd name="T30" fmla="*/ 99 w 130"/>
                <a:gd name="T31" fmla="*/ 208 h 384"/>
                <a:gd name="T32" fmla="*/ 50 w 130"/>
                <a:gd name="T33" fmla="*/ 218 h 384"/>
                <a:gd name="T34" fmla="*/ 6 w 130"/>
                <a:gd name="T35" fmla="*/ 205 h 384"/>
                <a:gd name="T36" fmla="*/ 2 w 130"/>
                <a:gd name="T37" fmla="*/ 211 h 384"/>
                <a:gd name="T38" fmla="*/ 17 w 130"/>
                <a:gd name="T39" fmla="*/ 228 h 384"/>
                <a:gd name="T40" fmla="*/ 33 w 130"/>
                <a:gd name="T41" fmla="*/ 270 h 384"/>
                <a:gd name="T42" fmla="*/ 37 w 130"/>
                <a:gd name="T43" fmla="*/ 367 h 384"/>
                <a:gd name="T44" fmla="*/ 46 w 130"/>
                <a:gd name="T45" fmla="*/ 384 h 384"/>
                <a:gd name="T46" fmla="*/ 72 w 130"/>
                <a:gd name="T47" fmla="*/ 295 h 384"/>
                <a:gd name="T48" fmla="*/ 68 w 130"/>
                <a:gd name="T49" fmla="*/ 280 h 384"/>
                <a:gd name="T50" fmla="*/ 66 w 130"/>
                <a:gd name="T51" fmla="*/ 261 h 384"/>
                <a:gd name="T52" fmla="*/ 78 w 130"/>
                <a:gd name="T53" fmla="*/ 239 h 384"/>
                <a:gd name="T54" fmla="*/ 125 w 130"/>
                <a:gd name="T55" fmla="*/ 14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0" h="384">
                  <a:moveTo>
                    <a:pt x="125" y="140"/>
                  </a:moveTo>
                  <a:cubicBezTo>
                    <a:pt x="118" y="86"/>
                    <a:pt x="118" y="86"/>
                    <a:pt x="118" y="86"/>
                  </a:cubicBezTo>
                  <a:cubicBezTo>
                    <a:pt x="112" y="42"/>
                    <a:pt x="79" y="8"/>
                    <a:pt x="37" y="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54" y="48"/>
                    <a:pt x="61" y="64"/>
                    <a:pt x="61" y="81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96"/>
                    <a:pt x="66" y="104"/>
                    <a:pt x="74" y="107"/>
                  </a:cubicBezTo>
                  <a:cubicBezTo>
                    <a:pt x="96" y="117"/>
                    <a:pt x="96" y="117"/>
                    <a:pt x="96" y="117"/>
                  </a:cubicBezTo>
                  <a:cubicBezTo>
                    <a:pt x="103" y="121"/>
                    <a:pt x="103" y="131"/>
                    <a:pt x="97" y="135"/>
                  </a:cubicBezTo>
                  <a:cubicBezTo>
                    <a:pt x="97" y="135"/>
                    <a:pt x="87" y="141"/>
                    <a:pt x="87" y="143"/>
                  </a:cubicBezTo>
                  <a:cubicBezTo>
                    <a:pt x="86" y="146"/>
                    <a:pt x="91" y="154"/>
                    <a:pt x="91" y="154"/>
                  </a:cubicBezTo>
                  <a:cubicBezTo>
                    <a:pt x="94" y="159"/>
                    <a:pt x="96" y="165"/>
                    <a:pt x="96" y="172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9" y="182"/>
                    <a:pt x="84" y="187"/>
                    <a:pt x="90" y="189"/>
                  </a:cubicBezTo>
                  <a:cubicBezTo>
                    <a:pt x="100" y="193"/>
                    <a:pt x="100" y="201"/>
                    <a:pt x="99" y="208"/>
                  </a:cubicBezTo>
                  <a:cubicBezTo>
                    <a:pt x="85" y="219"/>
                    <a:pt x="67" y="222"/>
                    <a:pt x="50" y="218"/>
                  </a:cubicBezTo>
                  <a:cubicBezTo>
                    <a:pt x="6" y="205"/>
                    <a:pt x="6" y="205"/>
                    <a:pt x="6" y="205"/>
                  </a:cubicBezTo>
                  <a:cubicBezTo>
                    <a:pt x="2" y="204"/>
                    <a:pt x="0" y="208"/>
                    <a:pt x="2" y="211"/>
                  </a:cubicBezTo>
                  <a:cubicBezTo>
                    <a:pt x="17" y="228"/>
                    <a:pt x="17" y="228"/>
                    <a:pt x="17" y="228"/>
                  </a:cubicBezTo>
                  <a:cubicBezTo>
                    <a:pt x="26" y="240"/>
                    <a:pt x="32" y="254"/>
                    <a:pt x="33" y="270"/>
                  </a:cubicBezTo>
                  <a:cubicBezTo>
                    <a:pt x="37" y="367"/>
                    <a:pt x="37" y="367"/>
                    <a:pt x="37" y="367"/>
                  </a:cubicBezTo>
                  <a:cubicBezTo>
                    <a:pt x="46" y="384"/>
                    <a:pt x="46" y="384"/>
                    <a:pt x="46" y="384"/>
                  </a:cubicBezTo>
                  <a:cubicBezTo>
                    <a:pt x="72" y="295"/>
                    <a:pt x="72" y="295"/>
                    <a:pt x="72" y="295"/>
                  </a:cubicBezTo>
                  <a:cubicBezTo>
                    <a:pt x="68" y="280"/>
                    <a:pt x="68" y="280"/>
                    <a:pt x="68" y="280"/>
                  </a:cubicBezTo>
                  <a:cubicBezTo>
                    <a:pt x="66" y="261"/>
                    <a:pt x="66" y="261"/>
                    <a:pt x="66" y="261"/>
                  </a:cubicBezTo>
                  <a:cubicBezTo>
                    <a:pt x="65" y="252"/>
                    <a:pt x="70" y="243"/>
                    <a:pt x="78" y="239"/>
                  </a:cubicBezTo>
                  <a:cubicBezTo>
                    <a:pt x="110" y="218"/>
                    <a:pt x="130" y="180"/>
                    <a:pt x="125" y="140"/>
                  </a:cubicBezTo>
                  <a:close/>
                </a:path>
              </a:pathLst>
            </a:custGeom>
            <a:solidFill>
              <a:srgbClr val="CB8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62">
              <a:extLst>
                <a:ext uri="{FF2B5EF4-FFF2-40B4-BE49-F238E27FC236}">
                  <a16:creationId xmlns:a16="http://schemas.microsoft.com/office/drawing/2014/main" id="{BAF6D8CB-2DC6-443B-9CFD-FBA0CC6C538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847" y="1416"/>
              <a:ext cx="31" cy="31"/>
            </a:xfrm>
            <a:prstGeom prst="ellipse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63">
              <a:extLst>
                <a:ext uri="{FF2B5EF4-FFF2-40B4-BE49-F238E27FC236}">
                  <a16:creationId xmlns:a16="http://schemas.microsoft.com/office/drawing/2014/main" id="{8CB4AEB5-F3C3-40BD-9FAE-8E16453CD48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986" y="1391"/>
              <a:ext cx="30" cy="30"/>
            </a:xfrm>
            <a:prstGeom prst="ellipse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4">
              <a:extLst>
                <a:ext uri="{FF2B5EF4-FFF2-40B4-BE49-F238E27FC236}">
                  <a16:creationId xmlns:a16="http://schemas.microsoft.com/office/drawing/2014/main" id="{837FF1BE-5DFB-49A1-8363-676F478254A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891" y="1507"/>
              <a:ext cx="22" cy="30"/>
            </a:xfrm>
            <a:custGeom>
              <a:avLst/>
              <a:gdLst>
                <a:gd name="T0" fmla="*/ 14 w 14"/>
                <a:gd name="T1" fmla="*/ 0 h 19"/>
                <a:gd name="T2" fmla="*/ 10 w 14"/>
                <a:gd name="T3" fmla="*/ 19 h 19"/>
                <a:gd name="T4" fmla="*/ 14 w 1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9">
                  <a:moveTo>
                    <a:pt x="14" y="0"/>
                  </a:move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0" y="5"/>
                    <a:pt x="14" y="0"/>
                  </a:cubicBezTo>
                  <a:close/>
                </a:path>
              </a:pathLst>
            </a:custGeom>
            <a:solidFill>
              <a:srgbClr val="CB8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5">
              <a:extLst>
                <a:ext uri="{FF2B5EF4-FFF2-40B4-BE49-F238E27FC236}">
                  <a16:creationId xmlns:a16="http://schemas.microsoft.com/office/drawing/2014/main" id="{618DEC5B-5838-4FC8-B802-967A4AAAA8C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815" y="1748"/>
              <a:ext cx="80" cy="84"/>
            </a:xfrm>
            <a:custGeom>
              <a:avLst/>
              <a:gdLst>
                <a:gd name="T0" fmla="*/ 39 w 80"/>
                <a:gd name="T1" fmla="*/ 0 h 84"/>
                <a:gd name="T2" fmla="*/ 0 w 80"/>
                <a:gd name="T3" fmla="*/ 62 h 84"/>
                <a:gd name="T4" fmla="*/ 80 w 80"/>
                <a:gd name="T5" fmla="*/ 84 h 84"/>
                <a:gd name="T6" fmla="*/ 39 w 80"/>
                <a:gd name="T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0" h="84">
                  <a:moveTo>
                    <a:pt x="39" y="0"/>
                  </a:moveTo>
                  <a:lnTo>
                    <a:pt x="0" y="62"/>
                  </a:lnTo>
                  <a:lnTo>
                    <a:pt x="80" y="84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7">
              <a:extLst>
                <a:ext uri="{FF2B5EF4-FFF2-40B4-BE49-F238E27FC236}">
                  <a16:creationId xmlns:a16="http://schemas.microsoft.com/office/drawing/2014/main" id="{901B6E87-7007-4812-A28A-9F2D05BE7B2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971" y="1714"/>
              <a:ext cx="32" cy="78"/>
            </a:xfrm>
            <a:custGeom>
              <a:avLst/>
              <a:gdLst>
                <a:gd name="T0" fmla="*/ 31 w 32"/>
                <a:gd name="T1" fmla="*/ 0 h 78"/>
                <a:gd name="T2" fmla="*/ 32 w 32"/>
                <a:gd name="T3" fmla="*/ 78 h 78"/>
                <a:gd name="T4" fmla="*/ 0 w 32"/>
                <a:gd name="T5" fmla="*/ 60 h 78"/>
                <a:gd name="T6" fmla="*/ 31 w 32"/>
                <a:gd name="T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78">
                  <a:moveTo>
                    <a:pt x="31" y="0"/>
                  </a:moveTo>
                  <a:lnTo>
                    <a:pt x="32" y="78"/>
                  </a:lnTo>
                  <a:lnTo>
                    <a:pt x="0" y="6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68">
              <a:extLst>
                <a:ext uri="{FF2B5EF4-FFF2-40B4-BE49-F238E27FC236}">
                  <a16:creationId xmlns:a16="http://schemas.microsoft.com/office/drawing/2014/main" id="{8192BA37-857A-45C7-9DE4-ABD0C0202F0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586" y="2303"/>
              <a:ext cx="269" cy="121"/>
            </a:xfrm>
            <a:custGeom>
              <a:avLst/>
              <a:gdLst>
                <a:gd name="T0" fmla="*/ 147 w 167"/>
                <a:gd name="T1" fmla="*/ 14 h 75"/>
                <a:gd name="T2" fmla="*/ 101 w 167"/>
                <a:gd name="T3" fmla="*/ 1 h 75"/>
                <a:gd name="T4" fmla="*/ 95 w 167"/>
                <a:gd name="T5" fmla="*/ 0 h 75"/>
                <a:gd name="T6" fmla="*/ 34 w 167"/>
                <a:gd name="T7" fmla="*/ 6 h 75"/>
                <a:gd name="T8" fmla="*/ 32 w 167"/>
                <a:gd name="T9" fmla="*/ 3 h 75"/>
                <a:gd name="T10" fmla="*/ 31 w 167"/>
                <a:gd name="T11" fmla="*/ 6 h 75"/>
                <a:gd name="T12" fmla="*/ 0 w 167"/>
                <a:gd name="T13" fmla="*/ 38 h 75"/>
                <a:gd name="T14" fmla="*/ 11 w 167"/>
                <a:gd name="T15" fmla="*/ 49 h 75"/>
                <a:gd name="T16" fmla="*/ 65 w 167"/>
                <a:gd name="T17" fmla="*/ 54 h 75"/>
                <a:gd name="T18" fmla="*/ 78 w 167"/>
                <a:gd name="T19" fmla="*/ 44 h 75"/>
                <a:gd name="T20" fmla="*/ 96 w 167"/>
                <a:gd name="T21" fmla="*/ 51 h 75"/>
                <a:gd name="T22" fmla="*/ 102 w 167"/>
                <a:gd name="T23" fmla="*/ 67 h 75"/>
                <a:gd name="T24" fmla="*/ 115 w 167"/>
                <a:gd name="T25" fmla="*/ 75 h 75"/>
                <a:gd name="T26" fmla="*/ 120 w 167"/>
                <a:gd name="T27" fmla="*/ 74 h 75"/>
                <a:gd name="T28" fmla="*/ 113 w 167"/>
                <a:gd name="T29" fmla="*/ 43 h 75"/>
                <a:gd name="T30" fmla="*/ 96 w 167"/>
                <a:gd name="T31" fmla="*/ 35 h 75"/>
                <a:gd name="T32" fmla="*/ 118 w 167"/>
                <a:gd name="T33" fmla="*/ 39 h 75"/>
                <a:gd name="T34" fmla="*/ 129 w 167"/>
                <a:gd name="T35" fmla="*/ 55 h 75"/>
                <a:gd name="T36" fmla="*/ 146 w 167"/>
                <a:gd name="T37" fmla="*/ 61 h 75"/>
                <a:gd name="T38" fmla="*/ 151 w 167"/>
                <a:gd name="T39" fmla="*/ 59 h 75"/>
                <a:gd name="T40" fmla="*/ 141 w 167"/>
                <a:gd name="T41" fmla="*/ 39 h 75"/>
                <a:gd name="T42" fmla="*/ 145 w 167"/>
                <a:gd name="T43" fmla="*/ 43 h 75"/>
                <a:gd name="T44" fmla="*/ 163 w 167"/>
                <a:gd name="T45" fmla="*/ 47 h 75"/>
                <a:gd name="T46" fmla="*/ 167 w 167"/>
                <a:gd name="T47" fmla="*/ 45 h 75"/>
                <a:gd name="T48" fmla="*/ 147 w 167"/>
                <a:gd name="T49" fmla="*/ 1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7" h="75">
                  <a:moveTo>
                    <a:pt x="147" y="14"/>
                  </a:moveTo>
                  <a:cubicBezTo>
                    <a:pt x="101" y="1"/>
                    <a:pt x="101" y="1"/>
                    <a:pt x="101" y="1"/>
                  </a:cubicBezTo>
                  <a:cubicBezTo>
                    <a:pt x="99" y="0"/>
                    <a:pt x="97" y="0"/>
                    <a:pt x="95" y="0"/>
                  </a:cubicBezTo>
                  <a:cubicBezTo>
                    <a:pt x="95" y="0"/>
                    <a:pt x="44" y="7"/>
                    <a:pt x="34" y="6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24" y="17"/>
                    <a:pt x="14" y="31"/>
                    <a:pt x="0" y="38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25" y="64"/>
                    <a:pt x="48" y="66"/>
                    <a:pt x="65" y="5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102" y="67"/>
                    <a:pt x="102" y="67"/>
                    <a:pt x="102" y="67"/>
                  </a:cubicBezTo>
                  <a:cubicBezTo>
                    <a:pt x="104" y="72"/>
                    <a:pt x="110" y="75"/>
                    <a:pt x="115" y="75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33" y="60"/>
                    <a:pt x="140" y="63"/>
                    <a:pt x="146" y="61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5" y="43"/>
                    <a:pt x="145" y="43"/>
                    <a:pt x="145" y="43"/>
                  </a:cubicBezTo>
                  <a:cubicBezTo>
                    <a:pt x="149" y="48"/>
                    <a:pt x="156" y="50"/>
                    <a:pt x="163" y="47"/>
                  </a:cubicBezTo>
                  <a:cubicBezTo>
                    <a:pt x="167" y="45"/>
                    <a:pt x="167" y="45"/>
                    <a:pt x="167" y="45"/>
                  </a:cubicBezTo>
                  <a:lnTo>
                    <a:pt x="147" y="14"/>
                  </a:lnTo>
                  <a:close/>
                </a:path>
              </a:pathLst>
            </a:custGeom>
            <a:solidFill>
              <a:srgbClr val="DB9C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9">
              <a:extLst>
                <a:ext uri="{FF2B5EF4-FFF2-40B4-BE49-F238E27FC236}">
                  <a16:creationId xmlns:a16="http://schemas.microsoft.com/office/drawing/2014/main" id="{BDE2DF0E-9CE5-4451-99DB-3D857D37294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4633" y="1237"/>
              <a:ext cx="399" cy="407"/>
            </a:xfrm>
            <a:custGeom>
              <a:avLst/>
              <a:gdLst>
                <a:gd name="T0" fmla="*/ 131 w 248"/>
                <a:gd name="T1" fmla="*/ 5 h 252"/>
                <a:gd name="T2" fmla="*/ 77 w 248"/>
                <a:gd name="T3" fmla="*/ 23 h 252"/>
                <a:gd name="T4" fmla="*/ 44 w 248"/>
                <a:gd name="T5" fmla="*/ 8 h 252"/>
                <a:gd name="T6" fmla="*/ 0 w 248"/>
                <a:gd name="T7" fmla="*/ 51 h 252"/>
                <a:gd name="T8" fmla="*/ 36 w 248"/>
                <a:gd name="T9" fmla="*/ 94 h 252"/>
                <a:gd name="T10" fmla="*/ 32 w 248"/>
                <a:gd name="T11" fmla="*/ 116 h 252"/>
                <a:gd name="T12" fmla="*/ 100 w 248"/>
                <a:gd name="T13" fmla="*/ 252 h 252"/>
                <a:gd name="T14" fmla="*/ 82 w 248"/>
                <a:gd name="T15" fmla="*/ 177 h 252"/>
                <a:gd name="T16" fmla="*/ 85 w 248"/>
                <a:gd name="T17" fmla="*/ 170 h 252"/>
                <a:gd name="T18" fmla="*/ 92 w 248"/>
                <a:gd name="T19" fmla="*/ 228 h 252"/>
                <a:gd name="T20" fmla="*/ 98 w 248"/>
                <a:gd name="T21" fmla="*/ 102 h 252"/>
                <a:gd name="T22" fmla="*/ 101 w 248"/>
                <a:gd name="T23" fmla="*/ 64 h 252"/>
                <a:gd name="T24" fmla="*/ 200 w 248"/>
                <a:gd name="T25" fmla="*/ 51 h 252"/>
                <a:gd name="T26" fmla="*/ 248 w 248"/>
                <a:gd name="T27" fmla="*/ 81 h 252"/>
                <a:gd name="T28" fmla="*/ 131 w 248"/>
                <a:gd name="T29" fmla="*/ 5 h 252"/>
                <a:gd name="T30" fmla="*/ 67 w 248"/>
                <a:gd name="T31" fmla="*/ 177 h 252"/>
                <a:gd name="T32" fmla="*/ 70 w 248"/>
                <a:gd name="T33" fmla="*/ 123 h 252"/>
                <a:gd name="T34" fmla="*/ 67 w 248"/>
                <a:gd name="T35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8" h="252">
                  <a:moveTo>
                    <a:pt x="131" y="5"/>
                  </a:moveTo>
                  <a:cubicBezTo>
                    <a:pt x="109" y="6"/>
                    <a:pt x="91" y="13"/>
                    <a:pt x="77" y="23"/>
                  </a:cubicBezTo>
                  <a:cubicBezTo>
                    <a:pt x="69" y="14"/>
                    <a:pt x="57" y="8"/>
                    <a:pt x="44" y="8"/>
                  </a:cubicBezTo>
                  <a:cubicBezTo>
                    <a:pt x="20" y="8"/>
                    <a:pt x="0" y="27"/>
                    <a:pt x="0" y="51"/>
                  </a:cubicBezTo>
                  <a:cubicBezTo>
                    <a:pt x="0" y="73"/>
                    <a:pt x="16" y="90"/>
                    <a:pt x="36" y="94"/>
                  </a:cubicBezTo>
                  <a:cubicBezTo>
                    <a:pt x="34" y="101"/>
                    <a:pt x="33" y="109"/>
                    <a:pt x="32" y="116"/>
                  </a:cubicBezTo>
                  <a:cubicBezTo>
                    <a:pt x="25" y="213"/>
                    <a:pt x="100" y="252"/>
                    <a:pt x="100" y="252"/>
                  </a:cubicBezTo>
                  <a:cubicBezTo>
                    <a:pt x="100" y="252"/>
                    <a:pt x="60" y="218"/>
                    <a:pt x="82" y="177"/>
                  </a:cubicBezTo>
                  <a:cubicBezTo>
                    <a:pt x="83" y="174"/>
                    <a:pt x="84" y="172"/>
                    <a:pt x="85" y="170"/>
                  </a:cubicBezTo>
                  <a:cubicBezTo>
                    <a:pt x="87" y="194"/>
                    <a:pt x="90" y="218"/>
                    <a:pt x="92" y="228"/>
                  </a:cubicBezTo>
                  <a:cubicBezTo>
                    <a:pt x="115" y="181"/>
                    <a:pt x="105" y="126"/>
                    <a:pt x="98" y="102"/>
                  </a:cubicBezTo>
                  <a:cubicBezTo>
                    <a:pt x="98" y="90"/>
                    <a:pt x="98" y="79"/>
                    <a:pt x="101" y="64"/>
                  </a:cubicBezTo>
                  <a:cubicBezTo>
                    <a:pt x="111" y="24"/>
                    <a:pt x="178" y="26"/>
                    <a:pt x="200" y="51"/>
                  </a:cubicBezTo>
                  <a:cubicBezTo>
                    <a:pt x="218" y="71"/>
                    <a:pt x="224" y="75"/>
                    <a:pt x="248" y="81"/>
                  </a:cubicBezTo>
                  <a:cubicBezTo>
                    <a:pt x="233" y="22"/>
                    <a:pt x="196" y="0"/>
                    <a:pt x="131" y="5"/>
                  </a:cubicBezTo>
                  <a:close/>
                  <a:moveTo>
                    <a:pt x="67" y="177"/>
                  </a:moveTo>
                  <a:cubicBezTo>
                    <a:pt x="38" y="165"/>
                    <a:pt x="47" y="121"/>
                    <a:pt x="70" y="123"/>
                  </a:cubicBezTo>
                  <a:cubicBezTo>
                    <a:pt x="75" y="147"/>
                    <a:pt x="67" y="177"/>
                    <a:pt x="67" y="177"/>
                  </a:cubicBezTo>
                  <a:close/>
                </a:path>
              </a:pathLst>
            </a:custGeom>
            <a:solidFill>
              <a:srgbClr val="725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70">
              <a:extLst>
                <a:ext uri="{FF2B5EF4-FFF2-40B4-BE49-F238E27FC236}">
                  <a16:creationId xmlns:a16="http://schemas.microsoft.com/office/drawing/2014/main" id="{78658028-9640-4C9D-A68D-CB5ED87291A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4705" y="1516"/>
              <a:ext cx="68" cy="68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20 w 68"/>
                <a:gd name="T11" fmla="*/ 34 h 68"/>
                <a:gd name="T12" fmla="*/ 34 w 68"/>
                <a:gd name="T13" fmla="*/ 18 h 68"/>
                <a:gd name="T14" fmla="*/ 50 w 68"/>
                <a:gd name="T15" fmla="*/ 34 h 68"/>
                <a:gd name="T16" fmla="*/ 34 w 68"/>
                <a:gd name="T17" fmla="*/ 50 h 68"/>
                <a:gd name="T18" fmla="*/ 20 w 68"/>
                <a:gd name="T19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lnTo>
                    <a:pt x="0" y="34"/>
                  </a:lnTo>
                  <a:lnTo>
                    <a:pt x="34" y="68"/>
                  </a:lnTo>
                  <a:lnTo>
                    <a:pt x="68" y="34"/>
                  </a:lnTo>
                  <a:lnTo>
                    <a:pt x="34" y="0"/>
                  </a:lnTo>
                  <a:close/>
                  <a:moveTo>
                    <a:pt x="20" y="34"/>
                  </a:moveTo>
                  <a:lnTo>
                    <a:pt x="34" y="18"/>
                  </a:lnTo>
                  <a:lnTo>
                    <a:pt x="50" y="34"/>
                  </a:lnTo>
                  <a:lnTo>
                    <a:pt x="34" y="50"/>
                  </a:lnTo>
                  <a:lnTo>
                    <a:pt x="20" y="34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71">
              <a:extLst>
                <a:ext uri="{FF2B5EF4-FFF2-40B4-BE49-F238E27FC236}">
                  <a16:creationId xmlns:a16="http://schemas.microsoft.com/office/drawing/2014/main" id="{8CBE29E6-808D-4496-A740-B61CD650FE9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923" y="1502"/>
              <a:ext cx="98" cy="46"/>
            </a:xfrm>
            <a:custGeom>
              <a:avLst/>
              <a:gdLst>
                <a:gd name="T0" fmla="*/ 0 w 61"/>
                <a:gd name="T1" fmla="*/ 10 h 29"/>
                <a:gd name="T2" fmla="*/ 61 w 61"/>
                <a:gd name="T3" fmla="*/ 0 h 29"/>
                <a:gd name="T4" fmla="*/ 59 w 61"/>
                <a:gd name="T5" fmla="*/ 3 h 29"/>
                <a:gd name="T6" fmla="*/ 14 w 61"/>
                <a:gd name="T7" fmla="*/ 19 h 29"/>
                <a:gd name="T8" fmla="*/ 0 w 61"/>
                <a:gd name="T9" fmla="*/ 1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29">
                  <a:moveTo>
                    <a:pt x="0" y="1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0" y="22"/>
                    <a:pt x="30" y="29"/>
                    <a:pt x="14" y="19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72">
              <a:extLst>
                <a:ext uri="{FF2B5EF4-FFF2-40B4-BE49-F238E27FC236}">
                  <a16:creationId xmlns:a16="http://schemas.microsoft.com/office/drawing/2014/main" id="{8AA25560-9AD7-4769-BCAE-08AD0D6649C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105" y="1624"/>
              <a:ext cx="509" cy="242"/>
            </a:xfrm>
            <a:custGeom>
              <a:avLst/>
              <a:gdLst>
                <a:gd name="T0" fmla="*/ 312 w 316"/>
                <a:gd name="T1" fmla="*/ 1 h 150"/>
                <a:gd name="T2" fmla="*/ 312 w 316"/>
                <a:gd name="T3" fmla="*/ 1 h 150"/>
                <a:gd name="T4" fmla="*/ 311 w 316"/>
                <a:gd name="T5" fmla="*/ 0 h 150"/>
                <a:gd name="T6" fmla="*/ 195 w 316"/>
                <a:gd name="T7" fmla="*/ 93 h 150"/>
                <a:gd name="T8" fmla="*/ 171 w 316"/>
                <a:gd name="T9" fmla="*/ 95 h 150"/>
                <a:gd name="T10" fmla="*/ 171 w 316"/>
                <a:gd name="T11" fmla="*/ 95 h 150"/>
                <a:gd name="T12" fmla="*/ 162 w 316"/>
                <a:gd name="T13" fmla="*/ 99 h 150"/>
                <a:gd name="T14" fmla="*/ 161 w 316"/>
                <a:gd name="T15" fmla="*/ 107 h 150"/>
                <a:gd name="T16" fmla="*/ 136 w 316"/>
                <a:gd name="T17" fmla="*/ 125 h 150"/>
                <a:gd name="T18" fmla="*/ 0 w 316"/>
                <a:gd name="T19" fmla="*/ 99 h 150"/>
                <a:gd name="T20" fmla="*/ 25 w 316"/>
                <a:gd name="T21" fmla="*/ 150 h 150"/>
                <a:gd name="T22" fmla="*/ 160 w 316"/>
                <a:gd name="T23" fmla="*/ 144 h 150"/>
                <a:gd name="T24" fmla="*/ 175 w 316"/>
                <a:gd name="T25" fmla="*/ 139 h 150"/>
                <a:gd name="T26" fmla="*/ 316 w 316"/>
                <a:gd name="T27" fmla="*/ 16 h 150"/>
                <a:gd name="T28" fmla="*/ 312 w 316"/>
                <a:gd name="T29" fmla="*/ 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6" h="150">
                  <a:moveTo>
                    <a:pt x="312" y="1"/>
                  </a:moveTo>
                  <a:cubicBezTo>
                    <a:pt x="312" y="1"/>
                    <a:pt x="312" y="1"/>
                    <a:pt x="312" y="1"/>
                  </a:cubicBezTo>
                  <a:cubicBezTo>
                    <a:pt x="312" y="0"/>
                    <a:pt x="311" y="0"/>
                    <a:pt x="311" y="0"/>
                  </a:cubicBezTo>
                  <a:cubicBezTo>
                    <a:pt x="195" y="93"/>
                    <a:pt x="195" y="93"/>
                    <a:pt x="195" y="93"/>
                  </a:cubicBezTo>
                  <a:cubicBezTo>
                    <a:pt x="188" y="99"/>
                    <a:pt x="179" y="99"/>
                    <a:pt x="171" y="95"/>
                  </a:cubicBezTo>
                  <a:cubicBezTo>
                    <a:pt x="171" y="95"/>
                    <a:pt x="171" y="95"/>
                    <a:pt x="171" y="95"/>
                  </a:cubicBezTo>
                  <a:cubicBezTo>
                    <a:pt x="167" y="93"/>
                    <a:pt x="163" y="95"/>
                    <a:pt x="162" y="99"/>
                  </a:cubicBezTo>
                  <a:cubicBezTo>
                    <a:pt x="161" y="107"/>
                    <a:pt x="161" y="107"/>
                    <a:pt x="161" y="107"/>
                  </a:cubicBezTo>
                  <a:cubicBezTo>
                    <a:pt x="159" y="119"/>
                    <a:pt x="148" y="127"/>
                    <a:pt x="136" y="125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25" y="150"/>
                    <a:pt x="25" y="150"/>
                    <a:pt x="25" y="150"/>
                  </a:cubicBezTo>
                  <a:cubicBezTo>
                    <a:pt x="160" y="144"/>
                    <a:pt x="160" y="144"/>
                    <a:pt x="160" y="144"/>
                  </a:cubicBezTo>
                  <a:cubicBezTo>
                    <a:pt x="165" y="144"/>
                    <a:pt x="171" y="142"/>
                    <a:pt x="175" y="139"/>
                  </a:cubicBezTo>
                  <a:cubicBezTo>
                    <a:pt x="316" y="16"/>
                    <a:pt x="316" y="16"/>
                    <a:pt x="316" y="16"/>
                  </a:cubicBezTo>
                  <a:cubicBezTo>
                    <a:pt x="316" y="11"/>
                    <a:pt x="314" y="6"/>
                    <a:pt x="312" y="1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73">
              <a:extLst>
                <a:ext uri="{FF2B5EF4-FFF2-40B4-BE49-F238E27FC236}">
                  <a16:creationId xmlns:a16="http://schemas.microsoft.com/office/drawing/2014/main" id="{F3DCCDB6-C6F3-420E-8B96-7D80C64919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626" y="1976"/>
              <a:ext cx="78" cy="117"/>
            </a:xfrm>
            <a:custGeom>
              <a:avLst/>
              <a:gdLst>
                <a:gd name="T0" fmla="*/ 0 w 48"/>
                <a:gd name="T1" fmla="*/ 34 h 73"/>
                <a:gd name="T2" fmla="*/ 48 w 48"/>
                <a:gd name="T3" fmla="*/ 0 h 73"/>
                <a:gd name="T4" fmla="*/ 14 w 48"/>
                <a:gd name="T5" fmla="*/ 73 h 73"/>
                <a:gd name="T6" fmla="*/ 0 w 48"/>
                <a:gd name="T7" fmla="*/ 3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73">
                  <a:moveTo>
                    <a:pt x="0" y="34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39" y="56"/>
                    <a:pt x="14" y="73"/>
                  </a:cubicBezTo>
                  <a:cubicBezTo>
                    <a:pt x="2" y="46"/>
                    <a:pt x="0" y="34"/>
                    <a:pt x="0" y="34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74">
              <a:extLst>
                <a:ext uri="{FF2B5EF4-FFF2-40B4-BE49-F238E27FC236}">
                  <a16:creationId xmlns:a16="http://schemas.microsoft.com/office/drawing/2014/main" id="{6043401B-325A-4CE0-8D9F-8556DD2586FC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4734" y="1366"/>
              <a:ext cx="318" cy="104"/>
            </a:xfrm>
            <a:custGeom>
              <a:avLst/>
              <a:gdLst>
                <a:gd name="T0" fmla="*/ 196 w 197"/>
                <a:gd name="T1" fmla="*/ 24 h 64"/>
                <a:gd name="T2" fmla="*/ 194 w 197"/>
                <a:gd name="T3" fmla="*/ 11 h 64"/>
                <a:gd name="T4" fmla="*/ 189 w 197"/>
                <a:gd name="T5" fmla="*/ 3 h 64"/>
                <a:gd name="T6" fmla="*/ 179 w 197"/>
                <a:gd name="T7" fmla="*/ 1 h 64"/>
                <a:gd name="T8" fmla="*/ 142 w 197"/>
                <a:gd name="T9" fmla="*/ 7 h 64"/>
                <a:gd name="T10" fmla="*/ 138 w 197"/>
                <a:gd name="T11" fmla="*/ 9 h 64"/>
                <a:gd name="T12" fmla="*/ 133 w 197"/>
                <a:gd name="T13" fmla="*/ 7 h 64"/>
                <a:gd name="T14" fmla="*/ 112 w 197"/>
                <a:gd name="T15" fmla="*/ 10 h 64"/>
                <a:gd name="T16" fmla="*/ 106 w 197"/>
                <a:gd name="T17" fmla="*/ 14 h 64"/>
                <a:gd name="T18" fmla="*/ 103 w 197"/>
                <a:gd name="T19" fmla="*/ 14 h 64"/>
                <a:gd name="T20" fmla="*/ 55 w 197"/>
                <a:gd name="T21" fmla="*/ 22 h 64"/>
                <a:gd name="T22" fmla="*/ 2 w 197"/>
                <a:gd name="T23" fmla="*/ 43 h 64"/>
                <a:gd name="T24" fmla="*/ 1 w 197"/>
                <a:gd name="T25" fmla="*/ 47 h 64"/>
                <a:gd name="T26" fmla="*/ 3 w 197"/>
                <a:gd name="T27" fmla="*/ 49 h 64"/>
                <a:gd name="T28" fmla="*/ 5 w 197"/>
                <a:gd name="T29" fmla="*/ 48 h 64"/>
                <a:gd name="T30" fmla="*/ 45 w 197"/>
                <a:gd name="T31" fmla="*/ 32 h 64"/>
                <a:gd name="T32" fmla="*/ 45 w 197"/>
                <a:gd name="T33" fmla="*/ 37 h 64"/>
                <a:gd name="T34" fmla="*/ 47 w 197"/>
                <a:gd name="T35" fmla="*/ 49 h 64"/>
                <a:gd name="T36" fmla="*/ 64 w 197"/>
                <a:gd name="T37" fmla="*/ 64 h 64"/>
                <a:gd name="T38" fmla="*/ 67 w 197"/>
                <a:gd name="T39" fmla="*/ 64 h 64"/>
                <a:gd name="T40" fmla="*/ 101 w 197"/>
                <a:gd name="T41" fmla="*/ 59 h 64"/>
                <a:gd name="T42" fmla="*/ 112 w 197"/>
                <a:gd name="T43" fmla="*/ 52 h 64"/>
                <a:gd name="T44" fmla="*/ 115 w 197"/>
                <a:gd name="T45" fmla="*/ 39 h 64"/>
                <a:gd name="T46" fmla="*/ 112 w 197"/>
                <a:gd name="T47" fmla="*/ 20 h 64"/>
                <a:gd name="T48" fmla="*/ 111 w 197"/>
                <a:gd name="T49" fmla="*/ 18 h 64"/>
                <a:gd name="T50" fmla="*/ 115 w 197"/>
                <a:gd name="T51" fmla="*/ 15 h 64"/>
                <a:gd name="T52" fmla="*/ 131 w 197"/>
                <a:gd name="T53" fmla="*/ 13 h 64"/>
                <a:gd name="T54" fmla="*/ 135 w 197"/>
                <a:gd name="T55" fmla="*/ 14 h 64"/>
                <a:gd name="T56" fmla="*/ 135 w 197"/>
                <a:gd name="T57" fmla="*/ 16 h 64"/>
                <a:gd name="T58" fmla="*/ 138 w 197"/>
                <a:gd name="T59" fmla="*/ 34 h 64"/>
                <a:gd name="T60" fmla="*/ 138 w 197"/>
                <a:gd name="T61" fmla="*/ 34 h 64"/>
                <a:gd name="T62" fmla="*/ 147 w 197"/>
                <a:gd name="T63" fmla="*/ 39 h 64"/>
                <a:gd name="T64" fmla="*/ 144 w 197"/>
                <a:gd name="T65" fmla="*/ 33 h 64"/>
                <a:gd name="T66" fmla="*/ 141 w 197"/>
                <a:gd name="T67" fmla="*/ 15 h 64"/>
                <a:gd name="T68" fmla="*/ 141 w 197"/>
                <a:gd name="T69" fmla="*/ 14 h 64"/>
                <a:gd name="T70" fmla="*/ 143 w 197"/>
                <a:gd name="T71" fmla="*/ 13 h 64"/>
                <a:gd name="T72" fmla="*/ 180 w 197"/>
                <a:gd name="T73" fmla="*/ 7 h 64"/>
                <a:gd name="T74" fmla="*/ 181 w 197"/>
                <a:gd name="T75" fmla="*/ 7 h 64"/>
                <a:gd name="T76" fmla="*/ 185 w 197"/>
                <a:gd name="T77" fmla="*/ 8 h 64"/>
                <a:gd name="T78" fmla="*/ 188 w 197"/>
                <a:gd name="T79" fmla="*/ 12 h 64"/>
                <a:gd name="T80" fmla="*/ 190 w 197"/>
                <a:gd name="T81" fmla="*/ 25 h 64"/>
                <a:gd name="T82" fmla="*/ 188 w 197"/>
                <a:gd name="T83" fmla="*/ 34 h 64"/>
                <a:gd name="T84" fmla="*/ 181 w 197"/>
                <a:gd name="T85" fmla="*/ 39 h 64"/>
                <a:gd name="T86" fmla="*/ 157 w 197"/>
                <a:gd name="T87" fmla="*/ 43 h 64"/>
                <a:gd name="T88" fmla="*/ 153 w 197"/>
                <a:gd name="T89" fmla="*/ 42 h 64"/>
                <a:gd name="T90" fmla="*/ 163 w 197"/>
                <a:gd name="T91" fmla="*/ 48 h 64"/>
                <a:gd name="T92" fmla="*/ 182 w 197"/>
                <a:gd name="T93" fmla="*/ 44 h 64"/>
                <a:gd name="T94" fmla="*/ 193 w 197"/>
                <a:gd name="T95" fmla="*/ 37 h 64"/>
                <a:gd name="T96" fmla="*/ 196 w 197"/>
                <a:gd name="T97" fmla="*/ 24 h 64"/>
                <a:gd name="T98" fmla="*/ 107 w 197"/>
                <a:gd name="T99" fmla="*/ 48 h 64"/>
                <a:gd name="T100" fmla="*/ 100 w 197"/>
                <a:gd name="T101" fmla="*/ 53 h 64"/>
                <a:gd name="T102" fmla="*/ 66 w 197"/>
                <a:gd name="T103" fmla="*/ 58 h 64"/>
                <a:gd name="T104" fmla="*/ 53 w 197"/>
                <a:gd name="T105" fmla="*/ 49 h 64"/>
                <a:gd name="T106" fmla="*/ 51 w 197"/>
                <a:gd name="T107" fmla="*/ 36 h 64"/>
                <a:gd name="T108" fmla="*/ 56 w 197"/>
                <a:gd name="T109" fmla="*/ 28 h 64"/>
                <a:gd name="T110" fmla="*/ 104 w 197"/>
                <a:gd name="T111" fmla="*/ 20 h 64"/>
                <a:gd name="T112" fmla="*/ 104 w 197"/>
                <a:gd name="T113" fmla="*/ 20 h 64"/>
                <a:gd name="T114" fmla="*/ 105 w 197"/>
                <a:gd name="T115" fmla="*/ 20 h 64"/>
                <a:gd name="T116" fmla="*/ 106 w 197"/>
                <a:gd name="T117" fmla="*/ 21 h 64"/>
                <a:gd name="T118" fmla="*/ 109 w 197"/>
                <a:gd name="T119" fmla="*/ 40 h 64"/>
                <a:gd name="T120" fmla="*/ 107 w 197"/>
                <a:gd name="T121" fmla="*/ 4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7" h="64">
                  <a:moveTo>
                    <a:pt x="196" y="24"/>
                  </a:moveTo>
                  <a:cubicBezTo>
                    <a:pt x="194" y="11"/>
                    <a:pt x="194" y="11"/>
                    <a:pt x="194" y="11"/>
                  </a:cubicBezTo>
                  <a:cubicBezTo>
                    <a:pt x="194" y="8"/>
                    <a:pt x="192" y="5"/>
                    <a:pt x="189" y="3"/>
                  </a:cubicBezTo>
                  <a:cubicBezTo>
                    <a:pt x="186" y="1"/>
                    <a:pt x="183" y="0"/>
                    <a:pt x="179" y="1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0" y="7"/>
                    <a:pt x="139" y="8"/>
                    <a:pt x="138" y="9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26" y="5"/>
                    <a:pt x="118" y="6"/>
                    <a:pt x="112" y="10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5" y="14"/>
                    <a:pt x="104" y="14"/>
                    <a:pt x="103" y="14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3" y="22"/>
                    <a:pt x="2" y="43"/>
                    <a:pt x="2" y="43"/>
                  </a:cubicBezTo>
                  <a:cubicBezTo>
                    <a:pt x="1" y="44"/>
                    <a:pt x="0" y="45"/>
                    <a:pt x="1" y="47"/>
                  </a:cubicBezTo>
                  <a:cubicBezTo>
                    <a:pt x="1" y="48"/>
                    <a:pt x="2" y="49"/>
                    <a:pt x="3" y="49"/>
                  </a:cubicBezTo>
                  <a:cubicBezTo>
                    <a:pt x="4" y="49"/>
                    <a:pt x="4" y="49"/>
                    <a:pt x="5" y="48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4" y="34"/>
                    <a:pt x="44" y="35"/>
                    <a:pt x="45" y="37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8" y="58"/>
                    <a:pt x="56" y="64"/>
                    <a:pt x="64" y="64"/>
                  </a:cubicBezTo>
                  <a:cubicBezTo>
                    <a:pt x="65" y="64"/>
                    <a:pt x="66" y="64"/>
                    <a:pt x="67" y="64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5" y="58"/>
                    <a:pt x="109" y="55"/>
                    <a:pt x="112" y="52"/>
                  </a:cubicBezTo>
                  <a:cubicBezTo>
                    <a:pt x="115" y="48"/>
                    <a:pt x="116" y="43"/>
                    <a:pt x="115" y="39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2" y="19"/>
                    <a:pt x="112" y="19"/>
                    <a:pt x="111" y="18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120" y="12"/>
                    <a:pt x="126" y="11"/>
                    <a:pt x="131" y="13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5" y="15"/>
                    <a:pt x="135" y="15"/>
                    <a:pt x="135" y="16"/>
                  </a:cubicBezTo>
                  <a:cubicBezTo>
                    <a:pt x="138" y="34"/>
                    <a:pt x="138" y="34"/>
                    <a:pt x="138" y="34"/>
                  </a:cubicBezTo>
                  <a:cubicBezTo>
                    <a:pt x="138" y="34"/>
                    <a:pt x="138" y="34"/>
                    <a:pt x="138" y="34"/>
                  </a:cubicBezTo>
                  <a:cubicBezTo>
                    <a:pt x="147" y="39"/>
                    <a:pt x="147" y="39"/>
                    <a:pt x="147" y="39"/>
                  </a:cubicBezTo>
                  <a:cubicBezTo>
                    <a:pt x="146" y="38"/>
                    <a:pt x="144" y="35"/>
                    <a:pt x="144" y="33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2" y="13"/>
                    <a:pt x="142" y="13"/>
                    <a:pt x="143" y="13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3" y="7"/>
                    <a:pt x="184" y="7"/>
                    <a:pt x="185" y="8"/>
                  </a:cubicBezTo>
                  <a:cubicBezTo>
                    <a:pt x="187" y="9"/>
                    <a:pt x="188" y="11"/>
                    <a:pt x="188" y="12"/>
                  </a:cubicBezTo>
                  <a:cubicBezTo>
                    <a:pt x="190" y="25"/>
                    <a:pt x="190" y="25"/>
                    <a:pt x="190" y="25"/>
                  </a:cubicBezTo>
                  <a:cubicBezTo>
                    <a:pt x="191" y="28"/>
                    <a:pt x="190" y="31"/>
                    <a:pt x="188" y="34"/>
                  </a:cubicBezTo>
                  <a:cubicBezTo>
                    <a:pt x="187" y="36"/>
                    <a:pt x="184" y="38"/>
                    <a:pt x="181" y="39"/>
                  </a:cubicBezTo>
                  <a:cubicBezTo>
                    <a:pt x="157" y="43"/>
                    <a:pt x="157" y="43"/>
                    <a:pt x="157" y="43"/>
                  </a:cubicBezTo>
                  <a:cubicBezTo>
                    <a:pt x="156" y="43"/>
                    <a:pt x="154" y="43"/>
                    <a:pt x="153" y="42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82" y="44"/>
                    <a:pt x="182" y="44"/>
                    <a:pt x="182" y="44"/>
                  </a:cubicBezTo>
                  <a:cubicBezTo>
                    <a:pt x="186" y="44"/>
                    <a:pt x="190" y="41"/>
                    <a:pt x="193" y="37"/>
                  </a:cubicBezTo>
                  <a:cubicBezTo>
                    <a:pt x="196" y="34"/>
                    <a:pt x="197" y="29"/>
                    <a:pt x="196" y="24"/>
                  </a:cubicBezTo>
                  <a:close/>
                  <a:moveTo>
                    <a:pt x="107" y="48"/>
                  </a:moveTo>
                  <a:cubicBezTo>
                    <a:pt x="105" y="51"/>
                    <a:pt x="103" y="52"/>
                    <a:pt x="100" y="53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59" y="59"/>
                    <a:pt x="54" y="55"/>
                    <a:pt x="53" y="49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0" y="32"/>
                    <a:pt x="53" y="28"/>
                    <a:pt x="56" y="28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6" y="20"/>
                    <a:pt x="106" y="21"/>
                    <a:pt x="106" y="21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0" y="43"/>
                    <a:pt x="109" y="46"/>
                    <a:pt x="107" y="48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75">
              <a:extLst>
                <a:ext uri="{FF2B5EF4-FFF2-40B4-BE49-F238E27FC236}">
                  <a16:creationId xmlns:a16="http://schemas.microsoft.com/office/drawing/2014/main" id="{BD7E2E4F-C9A7-4AEE-8BDB-2377B117795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24" y="1287"/>
              <a:ext cx="988" cy="827"/>
            </a:xfrm>
            <a:custGeom>
              <a:avLst/>
              <a:gdLst>
                <a:gd name="T0" fmla="*/ 613 w 613"/>
                <a:gd name="T1" fmla="*/ 143 h 513"/>
                <a:gd name="T2" fmla="*/ 471 w 613"/>
                <a:gd name="T3" fmla="*/ 0 h 513"/>
                <a:gd name="T4" fmla="*/ 397 w 613"/>
                <a:gd name="T5" fmla="*/ 21 h 513"/>
                <a:gd name="T6" fmla="*/ 345 w 613"/>
                <a:gd name="T7" fmla="*/ 15 h 513"/>
                <a:gd name="T8" fmla="*/ 112 w 613"/>
                <a:gd name="T9" fmla="*/ 177 h 513"/>
                <a:gd name="T10" fmla="*/ 101 w 613"/>
                <a:gd name="T11" fmla="*/ 177 h 513"/>
                <a:gd name="T12" fmla="*/ 0 w 613"/>
                <a:gd name="T13" fmla="*/ 278 h 513"/>
                <a:gd name="T14" fmla="*/ 101 w 613"/>
                <a:gd name="T15" fmla="*/ 379 h 513"/>
                <a:gd name="T16" fmla="*/ 123 w 613"/>
                <a:gd name="T17" fmla="*/ 376 h 513"/>
                <a:gd name="T18" fmla="*/ 345 w 613"/>
                <a:gd name="T19" fmla="*/ 513 h 513"/>
                <a:gd name="T20" fmla="*/ 594 w 613"/>
                <a:gd name="T21" fmla="*/ 264 h 513"/>
                <a:gd name="T22" fmla="*/ 590 w 613"/>
                <a:gd name="T23" fmla="*/ 221 h 513"/>
                <a:gd name="T24" fmla="*/ 613 w 613"/>
                <a:gd name="T25" fmla="*/ 14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3" h="513">
                  <a:moveTo>
                    <a:pt x="613" y="143"/>
                  </a:moveTo>
                  <a:cubicBezTo>
                    <a:pt x="613" y="64"/>
                    <a:pt x="550" y="0"/>
                    <a:pt x="471" y="0"/>
                  </a:cubicBezTo>
                  <a:cubicBezTo>
                    <a:pt x="444" y="0"/>
                    <a:pt x="419" y="8"/>
                    <a:pt x="397" y="21"/>
                  </a:cubicBezTo>
                  <a:cubicBezTo>
                    <a:pt x="380" y="17"/>
                    <a:pt x="363" y="15"/>
                    <a:pt x="345" y="15"/>
                  </a:cubicBezTo>
                  <a:cubicBezTo>
                    <a:pt x="238" y="15"/>
                    <a:pt x="147" y="83"/>
                    <a:pt x="112" y="177"/>
                  </a:cubicBezTo>
                  <a:cubicBezTo>
                    <a:pt x="109" y="177"/>
                    <a:pt x="105" y="177"/>
                    <a:pt x="101" y="177"/>
                  </a:cubicBezTo>
                  <a:cubicBezTo>
                    <a:pt x="45" y="177"/>
                    <a:pt x="0" y="222"/>
                    <a:pt x="0" y="278"/>
                  </a:cubicBezTo>
                  <a:cubicBezTo>
                    <a:pt x="0" y="334"/>
                    <a:pt x="45" y="379"/>
                    <a:pt x="101" y="379"/>
                  </a:cubicBezTo>
                  <a:cubicBezTo>
                    <a:pt x="109" y="379"/>
                    <a:pt x="116" y="378"/>
                    <a:pt x="123" y="376"/>
                  </a:cubicBezTo>
                  <a:cubicBezTo>
                    <a:pt x="164" y="457"/>
                    <a:pt x="248" y="513"/>
                    <a:pt x="345" y="513"/>
                  </a:cubicBezTo>
                  <a:cubicBezTo>
                    <a:pt x="483" y="513"/>
                    <a:pt x="594" y="402"/>
                    <a:pt x="594" y="264"/>
                  </a:cubicBezTo>
                  <a:cubicBezTo>
                    <a:pt x="594" y="249"/>
                    <a:pt x="593" y="235"/>
                    <a:pt x="590" y="221"/>
                  </a:cubicBezTo>
                  <a:cubicBezTo>
                    <a:pt x="605" y="198"/>
                    <a:pt x="613" y="172"/>
                    <a:pt x="613" y="143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76">
              <a:extLst>
                <a:ext uri="{FF2B5EF4-FFF2-40B4-BE49-F238E27FC236}">
                  <a16:creationId xmlns:a16="http://schemas.microsoft.com/office/drawing/2014/main" id="{8167C3E2-3AD1-422A-8D82-AD8A0F71422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654" y="1181"/>
              <a:ext cx="92" cy="92"/>
            </a:xfrm>
            <a:prstGeom prst="rect">
              <a:avLst/>
            </a:pr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77">
              <a:extLst>
                <a:ext uri="{FF2B5EF4-FFF2-40B4-BE49-F238E27FC236}">
                  <a16:creationId xmlns:a16="http://schemas.microsoft.com/office/drawing/2014/main" id="{12B338AB-8B52-405E-A1C9-83D69822AA0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578" y="1337"/>
              <a:ext cx="92" cy="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78">
              <a:extLst>
                <a:ext uri="{FF2B5EF4-FFF2-40B4-BE49-F238E27FC236}">
                  <a16:creationId xmlns:a16="http://schemas.microsoft.com/office/drawing/2014/main" id="{21C5E1CE-9741-4284-BDE3-315D0284194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372" y="1587"/>
              <a:ext cx="92" cy="92"/>
            </a:xfrm>
            <a:prstGeom prst="rect">
              <a:avLst/>
            </a:pr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Rectangle 79">
              <a:extLst>
                <a:ext uri="{FF2B5EF4-FFF2-40B4-BE49-F238E27FC236}">
                  <a16:creationId xmlns:a16="http://schemas.microsoft.com/office/drawing/2014/main" id="{4C29BB34-2363-40DF-9DE9-6C99236A4A0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504" y="1263"/>
              <a:ext cx="92" cy="92"/>
            </a:xfrm>
            <a:prstGeom prst="rect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80">
              <a:extLst>
                <a:ext uri="{FF2B5EF4-FFF2-40B4-BE49-F238E27FC236}">
                  <a16:creationId xmlns:a16="http://schemas.microsoft.com/office/drawing/2014/main" id="{F60D314A-739D-4319-8AE2-1987DCCB8E2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31" y="1397"/>
              <a:ext cx="31" cy="74"/>
            </a:xfrm>
            <a:custGeom>
              <a:avLst/>
              <a:gdLst>
                <a:gd name="T0" fmla="*/ 11 w 19"/>
                <a:gd name="T1" fmla="*/ 0 h 46"/>
                <a:gd name="T2" fmla="*/ 0 w 19"/>
                <a:gd name="T3" fmla="*/ 46 h 46"/>
                <a:gd name="T4" fmla="*/ 0 w 19"/>
                <a:gd name="T5" fmla="*/ 46 h 46"/>
                <a:gd name="T6" fmla="*/ 16 w 19"/>
                <a:gd name="T7" fmla="*/ 27 h 46"/>
                <a:gd name="T8" fmla="*/ 18 w 19"/>
                <a:gd name="T9" fmla="*/ 11 h 46"/>
                <a:gd name="T10" fmla="*/ 15 w 19"/>
                <a:gd name="T11" fmla="*/ 3 h 46"/>
                <a:gd name="T12" fmla="*/ 11 w 19"/>
                <a:gd name="T1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46">
                  <a:moveTo>
                    <a:pt x="11" y="0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8" y="43"/>
                    <a:pt x="14" y="36"/>
                    <a:pt x="16" y="2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8"/>
                    <a:pt x="18" y="5"/>
                    <a:pt x="15" y="3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81">
              <a:extLst>
                <a:ext uri="{FF2B5EF4-FFF2-40B4-BE49-F238E27FC236}">
                  <a16:creationId xmlns:a16="http://schemas.microsoft.com/office/drawing/2014/main" id="{4CB28BFA-66A1-4DF2-821E-8AC2CDE5AD3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06" y="1236"/>
              <a:ext cx="32" cy="56"/>
            </a:xfrm>
            <a:custGeom>
              <a:avLst/>
              <a:gdLst>
                <a:gd name="T0" fmla="*/ 8 w 20"/>
                <a:gd name="T1" fmla="*/ 0 h 35"/>
                <a:gd name="T2" fmla="*/ 1 w 20"/>
                <a:gd name="T3" fmla="*/ 35 h 35"/>
                <a:gd name="T4" fmla="*/ 20 w 20"/>
                <a:gd name="T5" fmla="*/ 4 h 35"/>
                <a:gd name="T6" fmla="*/ 8 w 20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35">
                  <a:moveTo>
                    <a:pt x="8" y="0"/>
                  </a:moveTo>
                  <a:cubicBezTo>
                    <a:pt x="8" y="0"/>
                    <a:pt x="0" y="11"/>
                    <a:pt x="1" y="35"/>
                  </a:cubicBezTo>
                  <a:cubicBezTo>
                    <a:pt x="10" y="23"/>
                    <a:pt x="20" y="4"/>
                    <a:pt x="20" y="4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4D2F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82">
              <a:extLst>
                <a:ext uri="{FF2B5EF4-FFF2-40B4-BE49-F238E27FC236}">
                  <a16:creationId xmlns:a16="http://schemas.microsoft.com/office/drawing/2014/main" id="{FE66A86C-705E-4ABC-9AA8-0F855A498DA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65" y="1913"/>
              <a:ext cx="327" cy="201"/>
            </a:xfrm>
            <a:custGeom>
              <a:avLst/>
              <a:gdLst>
                <a:gd name="T0" fmla="*/ 103 w 203"/>
                <a:gd name="T1" fmla="*/ 123 h 125"/>
                <a:gd name="T2" fmla="*/ 203 w 203"/>
                <a:gd name="T3" fmla="*/ 87 h 125"/>
                <a:gd name="T4" fmla="*/ 196 w 203"/>
                <a:gd name="T5" fmla="*/ 42 h 125"/>
                <a:gd name="T6" fmla="*/ 191 w 203"/>
                <a:gd name="T7" fmla="*/ 24 h 125"/>
                <a:gd name="T8" fmla="*/ 101 w 203"/>
                <a:gd name="T9" fmla="*/ 13 h 125"/>
                <a:gd name="T10" fmla="*/ 100 w 203"/>
                <a:gd name="T11" fmla="*/ 0 h 125"/>
                <a:gd name="T12" fmla="*/ 9 w 203"/>
                <a:gd name="T13" fmla="*/ 16 h 125"/>
                <a:gd name="T14" fmla="*/ 0 w 203"/>
                <a:gd name="T15" fmla="*/ 59 h 125"/>
                <a:gd name="T16" fmla="*/ 2 w 203"/>
                <a:gd name="T17" fmla="*/ 115 h 125"/>
                <a:gd name="T18" fmla="*/ 71 w 203"/>
                <a:gd name="T19" fmla="*/ 125 h 125"/>
                <a:gd name="T20" fmla="*/ 96 w 203"/>
                <a:gd name="T21" fmla="*/ 124 h 125"/>
                <a:gd name="T22" fmla="*/ 96 w 203"/>
                <a:gd name="T23" fmla="*/ 124 h 125"/>
                <a:gd name="T24" fmla="*/ 100 w 203"/>
                <a:gd name="T25" fmla="*/ 123 h 125"/>
                <a:gd name="T26" fmla="*/ 103 w 203"/>
                <a:gd name="T27" fmla="*/ 12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3" h="125">
                  <a:moveTo>
                    <a:pt x="103" y="123"/>
                  </a:moveTo>
                  <a:cubicBezTo>
                    <a:pt x="139" y="118"/>
                    <a:pt x="173" y="106"/>
                    <a:pt x="203" y="87"/>
                  </a:cubicBezTo>
                  <a:cubicBezTo>
                    <a:pt x="202" y="72"/>
                    <a:pt x="200" y="57"/>
                    <a:pt x="196" y="42"/>
                  </a:cubicBezTo>
                  <a:cubicBezTo>
                    <a:pt x="191" y="24"/>
                    <a:pt x="191" y="24"/>
                    <a:pt x="191" y="24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78"/>
                    <a:pt x="1" y="97"/>
                    <a:pt x="2" y="115"/>
                  </a:cubicBezTo>
                  <a:cubicBezTo>
                    <a:pt x="24" y="122"/>
                    <a:pt x="47" y="125"/>
                    <a:pt x="71" y="125"/>
                  </a:cubicBezTo>
                  <a:cubicBezTo>
                    <a:pt x="80" y="125"/>
                    <a:pt x="88" y="125"/>
                    <a:pt x="96" y="124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97" y="124"/>
                    <a:pt x="99" y="123"/>
                    <a:pt x="100" y="123"/>
                  </a:cubicBezTo>
                  <a:cubicBezTo>
                    <a:pt x="101" y="123"/>
                    <a:pt x="102" y="123"/>
                    <a:pt x="103" y="1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83">
              <a:extLst>
                <a:ext uri="{FF2B5EF4-FFF2-40B4-BE49-F238E27FC236}">
                  <a16:creationId xmlns:a16="http://schemas.microsoft.com/office/drawing/2014/main" id="{F737EF1C-99A6-4723-89EA-DDCB8478FEF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6388" y="1329"/>
              <a:ext cx="190" cy="245"/>
            </a:xfrm>
            <a:custGeom>
              <a:avLst/>
              <a:gdLst>
                <a:gd name="T0" fmla="*/ 92 w 118"/>
                <a:gd name="T1" fmla="*/ 100 h 152"/>
                <a:gd name="T2" fmla="*/ 65 w 118"/>
                <a:gd name="T3" fmla="*/ 41 h 152"/>
                <a:gd name="T4" fmla="*/ 28 w 118"/>
                <a:gd name="T5" fmla="*/ 0 h 152"/>
                <a:gd name="T6" fmla="*/ 27 w 118"/>
                <a:gd name="T7" fmla="*/ 0 h 152"/>
                <a:gd name="T8" fmla="*/ 24 w 118"/>
                <a:gd name="T9" fmla="*/ 11 h 152"/>
                <a:gd name="T10" fmla="*/ 47 w 118"/>
                <a:gd name="T11" fmla="*/ 45 h 152"/>
                <a:gd name="T12" fmla="*/ 33 w 118"/>
                <a:gd name="T13" fmla="*/ 42 h 152"/>
                <a:gd name="T14" fmla="*/ 18 w 118"/>
                <a:gd name="T15" fmla="*/ 50 h 152"/>
                <a:gd name="T16" fmla="*/ 11 w 118"/>
                <a:gd name="T17" fmla="*/ 67 h 152"/>
                <a:gd name="T18" fmla="*/ 12 w 118"/>
                <a:gd name="T19" fmla="*/ 67 h 152"/>
                <a:gd name="T20" fmla="*/ 15 w 118"/>
                <a:gd name="T21" fmla="*/ 68 h 152"/>
                <a:gd name="T22" fmla="*/ 11 w 118"/>
                <a:gd name="T23" fmla="*/ 73 h 152"/>
                <a:gd name="T24" fmla="*/ 13 w 118"/>
                <a:gd name="T25" fmla="*/ 74 h 152"/>
                <a:gd name="T26" fmla="*/ 22 w 118"/>
                <a:gd name="T27" fmla="*/ 73 h 152"/>
                <a:gd name="T28" fmla="*/ 23 w 118"/>
                <a:gd name="T29" fmla="*/ 74 h 152"/>
                <a:gd name="T30" fmla="*/ 32 w 118"/>
                <a:gd name="T31" fmla="*/ 73 h 152"/>
                <a:gd name="T32" fmla="*/ 36 w 118"/>
                <a:gd name="T33" fmla="*/ 69 h 152"/>
                <a:gd name="T34" fmla="*/ 40 w 118"/>
                <a:gd name="T35" fmla="*/ 68 h 152"/>
                <a:gd name="T36" fmla="*/ 48 w 118"/>
                <a:gd name="T37" fmla="*/ 74 h 152"/>
                <a:gd name="T38" fmla="*/ 49 w 118"/>
                <a:gd name="T39" fmla="*/ 78 h 152"/>
                <a:gd name="T40" fmla="*/ 35 w 118"/>
                <a:gd name="T41" fmla="*/ 84 h 152"/>
                <a:gd name="T42" fmla="*/ 8 w 118"/>
                <a:gd name="T43" fmla="*/ 80 h 152"/>
                <a:gd name="T44" fmla="*/ 0 w 118"/>
                <a:gd name="T45" fmla="*/ 88 h 152"/>
                <a:gd name="T46" fmla="*/ 0 w 118"/>
                <a:gd name="T47" fmla="*/ 89 h 152"/>
                <a:gd name="T48" fmla="*/ 3 w 118"/>
                <a:gd name="T49" fmla="*/ 91 h 152"/>
                <a:gd name="T50" fmla="*/ 29 w 118"/>
                <a:gd name="T51" fmla="*/ 98 h 152"/>
                <a:gd name="T52" fmla="*/ 29 w 118"/>
                <a:gd name="T53" fmla="*/ 98 h 152"/>
                <a:gd name="T54" fmla="*/ 64 w 118"/>
                <a:gd name="T55" fmla="*/ 116 h 152"/>
                <a:gd name="T56" fmla="*/ 85 w 118"/>
                <a:gd name="T57" fmla="*/ 150 h 152"/>
                <a:gd name="T58" fmla="*/ 87 w 118"/>
                <a:gd name="T59" fmla="*/ 152 h 152"/>
                <a:gd name="T60" fmla="*/ 118 w 118"/>
                <a:gd name="T61" fmla="*/ 136 h 152"/>
                <a:gd name="T62" fmla="*/ 92 w 118"/>
                <a:gd name="T63" fmla="*/ 100 h 152"/>
                <a:gd name="T64" fmla="*/ 35 w 118"/>
                <a:gd name="T65" fmla="*/ 53 h 152"/>
                <a:gd name="T66" fmla="*/ 38 w 118"/>
                <a:gd name="T67" fmla="*/ 54 h 152"/>
                <a:gd name="T68" fmla="*/ 26 w 118"/>
                <a:gd name="T69" fmla="*/ 58 h 152"/>
                <a:gd name="T70" fmla="*/ 26 w 118"/>
                <a:gd name="T71" fmla="*/ 58 h 152"/>
                <a:gd name="T72" fmla="*/ 35 w 118"/>
                <a:gd name="T73" fmla="*/ 5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8" h="152">
                  <a:moveTo>
                    <a:pt x="92" y="100"/>
                  </a:moveTo>
                  <a:cubicBezTo>
                    <a:pt x="84" y="76"/>
                    <a:pt x="65" y="41"/>
                    <a:pt x="65" y="41"/>
                  </a:cubicBezTo>
                  <a:cubicBezTo>
                    <a:pt x="65" y="41"/>
                    <a:pt x="36" y="9"/>
                    <a:pt x="28" y="0"/>
                  </a:cubicBezTo>
                  <a:cubicBezTo>
                    <a:pt x="28" y="0"/>
                    <a:pt x="27" y="0"/>
                    <a:pt x="27" y="0"/>
                  </a:cubicBezTo>
                  <a:cubicBezTo>
                    <a:pt x="23" y="3"/>
                    <a:pt x="22" y="7"/>
                    <a:pt x="24" y="11"/>
                  </a:cubicBezTo>
                  <a:cubicBezTo>
                    <a:pt x="28" y="20"/>
                    <a:pt x="34" y="31"/>
                    <a:pt x="47" y="45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3" y="67"/>
                    <a:pt x="14" y="68"/>
                    <a:pt x="15" y="68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74"/>
                    <a:pt x="13" y="74"/>
                    <a:pt x="13" y="74"/>
                  </a:cubicBezTo>
                  <a:cubicBezTo>
                    <a:pt x="16" y="76"/>
                    <a:pt x="20" y="76"/>
                    <a:pt x="22" y="73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26" y="76"/>
                    <a:pt x="30" y="75"/>
                    <a:pt x="32" y="73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9" y="76"/>
                    <a:pt x="49" y="77"/>
                    <a:pt x="49" y="78"/>
                  </a:cubicBezTo>
                  <a:cubicBezTo>
                    <a:pt x="43" y="86"/>
                    <a:pt x="35" y="84"/>
                    <a:pt x="35" y="84"/>
                  </a:cubicBezTo>
                  <a:cubicBezTo>
                    <a:pt x="25" y="77"/>
                    <a:pt x="14" y="78"/>
                    <a:pt x="8" y="80"/>
                  </a:cubicBezTo>
                  <a:cubicBezTo>
                    <a:pt x="4" y="81"/>
                    <a:pt x="1" y="84"/>
                    <a:pt x="0" y="88"/>
                  </a:cubicBezTo>
                  <a:cubicBezTo>
                    <a:pt x="0" y="88"/>
                    <a:pt x="0" y="89"/>
                    <a:pt x="0" y="89"/>
                  </a:cubicBezTo>
                  <a:cubicBezTo>
                    <a:pt x="0" y="90"/>
                    <a:pt x="2" y="91"/>
                    <a:pt x="3" y="91"/>
                  </a:cubicBezTo>
                  <a:cubicBezTo>
                    <a:pt x="15" y="89"/>
                    <a:pt x="27" y="97"/>
                    <a:pt x="29" y="98"/>
                  </a:cubicBezTo>
                  <a:cubicBezTo>
                    <a:pt x="29" y="98"/>
                    <a:pt x="29" y="98"/>
                    <a:pt x="29" y="98"/>
                  </a:cubicBezTo>
                  <a:cubicBezTo>
                    <a:pt x="64" y="116"/>
                    <a:pt x="64" y="116"/>
                    <a:pt x="64" y="116"/>
                  </a:cubicBezTo>
                  <a:cubicBezTo>
                    <a:pt x="68" y="129"/>
                    <a:pt x="75" y="141"/>
                    <a:pt x="85" y="150"/>
                  </a:cubicBezTo>
                  <a:cubicBezTo>
                    <a:pt x="87" y="152"/>
                    <a:pt x="87" y="152"/>
                    <a:pt x="87" y="152"/>
                  </a:cubicBezTo>
                  <a:cubicBezTo>
                    <a:pt x="118" y="136"/>
                    <a:pt x="118" y="136"/>
                    <a:pt x="118" y="136"/>
                  </a:cubicBezTo>
                  <a:lnTo>
                    <a:pt x="92" y="100"/>
                  </a:lnTo>
                  <a:close/>
                  <a:moveTo>
                    <a:pt x="35" y="53"/>
                  </a:moveTo>
                  <a:cubicBezTo>
                    <a:pt x="38" y="54"/>
                    <a:pt x="38" y="54"/>
                    <a:pt x="38" y="54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26" y="58"/>
                    <a:pt x="26" y="58"/>
                    <a:pt x="26" y="58"/>
                  </a:cubicBezTo>
                  <a:lnTo>
                    <a:pt x="35" y="53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84">
              <a:extLst>
                <a:ext uri="{FF2B5EF4-FFF2-40B4-BE49-F238E27FC236}">
                  <a16:creationId xmlns:a16="http://schemas.microsoft.com/office/drawing/2014/main" id="{D20B6134-72E8-493A-837E-92A7DB79824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88" y="1489"/>
              <a:ext cx="737" cy="585"/>
            </a:xfrm>
            <a:custGeom>
              <a:avLst/>
              <a:gdLst>
                <a:gd name="T0" fmla="*/ 451 w 457"/>
                <a:gd name="T1" fmla="*/ 145 h 363"/>
                <a:gd name="T2" fmla="*/ 357 w 457"/>
                <a:gd name="T3" fmla="*/ 31 h 363"/>
                <a:gd name="T4" fmla="*/ 357 w 457"/>
                <a:gd name="T5" fmla="*/ 31 h 363"/>
                <a:gd name="T6" fmla="*/ 337 w 457"/>
                <a:gd name="T7" fmla="*/ 18 h 363"/>
                <a:gd name="T8" fmla="*/ 313 w 457"/>
                <a:gd name="T9" fmla="*/ 11 h 363"/>
                <a:gd name="T10" fmla="*/ 219 w 457"/>
                <a:gd name="T11" fmla="*/ 4 h 363"/>
                <a:gd name="T12" fmla="*/ 192 w 457"/>
                <a:gd name="T13" fmla="*/ 8 h 363"/>
                <a:gd name="T14" fmla="*/ 172 w 457"/>
                <a:gd name="T15" fmla="*/ 17 h 363"/>
                <a:gd name="T16" fmla="*/ 172 w 457"/>
                <a:gd name="T17" fmla="*/ 17 h 363"/>
                <a:gd name="T18" fmla="*/ 172 w 457"/>
                <a:gd name="T19" fmla="*/ 17 h 363"/>
                <a:gd name="T20" fmla="*/ 166 w 457"/>
                <a:gd name="T21" fmla="*/ 24 h 363"/>
                <a:gd name="T22" fmla="*/ 102 w 457"/>
                <a:gd name="T23" fmla="*/ 96 h 363"/>
                <a:gd name="T24" fmla="*/ 36 w 457"/>
                <a:gd name="T25" fmla="*/ 3 h 363"/>
                <a:gd name="T26" fmla="*/ 0 w 457"/>
                <a:gd name="T27" fmla="*/ 24 h 363"/>
                <a:gd name="T28" fmla="*/ 74 w 457"/>
                <a:gd name="T29" fmla="*/ 157 h 363"/>
                <a:gd name="T30" fmla="*/ 115 w 457"/>
                <a:gd name="T31" fmla="*/ 164 h 363"/>
                <a:gd name="T32" fmla="*/ 170 w 457"/>
                <a:gd name="T33" fmla="*/ 113 h 363"/>
                <a:gd name="T34" fmla="*/ 183 w 457"/>
                <a:gd name="T35" fmla="*/ 196 h 363"/>
                <a:gd name="T36" fmla="*/ 161 w 457"/>
                <a:gd name="T37" fmla="*/ 316 h 363"/>
                <a:gd name="T38" fmla="*/ 382 w 457"/>
                <a:gd name="T39" fmla="*/ 329 h 363"/>
                <a:gd name="T40" fmla="*/ 354 w 457"/>
                <a:gd name="T41" fmla="*/ 221 h 363"/>
                <a:gd name="T42" fmla="*/ 349 w 457"/>
                <a:gd name="T43" fmla="*/ 186 h 363"/>
                <a:gd name="T44" fmla="*/ 358 w 457"/>
                <a:gd name="T45" fmla="*/ 115 h 363"/>
                <a:gd name="T46" fmla="*/ 403 w 457"/>
                <a:gd name="T47" fmla="*/ 157 h 363"/>
                <a:gd name="T48" fmla="*/ 361 w 457"/>
                <a:gd name="T49" fmla="*/ 239 h 363"/>
                <a:gd name="T50" fmla="*/ 369 w 457"/>
                <a:gd name="T51" fmla="*/ 246 h 363"/>
                <a:gd name="T52" fmla="*/ 397 w 457"/>
                <a:gd name="T53" fmla="*/ 242 h 363"/>
                <a:gd name="T54" fmla="*/ 451 w 457"/>
                <a:gd name="T55" fmla="*/ 169 h 363"/>
                <a:gd name="T56" fmla="*/ 451 w 457"/>
                <a:gd name="T57" fmla="*/ 14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7" h="363">
                  <a:moveTo>
                    <a:pt x="451" y="145"/>
                  </a:moveTo>
                  <a:cubicBezTo>
                    <a:pt x="357" y="31"/>
                    <a:pt x="357" y="31"/>
                    <a:pt x="357" y="31"/>
                  </a:cubicBezTo>
                  <a:cubicBezTo>
                    <a:pt x="357" y="31"/>
                    <a:pt x="357" y="31"/>
                    <a:pt x="357" y="31"/>
                  </a:cubicBezTo>
                  <a:cubicBezTo>
                    <a:pt x="352" y="25"/>
                    <a:pt x="345" y="20"/>
                    <a:pt x="337" y="18"/>
                  </a:cubicBezTo>
                  <a:cubicBezTo>
                    <a:pt x="313" y="11"/>
                    <a:pt x="313" y="11"/>
                    <a:pt x="313" y="11"/>
                  </a:cubicBezTo>
                  <a:cubicBezTo>
                    <a:pt x="283" y="2"/>
                    <a:pt x="251" y="0"/>
                    <a:pt x="219" y="4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4" y="9"/>
                    <a:pt x="178" y="12"/>
                    <a:pt x="172" y="1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0" y="19"/>
                    <a:pt x="168" y="21"/>
                    <a:pt x="166" y="24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74" y="157"/>
                    <a:pt x="74" y="157"/>
                    <a:pt x="74" y="157"/>
                  </a:cubicBezTo>
                  <a:cubicBezTo>
                    <a:pt x="82" y="172"/>
                    <a:pt x="102" y="176"/>
                    <a:pt x="115" y="16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83" y="196"/>
                    <a:pt x="183" y="196"/>
                    <a:pt x="183" y="196"/>
                  </a:cubicBezTo>
                  <a:cubicBezTo>
                    <a:pt x="161" y="316"/>
                    <a:pt x="161" y="316"/>
                    <a:pt x="161" y="316"/>
                  </a:cubicBezTo>
                  <a:cubicBezTo>
                    <a:pt x="161" y="316"/>
                    <a:pt x="218" y="363"/>
                    <a:pt x="382" y="329"/>
                  </a:cubicBezTo>
                  <a:cubicBezTo>
                    <a:pt x="371" y="277"/>
                    <a:pt x="364" y="248"/>
                    <a:pt x="354" y="221"/>
                  </a:cubicBezTo>
                  <a:cubicBezTo>
                    <a:pt x="350" y="210"/>
                    <a:pt x="348" y="198"/>
                    <a:pt x="349" y="186"/>
                  </a:cubicBezTo>
                  <a:cubicBezTo>
                    <a:pt x="358" y="115"/>
                    <a:pt x="358" y="115"/>
                    <a:pt x="358" y="115"/>
                  </a:cubicBezTo>
                  <a:cubicBezTo>
                    <a:pt x="403" y="157"/>
                    <a:pt x="403" y="157"/>
                    <a:pt x="403" y="157"/>
                  </a:cubicBezTo>
                  <a:cubicBezTo>
                    <a:pt x="361" y="239"/>
                    <a:pt x="361" y="239"/>
                    <a:pt x="361" y="239"/>
                  </a:cubicBezTo>
                  <a:cubicBezTo>
                    <a:pt x="369" y="246"/>
                    <a:pt x="369" y="246"/>
                    <a:pt x="369" y="246"/>
                  </a:cubicBezTo>
                  <a:cubicBezTo>
                    <a:pt x="378" y="253"/>
                    <a:pt x="391" y="251"/>
                    <a:pt x="397" y="242"/>
                  </a:cubicBezTo>
                  <a:cubicBezTo>
                    <a:pt x="451" y="169"/>
                    <a:pt x="451" y="169"/>
                    <a:pt x="451" y="169"/>
                  </a:cubicBezTo>
                  <a:cubicBezTo>
                    <a:pt x="457" y="162"/>
                    <a:pt x="457" y="152"/>
                    <a:pt x="451" y="145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85">
              <a:extLst>
                <a:ext uri="{FF2B5EF4-FFF2-40B4-BE49-F238E27FC236}">
                  <a16:creationId xmlns:a16="http://schemas.microsoft.com/office/drawing/2014/main" id="{BFAC7372-E07B-4A17-967A-93C4A9AE81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70" y="1871"/>
              <a:ext cx="108" cy="125"/>
            </a:xfrm>
            <a:custGeom>
              <a:avLst/>
              <a:gdLst>
                <a:gd name="T0" fmla="*/ 62 w 67"/>
                <a:gd name="T1" fmla="*/ 49 h 78"/>
                <a:gd name="T2" fmla="*/ 50 w 67"/>
                <a:gd name="T3" fmla="*/ 48 h 78"/>
                <a:gd name="T4" fmla="*/ 62 w 67"/>
                <a:gd name="T5" fmla="*/ 40 h 78"/>
                <a:gd name="T6" fmla="*/ 61 w 67"/>
                <a:gd name="T7" fmla="*/ 38 h 78"/>
                <a:gd name="T8" fmla="*/ 54 w 67"/>
                <a:gd name="T9" fmla="*/ 34 h 78"/>
                <a:gd name="T10" fmla="*/ 43 w 67"/>
                <a:gd name="T11" fmla="*/ 38 h 78"/>
                <a:gd name="T12" fmla="*/ 32 w 67"/>
                <a:gd name="T13" fmla="*/ 17 h 78"/>
                <a:gd name="T14" fmla="*/ 4 w 67"/>
                <a:gd name="T15" fmla="*/ 1 h 78"/>
                <a:gd name="T16" fmla="*/ 0 w 67"/>
                <a:gd name="T17" fmla="*/ 1 h 78"/>
                <a:gd name="T18" fmla="*/ 1 w 67"/>
                <a:gd name="T19" fmla="*/ 19 h 78"/>
                <a:gd name="T20" fmla="*/ 6 w 67"/>
                <a:gd name="T21" fmla="*/ 57 h 78"/>
                <a:gd name="T22" fmla="*/ 16 w 67"/>
                <a:gd name="T23" fmla="*/ 71 h 78"/>
                <a:gd name="T24" fmla="*/ 34 w 67"/>
                <a:gd name="T25" fmla="*/ 78 h 78"/>
                <a:gd name="T26" fmla="*/ 53 w 67"/>
                <a:gd name="T27" fmla="*/ 76 h 78"/>
                <a:gd name="T28" fmla="*/ 54 w 67"/>
                <a:gd name="T29" fmla="*/ 73 h 78"/>
                <a:gd name="T30" fmla="*/ 49 w 67"/>
                <a:gd name="T31" fmla="*/ 68 h 78"/>
                <a:gd name="T32" fmla="*/ 38 w 67"/>
                <a:gd name="T33" fmla="*/ 68 h 78"/>
                <a:gd name="T34" fmla="*/ 33 w 67"/>
                <a:gd name="T35" fmla="*/ 62 h 78"/>
                <a:gd name="T36" fmla="*/ 66 w 67"/>
                <a:gd name="T37" fmla="*/ 57 h 78"/>
                <a:gd name="T38" fmla="*/ 66 w 67"/>
                <a:gd name="T39" fmla="*/ 56 h 78"/>
                <a:gd name="T40" fmla="*/ 62 w 67"/>
                <a:gd name="T41" fmla="*/ 4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7" h="78">
                  <a:moveTo>
                    <a:pt x="62" y="49"/>
                  </a:moveTo>
                  <a:cubicBezTo>
                    <a:pt x="50" y="48"/>
                    <a:pt x="50" y="48"/>
                    <a:pt x="50" y="48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0" y="35"/>
                    <a:pt x="57" y="33"/>
                    <a:pt x="54" y="34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27" y="6"/>
                    <a:pt x="16" y="0"/>
                    <a:pt x="4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6" y="63"/>
                    <a:pt x="10" y="68"/>
                    <a:pt x="16" y="71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4" y="70"/>
                    <a:pt x="52" y="68"/>
                    <a:pt x="49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7" y="52"/>
                    <a:pt x="65" y="49"/>
                    <a:pt x="62" y="49"/>
                  </a:cubicBez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86">
              <a:extLst>
                <a:ext uri="{FF2B5EF4-FFF2-40B4-BE49-F238E27FC236}">
                  <a16:creationId xmlns:a16="http://schemas.microsoft.com/office/drawing/2014/main" id="{F218A9D7-777A-4F5A-AE74-1140EA033CB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97" y="1208"/>
              <a:ext cx="234" cy="389"/>
            </a:xfrm>
            <a:custGeom>
              <a:avLst/>
              <a:gdLst>
                <a:gd name="T0" fmla="*/ 114 w 145"/>
                <a:gd name="T1" fmla="*/ 181 h 241"/>
                <a:gd name="T2" fmla="*/ 114 w 145"/>
                <a:gd name="T3" fmla="*/ 181 h 241"/>
                <a:gd name="T4" fmla="*/ 112 w 145"/>
                <a:gd name="T5" fmla="*/ 180 h 241"/>
                <a:gd name="T6" fmla="*/ 100 w 145"/>
                <a:gd name="T7" fmla="*/ 163 h 241"/>
                <a:gd name="T8" fmla="*/ 100 w 145"/>
                <a:gd name="T9" fmla="*/ 161 h 241"/>
                <a:gd name="T10" fmla="*/ 139 w 145"/>
                <a:gd name="T11" fmla="*/ 100 h 241"/>
                <a:gd name="T12" fmla="*/ 139 w 145"/>
                <a:gd name="T13" fmla="*/ 67 h 241"/>
                <a:gd name="T14" fmla="*/ 72 w 145"/>
                <a:gd name="T15" fmla="*/ 0 h 241"/>
                <a:gd name="T16" fmla="*/ 5 w 145"/>
                <a:gd name="T17" fmla="*/ 67 h 241"/>
                <a:gd name="T18" fmla="*/ 5 w 145"/>
                <a:gd name="T19" fmla="*/ 100 h 241"/>
                <a:gd name="T20" fmla="*/ 45 w 145"/>
                <a:gd name="T21" fmla="*/ 161 h 241"/>
                <a:gd name="T22" fmla="*/ 37 w 145"/>
                <a:gd name="T23" fmla="*/ 176 h 241"/>
                <a:gd name="T24" fmla="*/ 0 w 145"/>
                <a:gd name="T25" fmla="*/ 182 h 241"/>
                <a:gd name="T26" fmla="*/ 34 w 145"/>
                <a:gd name="T27" fmla="*/ 217 h 241"/>
                <a:gd name="T28" fmla="*/ 114 w 145"/>
                <a:gd name="T29" fmla="*/ 220 h 241"/>
                <a:gd name="T30" fmla="*/ 145 w 145"/>
                <a:gd name="T31" fmla="*/ 192 h 241"/>
                <a:gd name="T32" fmla="*/ 114 w 145"/>
                <a:gd name="T33" fmla="*/ 18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5" h="241">
                  <a:moveTo>
                    <a:pt x="114" y="181"/>
                  </a:moveTo>
                  <a:cubicBezTo>
                    <a:pt x="114" y="181"/>
                    <a:pt x="114" y="181"/>
                    <a:pt x="114" y="181"/>
                  </a:cubicBezTo>
                  <a:cubicBezTo>
                    <a:pt x="112" y="180"/>
                    <a:pt x="112" y="180"/>
                    <a:pt x="112" y="180"/>
                  </a:cubicBezTo>
                  <a:cubicBezTo>
                    <a:pt x="105" y="177"/>
                    <a:pt x="101" y="170"/>
                    <a:pt x="100" y="163"/>
                  </a:cubicBezTo>
                  <a:cubicBezTo>
                    <a:pt x="100" y="161"/>
                    <a:pt x="100" y="161"/>
                    <a:pt x="100" y="161"/>
                  </a:cubicBezTo>
                  <a:cubicBezTo>
                    <a:pt x="123" y="150"/>
                    <a:pt x="139" y="127"/>
                    <a:pt x="139" y="100"/>
                  </a:cubicBezTo>
                  <a:cubicBezTo>
                    <a:pt x="139" y="67"/>
                    <a:pt x="139" y="67"/>
                    <a:pt x="139" y="67"/>
                  </a:cubicBezTo>
                  <a:cubicBezTo>
                    <a:pt x="139" y="30"/>
                    <a:pt x="109" y="0"/>
                    <a:pt x="72" y="0"/>
                  </a:cubicBezTo>
                  <a:cubicBezTo>
                    <a:pt x="35" y="0"/>
                    <a:pt x="5" y="30"/>
                    <a:pt x="5" y="67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5" y="127"/>
                    <a:pt x="21" y="151"/>
                    <a:pt x="45" y="161"/>
                  </a:cubicBezTo>
                  <a:cubicBezTo>
                    <a:pt x="44" y="167"/>
                    <a:pt x="42" y="172"/>
                    <a:pt x="37" y="176"/>
                  </a:cubicBezTo>
                  <a:cubicBezTo>
                    <a:pt x="26" y="177"/>
                    <a:pt x="13" y="179"/>
                    <a:pt x="0" y="182"/>
                  </a:cubicBezTo>
                  <a:cubicBezTo>
                    <a:pt x="34" y="217"/>
                    <a:pt x="34" y="217"/>
                    <a:pt x="34" y="217"/>
                  </a:cubicBezTo>
                  <a:cubicBezTo>
                    <a:pt x="56" y="240"/>
                    <a:pt x="91" y="241"/>
                    <a:pt x="114" y="220"/>
                  </a:cubicBezTo>
                  <a:cubicBezTo>
                    <a:pt x="145" y="192"/>
                    <a:pt x="145" y="192"/>
                    <a:pt x="145" y="192"/>
                  </a:cubicBezTo>
                  <a:cubicBezTo>
                    <a:pt x="145" y="192"/>
                    <a:pt x="134" y="186"/>
                    <a:pt x="114" y="181"/>
                  </a:cubicBez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87">
              <a:extLst>
                <a:ext uri="{FF2B5EF4-FFF2-40B4-BE49-F238E27FC236}">
                  <a16:creationId xmlns:a16="http://schemas.microsoft.com/office/drawing/2014/main" id="{467EAD85-4228-4BBD-87B4-19FBD90542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97" y="1225"/>
              <a:ext cx="129" cy="298"/>
            </a:xfrm>
            <a:custGeom>
              <a:avLst/>
              <a:gdLst>
                <a:gd name="T0" fmla="*/ 80 w 80"/>
                <a:gd name="T1" fmla="*/ 162 h 185"/>
                <a:gd name="T2" fmla="*/ 62 w 80"/>
                <a:gd name="T3" fmla="*/ 153 h 185"/>
                <a:gd name="T4" fmla="*/ 39 w 80"/>
                <a:gd name="T5" fmla="*/ 124 h 185"/>
                <a:gd name="T6" fmla="*/ 36 w 80"/>
                <a:gd name="T7" fmla="*/ 107 h 185"/>
                <a:gd name="T8" fmla="*/ 23 w 80"/>
                <a:gd name="T9" fmla="*/ 107 h 185"/>
                <a:gd name="T10" fmla="*/ 17 w 80"/>
                <a:gd name="T11" fmla="*/ 94 h 185"/>
                <a:gd name="T12" fmla="*/ 30 w 80"/>
                <a:gd name="T13" fmla="*/ 72 h 185"/>
                <a:gd name="T14" fmla="*/ 54 w 80"/>
                <a:gd name="T15" fmla="*/ 16 h 185"/>
                <a:gd name="T16" fmla="*/ 49 w 80"/>
                <a:gd name="T17" fmla="*/ 12 h 185"/>
                <a:gd name="T18" fmla="*/ 37 w 80"/>
                <a:gd name="T19" fmla="*/ 0 h 185"/>
                <a:gd name="T20" fmla="*/ 5 w 80"/>
                <a:gd name="T21" fmla="*/ 57 h 185"/>
                <a:gd name="T22" fmla="*/ 5 w 80"/>
                <a:gd name="T23" fmla="*/ 90 h 185"/>
                <a:gd name="T24" fmla="*/ 45 w 80"/>
                <a:gd name="T25" fmla="*/ 151 h 185"/>
                <a:gd name="T26" fmla="*/ 45 w 80"/>
                <a:gd name="T27" fmla="*/ 152 h 185"/>
                <a:gd name="T28" fmla="*/ 37 w 80"/>
                <a:gd name="T29" fmla="*/ 166 h 185"/>
                <a:gd name="T30" fmla="*/ 0 w 80"/>
                <a:gd name="T31" fmla="*/ 172 h 185"/>
                <a:gd name="T32" fmla="*/ 13 w 80"/>
                <a:gd name="T33" fmla="*/ 185 h 185"/>
                <a:gd name="T34" fmla="*/ 45 w 80"/>
                <a:gd name="T35" fmla="*/ 183 h 185"/>
                <a:gd name="T36" fmla="*/ 60 w 80"/>
                <a:gd name="T37" fmla="*/ 167 h 185"/>
                <a:gd name="T38" fmla="*/ 61 w 80"/>
                <a:gd name="T39" fmla="*/ 165 h 185"/>
                <a:gd name="T40" fmla="*/ 80 w 80"/>
                <a:gd name="T41" fmla="*/ 162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85">
                  <a:moveTo>
                    <a:pt x="80" y="162"/>
                  </a:moveTo>
                  <a:cubicBezTo>
                    <a:pt x="62" y="153"/>
                    <a:pt x="62" y="153"/>
                    <a:pt x="62" y="153"/>
                  </a:cubicBezTo>
                  <a:cubicBezTo>
                    <a:pt x="50" y="147"/>
                    <a:pt x="42" y="136"/>
                    <a:pt x="39" y="124"/>
                  </a:cubicBezTo>
                  <a:cubicBezTo>
                    <a:pt x="38" y="119"/>
                    <a:pt x="37" y="113"/>
                    <a:pt x="36" y="107"/>
                  </a:cubicBezTo>
                  <a:cubicBezTo>
                    <a:pt x="23" y="107"/>
                    <a:pt x="23" y="107"/>
                    <a:pt x="23" y="107"/>
                  </a:cubicBezTo>
                  <a:cubicBezTo>
                    <a:pt x="17" y="106"/>
                    <a:pt x="14" y="99"/>
                    <a:pt x="17" y="94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25" y="37"/>
                    <a:pt x="54" y="16"/>
                    <a:pt x="54" y="16"/>
                  </a:cubicBezTo>
                  <a:cubicBezTo>
                    <a:pt x="54" y="16"/>
                    <a:pt x="55" y="10"/>
                    <a:pt x="49" y="12"/>
                  </a:cubicBezTo>
                  <a:cubicBezTo>
                    <a:pt x="55" y="3"/>
                    <a:pt x="47" y="0"/>
                    <a:pt x="37" y="0"/>
                  </a:cubicBezTo>
                  <a:cubicBezTo>
                    <a:pt x="18" y="12"/>
                    <a:pt x="5" y="33"/>
                    <a:pt x="5" y="57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5" y="117"/>
                    <a:pt x="21" y="141"/>
                    <a:pt x="45" y="151"/>
                  </a:cubicBezTo>
                  <a:cubicBezTo>
                    <a:pt x="45" y="151"/>
                    <a:pt x="45" y="152"/>
                    <a:pt x="45" y="152"/>
                  </a:cubicBezTo>
                  <a:cubicBezTo>
                    <a:pt x="44" y="154"/>
                    <a:pt x="41" y="164"/>
                    <a:pt x="37" y="166"/>
                  </a:cubicBezTo>
                  <a:cubicBezTo>
                    <a:pt x="19" y="166"/>
                    <a:pt x="0" y="172"/>
                    <a:pt x="0" y="172"/>
                  </a:cubicBezTo>
                  <a:cubicBezTo>
                    <a:pt x="0" y="172"/>
                    <a:pt x="7" y="178"/>
                    <a:pt x="13" y="185"/>
                  </a:cubicBezTo>
                  <a:cubicBezTo>
                    <a:pt x="26" y="182"/>
                    <a:pt x="33" y="183"/>
                    <a:pt x="45" y="183"/>
                  </a:cubicBezTo>
                  <a:cubicBezTo>
                    <a:pt x="54" y="183"/>
                    <a:pt x="57" y="176"/>
                    <a:pt x="60" y="167"/>
                  </a:cubicBezTo>
                  <a:cubicBezTo>
                    <a:pt x="61" y="165"/>
                    <a:pt x="61" y="165"/>
                    <a:pt x="61" y="165"/>
                  </a:cubicBezTo>
                  <a:lnTo>
                    <a:pt x="80" y="162"/>
                  </a:lnTo>
                  <a:close/>
                </a:path>
              </a:pathLst>
            </a:custGeom>
            <a:solidFill>
              <a:srgbClr val="D8B0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Oval 88">
              <a:extLst>
                <a:ext uri="{FF2B5EF4-FFF2-40B4-BE49-F238E27FC236}">
                  <a16:creationId xmlns:a16="http://schemas.microsoft.com/office/drawing/2014/main" id="{3815CE08-645C-4695-8F5C-A19403F6868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97" y="1337"/>
              <a:ext cx="20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Oval 89">
              <a:extLst>
                <a:ext uri="{FF2B5EF4-FFF2-40B4-BE49-F238E27FC236}">
                  <a16:creationId xmlns:a16="http://schemas.microsoft.com/office/drawing/2014/main" id="{A05977F4-9418-409E-93E3-66F6A321BBE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807" y="1337"/>
              <a:ext cx="21" cy="2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90">
              <a:extLst>
                <a:ext uri="{FF2B5EF4-FFF2-40B4-BE49-F238E27FC236}">
                  <a16:creationId xmlns:a16="http://schemas.microsoft.com/office/drawing/2014/main" id="{213A4F2B-68FC-42EF-88CC-7E45F6F8D62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35" y="1415"/>
              <a:ext cx="59" cy="16"/>
            </a:xfrm>
            <a:custGeom>
              <a:avLst/>
              <a:gdLst>
                <a:gd name="T0" fmla="*/ 0 w 37"/>
                <a:gd name="T1" fmla="*/ 0 h 10"/>
                <a:gd name="T2" fmla="*/ 3 w 37"/>
                <a:gd name="T3" fmla="*/ 5 h 10"/>
                <a:gd name="T4" fmla="*/ 8 w 37"/>
                <a:gd name="T5" fmla="*/ 9 h 10"/>
                <a:gd name="T6" fmla="*/ 15 w 37"/>
                <a:gd name="T7" fmla="*/ 9 h 10"/>
                <a:gd name="T8" fmla="*/ 26 w 37"/>
                <a:gd name="T9" fmla="*/ 7 h 10"/>
                <a:gd name="T10" fmla="*/ 37 w 37"/>
                <a:gd name="T11" fmla="*/ 0 h 10"/>
                <a:gd name="T12" fmla="*/ 10 w 37"/>
                <a:gd name="T13" fmla="*/ 0 h 10"/>
                <a:gd name="T14" fmla="*/ 0 w 37"/>
                <a:gd name="T1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10">
                  <a:moveTo>
                    <a:pt x="0" y="0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4" y="7"/>
                    <a:pt x="6" y="9"/>
                    <a:pt x="8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9" y="10"/>
                    <a:pt x="23" y="9"/>
                    <a:pt x="26" y="7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446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91">
              <a:extLst>
                <a:ext uri="{FF2B5EF4-FFF2-40B4-BE49-F238E27FC236}">
                  <a16:creationId xmlns:a16="http://schemas.microsoft.com/office/drawing/2014/main" id="{E7899439-1B9F-4817-A939-32D90EE9C2D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35" y="1403"/>
              <a:ext cx="59" cy="17"/>
            </a:xfrm>
            <a:custGeom>
              <a:avLst/>
              <a:gdLst>
                <a:gd name="T0" fmla="*/ 0 w 37"/>
                <a:gd name="T1" fmla="*/ 7 h 10"/>
                <a:gd name="T2" fmla="*/ 3 w 37"/>
                <a:gd name="T3" fmla="*/ 3 h 10"/>
                <a:gd name="T4" fmla="*/ 9 w 37"/>
                <a:gd name="T5" fmla="*/ 2 h 10"/>
                <a:gd name="T6" fmla="*/ 12 w 37"/>
                <a:gd name="T7" fmla="*/ 4 h 10"/>
                <a:gd name="T8" fmla="*/ 14 w 37"/>
                <a:gd name="T9" fmla="*/ 2 h 10"/>
                <a:gd name="T10" fmla="*/ 21 w 37"/>
                <a:gd name="T11" fmla="*/ 1 h 10"/>
                <a:gd name="T12" fmla="*/ 37 w 37"/>
                <a:gd name="T13" fmla="*/ 7 h 10"/>
                <a:gd name="T14" fmla="*/ 15 w 37"/>
                <a:gd name="T15" fmla="*/ 10 h 10"/>
                <a:gd name="T16" fmla="*/ 10 w 37"/>
                <a:gd name="T17" fmla="*/ 9 h 10"/>
                <a:gd name="T18" fmla="*/ 0 w 37"/>
                <a:gd name="T19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10">
                  <a:moveTo>
                    <a:pt x="0" y="7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5" y="1"/>
                    <a:pt x="7" y="1"/>
                    <a:pt x="9" y="2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1"/>
                    <a:pt x="19" y="0"/>
                    <a:pt x="21" y="1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3" y="10"/>
                    <a:pt x="12" y="10"/>
                    <a:pt x="10" y="9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B400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92">
              <a:extLst>
                <a:ext uri="{FF2B5EF4-FFF2-40B4-BE49-F238E27FC236}">
                  <a16:creationId xmlns:a16="http://schemas.microsoft.com/office/drawing/2014/main" id="{ABC37D3D-0B43-4A40-872B-559A7E2675B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28" y="1503"/>
              <a:ext cx="13" cy="28"/>
            </a:xfrm>
            <a:custGeom>
              <a:avLst/>
              <a:gdLst>
                <a:gd name="T0" fmla="*/ 0 w 8"/>
                <a:gd name="T1" fmla="*/ 0 h 17"/>
                <a:gd name="T2" fmla="*/ 0 w 8"/>
                <a:gd name="T3" fmla="*/ 12 h 17"/>
                <a:gd name="T4" fmla="*/ 4 w 8"/>
                <a:gd name="T5" fmla="*/ 16 h 17"/>
                <a:gd name="T6" fmla="*/ 4 w 8"/>
                <a:gd name="T7" fmla="*/ 16 h 17"/>
                <a:gd name="T8" fmla="*/ 8 w 8"/>
                <a:gd name="T9" fmla="*/ 10 h 17"/>
                <a:gd name="T10" fmla="*/ 6 w 8"/>
                <a:gd name="T11" fmla="*/ 4 h 17"/>
                <a:gd name="T12" fmla="*/ 4 w 8"/>
                <a:gd name="T13" fmla="*/ 1 h 17"/>
                <a:gd name="T14" fmla="*/ 0 w 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7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5"/>
                    <a:pt x="2" y="17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7" y="16"/>
                    <a:pt x="8" y="13"/>
                    <a:pt x="8" y="1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5" y="1"/>
                    <a:pt x="4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8B0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93">
              <a:extLst>
                <a:ext uri="{FF2B5EF4-FFF2-40B4-BE49-F238E27FC236}">
                  <a16:creationId xmlns:a16="http://schemas.microsoft.com/office/drawing/2014/main" id="{8C9003C0-7157-4B47-BB5A-8D98AC22021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33" y="1494"/>
              <a:ext cx="285" cy="201"/>
            </a:xfrm>
            <a:custGeom>
              <a:avLst/>
              <a:gdLst>
                <a:gd name="T0" fmla="*/ 144 w 177"/>
                <a:gd name="T1" fmla="*/ 14 h 125"/>
                <a:gd name="T2" fmla="*/ 144 w 177"/>
                <a:gd name="T3" fmla="*/ 14 h 125"/>
                <a:gd name="T4" fmla="*/ 138 w 177"/>
                <a:gd name="T5" fmla="*/ 21 h 125"/>
                <a:gd name="T6" fmla="*/ 74 w 177"/>
                <a:gd name="T7" fmla="*/ 93 h 125"/>
                <a:gd name="T8" fmla="*/ 8 w 177"/>
                <a:gd name="T9" fmla="*/ 0 h 125"/>
                <a:gd name="T10" fmla="*/ 0 w 177"/>
                <a:gd name="T11" fmla="*/ 5 h 125"/>
                <a:gd name="T12" fmla="*/ 62 w 177"/>
                <a:gd name="T13" fmla="*/ 91 h 125"/>
                <a:gd name="T14" fmla="*/ 67 w 177"/>
                <a:gd name="T15" fmla="*/ 125 h 125"/>
                <a:gd name="T16" fmla="*/ 78 w 177"/>
                <a:gd name="T17" fmla="*/ 97 h 125"/>
                <a:gd name="T18" fmla="*/ 85 w 177"/>
                <a:gd name="T19" fmla="*/ 125 h 125"/>
                <a:gd name="T20" fmla="*/ 137 w 177"/>
                <a:gd name="T21" fmla="*/ 62 h 125"/>
                <a:gd name="T22" fmla="*/ 177 w 177"/>
                <a:gd name="T23" fmla="*/ 18 h 125"/>
                <a:gd name="T24" fmla="*/ 164 w 177"/>
                <a:gd name="T25" fmla="*/ 5 h 125"/>
                <a:gd name="T26" fmla="*/ 144 w 177"/>
                <a:gd name="T27" fmla="*/ 1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7" h="125">
                  <a:moveTo>
                    <a:pt x="144" y="14"/>
                  </a:moveTo>
                  <a:cubicBezTo>
                    <a:pt x="144" y="14"/>
                    <a:pt x="144" y="14"/>
                    <a:pt x="144" y="14"/>
                  </a:cubicBezTo>
                  <a:cubicBezTo>
                    <a:pt x="142" y="16"/>
                    <a:pt x="140" y="18"/>
                    <a:pt x="138" y="21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46" y="71"/>
                    <a:pt x="62" y="91"/>
                  </a:cubicBezTo>
                  <a:cubicBezTo>
                    <a:pt x="53" y="111"/>
                    <a:pt x="67" y="125"/>
                    <a:pt x="67" y="125"/>
                  </a:cubicBezTo>
                  <a:cubicBezTo>
                    <a:pt x="78" y="97"/>
                    <a:pt x="78" y="97"/>
                    <a:pt x="78" y="97"/>
                  </a:cubicBezTo>
                  <a:cubicBezTo>
                    <a:pt x="85" y="125"/>
                    <a:pt x="85" y="125"/>
                    <a:pt x="85" y="125"/>
                  </a:cubicBezTo>
                  <a:cubicBezTo>
                    <a:pt x="85" y="125"/>
                    <a:pt x="125" y="82"/>
                    <a:pt x="137" y="62"/>
                  </a:cubicBezTo>
                  <a:cubicBezTo>
                    <a:pt x="150" y="41"/>
                    <a:pt x="177" y="18"/>
                    <a:pt x="177" y="18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56" y="6"/>
                    <a:pt x="150" y="9"/>
                    <a:pt x="144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94">
              <a:extLst>
                <a:ext uri="{FF2B5EF4-FFF2-40B4-BE49-F238E27FC236}">
                  <a16:creationId xmlns:a16="http://schemas.microsoft.com/office/drawing/2014/main" id="{02B69A80-2D45-451A-BBBB-CEB7DF95EE1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48" y="1600"/>
              <a:ext cx="96" cy="419"/>
            </a:xfrm>
            <a:custGeom>
              <a:avLst/>
              <a:gdLst>
                <a:gd name="T0" fmla="*/ 26 w 60"/>
                <a:gd name="T1" fmla="*/ 260 h 260"/>
                <a:gd name="T2" fmla="*/ 53 w 60"/>
                <a:gd name="T3" fmla="*/ 177 h 260"/>
                <a:gd name="T4" fmla="*/ 48 w 60"/>
                <a:gd name="T5" fmla="*/ 111 h 260"/>
                <a:gd name="T6" fmla="*/ 37 w 60"/>
                <a:gd name="T7" fmla="*/ 95 h 260"/>
                <a:gd name="T8" fmla="*/ 28 w 60"/>
                <a:gd name="T9" fmla="*/ 36 h 260"/>
                <a:gd name="T10" fmla="*/ 39 w 60"/>
                <a:gd name="T11" fmla="*/ 0 h 260"/>
                <a:gd name="T12" fmla="*/ 9 w 60"/>
                <a:gd name="T13" fmla="*/ 44 h 260"/>
                <a:gd name="T14" fmla="*/ 22 w 60"/>
                <a:gd name="T15" fmla="*/ 127 h 260"/>
                <a:gd name="T16" fmla="*/ 0 w 60"/>
                <a:gd name="T17" fmla="*/ 247 h 260"/>
                <a:gd name="T18" fmla="*/ 26 w 60"/>
                <a:gd name="T1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260">
                  <a:moveTo>
                    <a:pt x="26" y="260"/>
                  </a:moveTo>
                  <a:cubicBezTo>
                    <a:pt x="53" y="177"/>
                    <a:pt x="53" y="177"/>
                    <a:pt x="53" y="177"/>
                  </a:cubicBezTo>
                  <a:cubicBezTo>
                    <a:pt x="60" y="155"/>
                    <a:pt x="58" y="131"/>
                    <a:pt x="48" y="111"/>
                  </a:cubicBezTo>
                  <a:cubicBezTo>
                    <a:pt x="37" y="95"/>
                    <a:pt x="37" y="95"/>
                    <a:pt x="37" y="95"/>
                  </a:cubicBezTo>
                  <a:cubicBezTo>
                    <a:pt x="25" y="78"/>
                    <a:pt x="21" y="56"/>
                    <a:pt x="28" y="36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22" y="127"/>
                    <a:pt x="22" y="127"/>
                    <a:pt x="22" y="12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10" y="254"/>
                    <a:pt x="26" y="26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95">
              <a:extLst>
                <a:ext uri="{FF2B5EF4-FFF2-40B4-BE49-F238E27FC236}">
                  <a16:creationId xmlns:a16="http://schemas.microsoft.com/office/drawing/2014/main" id="{179BD2C3-9532-4D51-8C1F-9C07C8E72E2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78" y="1299"/>
              <a:ext cx="56" cy="32"/>
            </a:xfrm>
            <a:custGeom>
              <a:avLst/>
              <a:gdLst>
                <a:gd name="T0" fmla="*/ 33 w 35"/>
                <a:gd name="T1" fmla="*/ 20 h 20"/>
                <a:gd name="T2" fmla="*/ 31 w 35"/>
                <a:gd name="T3" fmla="*/ 20 h 20"/>
                <a:gd name="T4" fmla="*/ 4 w 35"/>
                <a:gd name="T5" fmla="*/ 19 h 20"/>
                <a:gd name="T6" fmla="*/ 1 w 35"/>
                <a:gd name="T7" fmla="*/ 19 h 20"/>
                <a:gd name="T8" fmla="*/ 1 w 35"/>
                <a:gd name="T9" fmla="*/ 16 h 20"/>
                <a:gd name="T10" fmla="*/ 35 w 35"/>
                <a:gd name="T11" fmla="*/ 16 h 20"/>
                <a:gd name="T12" fmla="*/ 35 w 35"/>
                <a:gd name="T13" fmla="*/ 19 h 20"/>
                <a:gd name="T14" fmla="*/ 33 w 35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0">
                  <a:moveTo>
                    <a:pt x="33" y="20"/>
                  </a:moveTo>
                  <a:cubicBezTo>
                    <a:pt x="32" y="20"/>
                    <a:pt x="32" y="20"/>
                    <a:pt x="31" y="20"/>
                  </a:cubicBezTo>
                  <a:cubicBezTo>
                    <a:pt x="17" y="6"/>
                    <a:pt x="4" y="19"/>
                    <a:pt x="4" y="19"/>
                  </a:cubicBezTo>
                  <a:cubicBezTo>
                    <a:pt x="3" y="20"/>
                    <a:pt x="2" y="20"/>
                    <a:pt x="1" y="19"/>
                  </a:cubicBezTo>
                  <a:cubicBezTo>
                    <a:pt x="0" y="19"/>
                    <a:pt x="0" y="17"/>
                    <a:pt x="1" y="16"/>
                  </a:cubicBezTo>
                  <a:cubicBezTo>
                    <a:pt x="1" y="16"/>
                    <a:pt x="17" y="0"/>
                    <a:pt x="35" y="16"/>
                  </a:cubicBezTo>
                  <a:cubicBezTo>
                    <a:pt x="35" y="17"/>
                    <a:pt x="35" y="18"/>
                    <a:pt x="35" y="19"/>
                  </a:cubicBezTo>
                  <a:cubicBezTo>
                    <a:pt x="34" y="20"/>
                    <a:pt x="34" y="20"/>
                    <a:pt x="33" y="20"/>
                  </a:cubicBezTo>
                  <a:close/>
                </a:path>
              </a:pathLst>
            </a:custGeom>
            <a:solidFill>
              <a:srgbClr val="4D2F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96">
              <a:extLst>
                <a:ext uri="{FF2B5EF4-FFF2-40B4-BE49-F238E27FC236}">
                  <a16:creationId xmlns:a16="http://schemas.microsoft.com/office/drawing/2014/main" id="{A357940E-1D40-46A4-B913-76C8E57E17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01" y="1310"/>
              <a:ext cx="42" cy="16"/>
            </a:xfrm>
            <a:custGeom>
              <a:avLst/>
              <a:gdLst>
                <a:gd name="T0" fmla="*/ 24 w 26"/>
                <a:gd name="T1" fmla="*/ 10 h 10"/>
                <a:gd name="T2" fmla="*/ 23 w 26"/>
                <a:gd name="T3" fmla="*/ 10 h 10"/>
                <a:gd name="T4" fmla="*/ 4 w 26"/>
                <a:gd name="T5" fmla="*/ 9 h 10"/>
                <a:gd name="T6" fmla="*/ 1 w 26"/>
                <a:gd name="T7" fmla="*/ 9 h 10"/>
                <a:gd name="T8" fmla="*/ 2 w 26"/>
                <a:gd name="T9" fmla="*/ 5 h 10"/>
                <a:gd name="T10" fmla="*/ 25 w 26"/>
                <a:gd name="T11" fmla="*/ 6 h 10"/>
                <a:gd name="T12" fmla="*/ 26 w 26"/>
                <a:gd name="T13" fmla="*/ 9 h 10"/>
                <a:gd name="T14" fmla="*/ 24 w 26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0">
                  <a:moveTo>
                    <a:pt x="24" y="10"/>
                  </a:moveTo>
                  <a:cubicBezTo>
                    <a:pt x="23" y="10"/>
                    <a:pt x="23" y="10"/>
                    <a:pt x="23" y="10"/>
                  </a:cubicBezTo>
                  <a:cubicBezTo>
                    <a:pt x="14" y="5"/>
                    <a:pt x="8" y="7"/>
                    <a:pt x="4" y="9"/>
                  </a:cubicBezTo>
                  <a:cubicBezTo>
                    <a:pt x="3" y="10"/>
                    <a:pt x="1" y="10"/>
                    <a:pt x="1" y="9"/>
                  </a:cubicBezTo>
                  <a:cubicBezTo>
                    <a:pt x="0" y="7"/>
                    <a:pt x="1" y="6"/>
                    <a:pt x="2" y="5"/>
                  </a:cubicBezTo>
                  <a:cubicBezTo>
                    <a:pt x="7" y="2"/>
                    <a:pt x="14" y="0"/>
                    <a:pt x="25" y="6"/>
                  </a:cubicBezTo>
                  <a:cubicBezTo>
                    <a:pt x="26" y="6"/>
                    <a:pt x="26" y="8"/>
                    <a:pt x="26" y="9"/>
                  </a:cubicBezTo>
                  <a:cubicBezTo>
                    <a:pt x="25" y="9"/>
                    <a:pt x="24" y="10"/>
                    <a:pt x="24" y="10"/>
                  </a:cubicBezTo>
                  <a:close/>
                </a:path>
              </a:pathLst>
            </a:custGeom>
            <a:solidFill>
              <a:srgbClr val="4D2F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97">
              <a:extLst>
                <a:ext uri="{FF2B5EF4-FFF2-40B4-BE49-F238E27FC236}">
                  <a16:creationId xmlns:a16="http://schemas.microsoft.com/office/drawing/2014/main" id="{29C304C1-81F5-4647-97E3-0F16AB191E3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97" y="1196"/>
              <a:ext cx="241" cy="233"/>
            </a:xfrm>
            <a:custGeom>
              <a:avLst/>
              <a:gdLst>
                <a:gd name="T0" fmla="*/ 117 w 149"/>
                <a:gd name="T1" fmla="*/ 15 h 145"/>
                <a:gd name="T2" fmla="*/ 68 w 149"/>
                <a:gd name="T3" fmla="*/ 4 h 145"/>
                <a:gd name="T4" fmla="*/ 0 w 149"/>
                <a:gd name="T5" fmla="*/ 12 h 145"/>
                <a:gd name="T6" fmla="*/ 44 w 149"/>
                <a:gd name="T7" fmla="*/ 35 h 145"/>
                <a:gd name="T8" fmla="*/ 108 w 149"/>
                <a:gd name="T9" fmla="*/ 80 h 145"/>
                <a:gd name="T10" fmla="*/ 111 w 149"/>
                <a:gd name="T11" fmla="*/ 104 h 145"/>
                <a:gd name="T12" fmla="*/ 113 w 149"/>
                <a:gd name="T13" fmla="*/ 87 h 145"/>
                <a:gd name="T14" fmla="*/ 123 w 149"/>
                <a:gd name="T15" fmla="*/ 78 h 145"/>
                <a:gd name="T16" fmla="*/ 134 w 149"/>
                <a:gd name="T17" fmla="*/ 89 h 145"/>
                <a:gd name="T18" fmla="*/ 132 w 149"/>
                <a:gd name="T19" fmla="*/ 101 h 145"/>
                <a:gd name="T20" fmla="*/ 118 w 149"/>
                <a:gd name="T21" fmla="*/ 115 h 145"/>
                <a:gd name="T22" fmla="*/ 114 w 149"/>
                <a:gd name="T23" fmla="*/ 115 h 145"/>
                <a:gd name="T24" fmla="*/ 130 w 149"/>
                <a:gd name="T25" fmla="*/ 145 h 145"/>
                <a:gd name="T26" fmla="*/ 147 w 149"/>
                <a:gd name="T27" fmla="*/ 74 h 145"/>
                <a:gd name="T28" fmla="*/ 117 w 149"/>
                <a:gd name="T29" fmla="*/ 1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9" h="145">
                  <a:moveTo>
                    <a:pt x="117" y="15"/>
                  </a:moveTo>
                  <a:cubicBezTo>
                    <a:pt x="102" y="6"/>
                    <a:pt x="85" y="0"/>
                    <a:pt x="68" y="4"/>
                  </a:cubicBezTo>
                  <a:cubicBezTo>
                    <a:pt x="38" y="13"/>
                    <a:pt x="0" y="12"/>
                    <a:pt x="0" y="12"/>
                  </a:cubicBezTo>
                  <a:cubicBezTo>
                    <a:pt x="0" y="12"/>
                    <a:pt x="10" y="45"/>
                    <a:pt x="44" y="35"/>
                  </a:cubicBezTo>
                  <a:cubicBezTo>
                    <a:pt x="107" y="38"/>
                    <a:pt x="108" y="80"/>
                    <a:pt x="108" y="80"/>
                  </a:cubicBezTo>
                  <a:cubicBezTo>
                    <a:pt x="108" y="80"/>
                    <a:pt x="109" y="91"/>
                    <a:pt x="111" y="104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14" y="82"/>
                    <a:pt x="118" y="78"/>
                    <a:pt x="123" y="78"/>
                  </a:cubicBezTo>
                  <a:cubicBezTo>
                    <a:pt x="130" y="78"/>
                    <a:pt x="135" y="83"/>
                    <a:pt x="134" y="89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2" y="109"/>
                    <a:pt x="125" y="114"/>
                    <a:pt x="118" y="115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17" y="128"/>
                    <a:pt x="122" y="141"/>
                    <a:pt x="130" y="145"/>
                  </a:cubicBezTo>
                  <a:cubicBezTo>
                    <a:pt x="139" y="134"/>
                    <a:pt x="145" y="98"/>
                    <a:pt x="147" y="74"/>
                  </a:cubicBezTo>
                  <a:cubicBezTo>
                    <a:pt x="149" y="50"/>
                    <a:pt x="137" y="27"/>
                    <a:pt x="117" y="15"/>
                  </a:cubicBezTo>
                  <a:close/>
                </a:path>
              </a:pathLst>
            </a:custGeom>
            <a:solidFill>
              <a:srgbClr val="4D2F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98">
              <a:extLst>
                <a:ext uri="{FF2B5EF4-FFF2-40B4-BE49-F238E27FC236}">
                  <a16:creationId xmlns:a16="http://schemas.microsoft.com/office/drawing/2014/main" id="{4E34E15E-18EF-431A-B807-0D478E41A69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75" y="1389"/>
              <a:ext cx="26" cy="76"/>
            </a:xfrm>
            <a:custGeom>
              <a:avLst/>
              <a:gdLst>
                <a:gd name="T0" fmla="*/ 0 w 16"/>
                <a:gd name="T1" fmla="*/ 0 h 47"/>
                <a:gd name="T2" fmla="*/ 6 w 16"/>
                <a:gd name="T3" fmla="*/ 47 h 47"/>
                <a:gd name="T4" fmla="*/ 6 w 16"/>
                <a:gd name="T5" fmla="*/ 47 h 47"/>
                <a:gd name="T6" fmla="*/ 14 w 16"/>
                <a:gd name="T7" fmla="*/ 23 h 47"/>
                <a:gd name="T8" fmla="*/ 11 w 16"/>
                <a:gd name="T9" fmla="*/ 8 h 47"/>
                <a:gd name="T10" fmla="*/ 5 w 16"/>
                <a:gd name="T11" fmla="*/ 2 h 47"/>
                <a:gd name="T12" fmla="*/ 0 w 16"/>
                <a:gd name="T1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7">
                  <a:moveTo>
                    <a:pt x="0" y="0"/>
                  </a:move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13" y="41"/>
                    <a:pt x="16" y="32"/>
                    <a:pt x="14" y="23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5"/>
                    <a:pt x="8" y="2"/>
                    <a:pt x="5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068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cuba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TextBox 130">
            <a:extLst>
              <a:ext uri="{FF2B5EF4-FFF2-40B4-BE49-F238E27FC236}">
                <a16:creationId xmlns:a16="http://schemas.microsoft.com/office/drawing/2014/main" id="{ADAD19BE-4B60-4C20-BC0B-19EE7B42C10F}"/>
              </a:ext>
            </a:extLst>
          </p:cNvPr>
          <p:cNvSpPr txBox="1"/>
          <p:nvPr userDrawn="1"/>
        </p:nvSpPr>
        <p:spPr>
          <a:xfrm>
            <a:off x="585215" y="2972233"/>
            <a:ext cx="718074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defTabSz="932742">
              <a:lnSpc>
                <a:spcPct val="100000"/>
              </a:lnSpc>
              <a:spcBef>
                <a:spcPct val="0"/>
              </a:spcBef>
              <a:buNone/>
              <a:defRPr lang="en-US" sz="3600" b="1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sz="3600" b="1" kern="1200" cap="none" spc="-50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cubation</a:t>
            </a: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D493888F-8149-484F-BE6B-5CEBB0CCBE3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6653213" y="1306039"/>
            <a:ext cx="4967287" cy="4245923"/>
            <a:chOff x="4197" y="817"/>
            <a:chExt cx="3140" cy="2684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849B04BF-127E-4952-ADF6-1435E35195B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907" y="1948"/>
              <a:ext cx="659" cy="342"/>
            </a:xfrm>
            <a:custGeom>
              <a:avLst/>
              <a:gdLst>
                <a:gd name="T0" fmla="*/ 242 w 282"/>
                <a:gd name="T1" fmla="*/ 68 h 146"/>
                <a:gd name="T2" fmla="*/ 225 w 282"/>
                <a:gd name="T3" fmla="*/ 71 h 146"/>
                <a:gd name="T4" fmla="*/ 152 w 282"/>
                <a:gd name="T5" fmla="*/ 0 h 146"/>
                <a:gd name="T6" fmla="*/ 81 w 282"/>
                <a:gd name="T7" fmla="*/ 55 h 146"/>
                <a:gd name="T8" fmla="*/ 51 w 282"/>
                <a:gd name="T9" fmla="*/ 45 h 146"/>
                <a:gd name="T10" fmla="*/ 0 w 282"/>
                <a:gd name="T11" fmla="*/ 96 h 146"/>
                <a:gd name="T12" fmla="*/ 51 w 282"/>
                <a:gd name="T13" fmla="*/ 146 h 146"/>
                <a:gd name="T14" fmla="*/ 242 w 282"/>
                <a:gd name="T15" fmla="*/ 146 h 146"/>
                <a:gd name="T16" fmla="*/ 282 w 282"/>
                <a:gd name="T17" fmla="*/ 107 h 146"/>
                <a:gd name="T18" fmla="*/ 242 w 282"/>
                <a:gd name="T19" fmla="*/ 6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2" h="146">
                  <a:moveTo>
                    <a:pt x="242" y="68"/>
                  </a:moveTo>
                  <a:cubicBezTo>
                    <a:pt x="236" y="68"/>
                    <a:pt x="230" y="69"/>
                    <a:pt x="225" y="71"/>
                  </a:cubicBezTo>
                  <a:cubicBezTo>
                    <a:pt x="224" y="32"/>
                    <a:pt x="192" y="0"/>
                    <a:pt x="152" y="0"/>
                  </a:cubicBezTo>
                  <a:cubicBezTo>
                    <a:pt x="118" y="0"/>
                    <a:pt x="89" y="23"/>
                    <a:pt x="81" y="55"/>
                  </a:cubicBezTo>
                  <a:cubicBezTo>
                    <a:pt x="73" y="49"/>
                    <a:pt x="62" y="45"/>
                    <a:pt x="51" y="45"/>
                  </a:cubicBezTo>
                  <a:cubicBezTo>
                    <a:pt x="23" y="45"/>
                    <a:pt x="0" y="68"/>
                    <a:pt x="0" y="96"/>
                  </a:cubicBezTo>
                  <a:cubicBezTo>
                    <a:pt x="0" y="124"/>
                    <a:pt x="23" y="146"/>
                    <a:pt x="51" y="146"/>
                  </a:cubicBezTo>
                  <a:cubicBezTo>
                    <a:pt x="70" y="146"/>
                    <a:pt x="226" y="146"/>
                    <a:pt x="242" y="146"/>
                  </a:cubicBezTo>
                  <a:cubicBezTo>
                    <a:pt x="264" y="146"/>
                    <a:pt x="282" y="129"/>
                    <a:pt x="282" y="107"/>
                  </a:cubicBezTo>
                  <a:cubicBezTo>
                    <a:pt x="282" y="85"/>
                    <a:pt x="264" y="68"/>
                    <a:pt x="242" y="68"/>
                  </a:cubicBez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586D30ED-372C-4C65-97B3-EAA10FE589D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197" y="2192"/>
              <a:ext cx="540" cy="371"/>
            </a:xfrm>
            <a:custGeom>
              <a:avLst/>
              <a:gdLst>
                <a:gd name="T0" fmla="*/ 209 w 231"/>
                <a:gd name="T1" fmla="*/ 116 h 159"/>
                <a:gd name="T2" fmla="*/ 199 w 231"/>
                <a:gd name="T3" fmla="*/ 118 h 159"/>
                <a:gd name="T4" fmla="*/ 209 w 231"/>
                <a:gd name="T5" fmla="*/ 79 h 159"/>
                <a:gd name="T6" fmla="*/ 130 w 231"/>
                <a:gd name="T7" fmla="*/ 0 h 159"/>
                <a:gd name="T8" fmla="*/ 50 w 231"/>
                <a:gd name="T9" fmla="*/ 79 h 159"/>
                <a:gd name="T10" fmla="*/ 51 w 231"/>
                <a:gd name="T11" fmla="*/ 87 h 159"/>
                <a:gd name="T12" fmla="*/ 37 w 231"/>
                <a:gd name="T13" fmla="*/ 84 h 159"/>
                <a:gd name="T14" fmla="*/ 0 w 231"/>
                <a:gd name="T15" fmla="*/ 121 h 159"/>
                <a:gd name="T16" fmla="*/ 37 w 231"/>
                <a:gd name="T17" fmla="*/ 159 h 159"/>
                <a:gd name="T18" fmla="*/ 209 w 231"/>
                <a:gd name="T19" fmla="*/ 159 h 159"/>
                <a:gd name="T20" fmla="*/ 231 w 231"/>
                <a:gd name="T21" fmla="*/ 137 h 159"/>
                <a:gd name="T22" fmla="*/ 209 w 231"/>
                <a:gd name="T23" fmla="*/ 11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1" h="159">
                  <a:moveTo>
                    <a:pt x="209" y="116"/>
                  </a:moveTo>
                  <a:cubicBezTo>
                    <a:pt x="205" y="116"/>
                    <a:pt x="202" y="117"/>
                    <a:pt x="199" y="118"/>
                  </a:cubicBezTo>
                  <a:cubicBezTo>
                    <a:pt x="205" y="107"/>
                    <a:pt x="209" y="93"/>
                    <a:pt x="209" y="79"/>
                  </a:cubicBezTo>
                  <a:cubicBezTo>
                    <a:pt x="209" y="35"/>
                    <a:pt x="174" y="0"/>
                    <a:pt x="130" y="0"/>
                  </a:cubicBezTo>
                  <a:cubicBezTo>
                    <a:pt x="86" y="0"/>
                    <a:pt x="50" y="35"/>
                    <a:pt x="50" y="79"/>
                  </a:cubicBezTo>
                  <a:cubicBezTo>
                    <a:pt x="50" y="82"/>
                    <a:pt x="51" y="84"/>
                    <a:pt x="51" y="87"/>
                  </a:cubicBezTo>
                  <a:cubicBezTo>
                    <a:pt x="47" y="85"/>
                    <a:pt x="42" y="84"/>
                    <a:pt x="37" y="84"/>
                  </a:cubicBezTo>
                  <a:cubicBezTo>
                    <a:pt x="17" y="84"/>
                    <a:pt x="0" y="101"/>
                    <a:pt x="0" y="121"/>
                  </a:cubicBezTo>
                  <a:cubicBezTo>
                    <a:pt x="0" y="142"/>
                    <a:pt x="17" y="159"/>
                    <a:pt x="37" y="159"/>
                  </a:cubicBezTo>
                  <a:cubicBezTo>
                    <a:pt x="53" y="159"/>
                    <a:pt x="197" y="159"/>
                    <a:pt x="209" y="159"/>
                  </a:cubicBezTo>
                  <a:cubicBezTo>
                    <a:pt x="221" y="159"/>
                    <a:pt x="231" y="149"/>
                    <a:pt x="231" y="137"/>
                  </a:cubicBezTo>
                  <a:cubicBezTo>
                    <a:pt x="231" y="125"/>
                    <a:pt x="221" y="116"/>
                    <a:pt x="209" y="116"/>
                  </a:cubicBez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2AFC5E12-4204-4CC8-A6B3-90E12DA54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07" y="1299"/>
              <a:ext cx="790" cy="479"/>
            </a:xfrm>
            <a:custGeom>
              <a:avLst/>
              <a:gdLst>
                <a:gd name="T0" fmla="*/ 193 w 338"/>
                <a:gd name="T1" fmla="*/ 0 h 205"/>
                <a:gd name="T2" fmla="*/ 0 w 338"/>
                <a:gd name="T3" fmla="*/ 72 h 205"/>
                <a:gd name="T4" fmla="*/ 0 w 338"/>
                <a:gd name="T5" fmla="*/ 72 h 205"/>
                <a:gd name="T6" fmla="*/ 192 w 338"/>
                <a:gd name="T7" fmla="*/ 205 h 205"/>
                <a:gd name="T8" fmla="*/ 338 w 338"/>
                <a:gd name="T9" fmla="*/ 145 h 205"/>
                <a:gd name="T10" fmla="*/ 193 w 338"/>
                <a:gd name="T11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8" h="205">
                  <a:moveTo>
                    <a:pt x="193" y="0"/>
                  </a:move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29" y="150"/>
                    <a:pt x="104" y="205"/>
                    <a:pt x="192" y="205"/>
                  </a:cubicBezTo>
                  <a:cubicBezTo>
                    <a:pt x="249" y="205"/>
                    <a:pt x="300" y="182"/>
                    <a:pt x="338" y="145"/>
                  </a:cubicBezTo>
                  <a:lnTo>
                    <a:pt x="193" y="0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D0FD79E9-674E-49F9-9CE6-229C77CFA93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77" y="957"/>
              <a:ext cx="481" cy="342"/>
            </a:xfrm>
            <a:custGeom>
              <a:avLst/>
              <a:gdLst>
                <a:gd name="T0" fmla="*/ 60 w 206"/>
                <a:gd name="T1" fmla="*/ 0 h 146"/>
                <a:gd name="T2" fmla="*/ 0 w 206"/>
                <a:gd name="T3" fmla="*/ 145 h 146"/>
                <a:gd name="T4" fmla="*/ 0 w 206"/>
                <a:gd name="T5" fmla="*/ 146 h 146"/>
                <a:gd name="T6" fmla="*/ 206 w 206"/>
                <a:gd name="T7" fmla="*/ 146 h 146"/>
                <a:gd name="T8" fmla="*/ 60 w 206"/>
                <a:gd name="T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146">
                  <a:moveTo>
                    <a:pt x="60" y="0"/>
                  </a:moveTo>
                  <a:cubicBezTo>
                    <a:pt x="23" y="37"/>
                    <a:pt x="0" y="89"/>
                    <a:pt x="0" y="145"/>
                  </a:cubicBezTo>
                  <a:cubicBezTo>
                    <a:pt x="0" y="145"/>
                    <a:pt x="0" y="145"/>
                    <a:pt x="0" y="146"/>
                  </a:cubicBezTo>
                  <a:cubicBezTo>
                    <a:pt x="206" y="146"/>
                    <a:pt x="206" y="146"/>
                    <a:pt x="206" y="146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0714FE89-6AB6-4F5A-805D-1A8EC03BDBB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77" y="1299"/>
              <a:ext cx="481" cy="168"/>
            </a:xfrm>
            <a:custGeom>
              <a:avLst/>
              <a:gdLst>
                <a:gd name="T0" fmla="*/ 0 w 206"/>
                <a:gd name="T1" fmla="*/ 0 h 72"/>
                <a:gd name="T2" fmla="*/ 13 w 206"/>
                <a:gd name="T3" fmla="*/ 72 h 72"/>
                <a:gd name="T4" fmla="*/ 206 w 206"/>
                <a:gd name="T5" fmla="*/ 0 h 72"/>
                <a:gd name="T6" fmla="*/ 0 w 206"/>
                <a:gd name="T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6" h="72">
                  <a:moveTo>
                    <a:pt x="0" y="0"/>
                  </a:moveTo>
                  <a:cubicBezTo>
                    <a:pt x="0" y="25"/>
                    <a:pt x="4" y="49"/>
                    <a:pt x="13" y="72"/>
                  </a:cubicBezTo>
                  <a:cubicBezTo>
                    <a:pt x="206" y="0"/>
                    <a:pt x="206" y="0"/>
                    <a:pt x="20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64B8314C-052E-4528-92BB-4754375910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17" y="817"/>
              <a:ext cx="820" cy="820"/>
            </a:xfrm>
            <a:custGeom>
              <a:avLst/>
              <a:gdLst>
                <a:gd name="T0" fmla="*/ 291 w 351"/>
                <a:gd name="T1" fmla="*/ 351 h 351"/>
                <a:gd name="T2" fmla="*/ 351 w 351"/>
                <a:gd name="T3" fmla="*/ 205 h 351"/>
                <a:gd name="T4" fmla="*/ 145 w 351"/>
                <a:gd name="T5" fmla="*/ 0 h 351"/>
                <a:gd name="T6" fmla="*/ 0 w 351"/>
                <a:gd name="T7" fmla="*/ 60 h 351"/>
                <a:gd name="T8" fmla="*/ 146 w 351"/>
                <a:gd name="T9" fmla="*/ 206 h 351"/>
                <a:gd name="T10" fmla="*/ 291 w 351"/>
                <a:gd name="T11" fmla="*/ 351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1" h="351">
                  <a:moveTo>
                    <a:pt x="291" y="351"/>
                  </a:moveTo>
                  <a:cubicBezTo>
                    <a:pt x="328" y="313"/>
                    <a:pt x="351" y="262"/>
                    <a:pt x="351" y="205"/>
                  </a:cubicBezTo>
                  <a:cubicBezTo>
                    <a:pt x="351" y="92"/>
                    <a:pt x="259" y="0"/>
                    <a:pt x="145" y="0"/>
                  </a:cubicBezTo>
                  <a:cubicBezTo>
                    <a:pt x="88" y="0"/>
                    <a:pt x="37" y="23"/>
                    <a:pt x="0" y="60"/>
                  </a:cubicBezTo>
                  <a:cubicBezTo>
                    <a:pt x="146" y="206"/>
                    <a:pt x="146" y="206"/>
                    <a:pt x="146" y="206"/>
                  </a:cubicBezTo>
                  <a:lnTo>
                    <a:pt x="291" y="351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0CB52D3-6A98-4BAB-985A-30C6E0166F9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00" y="2439"/>
              <a:ext cx="2110" cy="1062"/>
            </a:xfrm>
            <a:custGeom>
              <a:avLst/>
              <a:gdLst>
                <a:gd name="T0" fmla="*/ 812 w 903"/>
                <a:gd name="T1" fmla="*/ 274 h 454"/>
                <a:gd name="T2" fmla="*/ 781 w 903"/>
                <a:gd name="T3" fmla="*/ 279 h 454"/>
                <a:gd name="T4" fmla="*/ 787 w 903"/>
                <a:gd name="T5" fmla="*/ 227 h 454"/>
                <a:gd name="T6" fmla="*/ 560 w 903"/>
                <a:gd name="T7" fmla="*/ 0 h 454"/>
                <a:gd name="T8" fmla="*/ 344 w 903"/>
                <a:gd name="T9" fmla="*/ 155 h 454"/>
                <a:gd name="T10" fmla="*/ 287 w 903"/>
                <a:gd name="T11" fmla="*/ 155 h 454"/>
                <a:gd name="T12" fmla="*/ 287 w 903"/>
                <a:gd name="T13" fmla="*/ 180 h 454"/>
                <a:gd name="T14" fmla="*/ 253 w 903"/>
                <a:gd name="T15" fmla="*/ 176 h 454"/>
                <a:gd name="T16" fmla="*/ 114 w 903"/>
                <a:gd name="T17" fmla="*/ 310 h 454"/>
                <a:gd name="T18" fmla="*/ 77 w 903"/>
                <a:gd name="T19" fmla="*/ 301 h 454"/>
                <a:gd name="T20" fmla="*/ 0 w 903"/>
                <a:gd name="T21" fmla="*/ 377 h 454"/>
                <a:gd name="T22" fmla="*/ 77 w 903"/>
                <a:gd name="T23" fmla="*/ 454 h 454"/>
                <a:gd name="T24" fmla="*/ 812 w 903"/>
                <a:gd name="T25" fmla="*/ 454 h 454"/>
                <a:gd name="T26" fmla="*/ 903 w 903"/>
                <a:gd name="T27" fmla="*/ 364 h 454"/>
                <a:gd name="T28" fmla="*/ 812 w 903"/>
                <a:gd name="T29" fmla="*/ 274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3" h="454">
                  <a:moveTo>
                    <a:pt x="812" y="274"/>
                  </a:moveTo>
                  <a:cubicBezTo>
                    <a:pt x="801" y="274"/>
                    <a:pt x="791" y="276"/>
                    <a:pt x="781" y="279"/>
                  </a:cubicBezTo>
                  <a:cubicBezTo>
                    <a:pt x="785" y="262"/>
                    <a:pt x="787" y="245"/>
                    <a:pt x="787" y="227"/>
                  </a:cubicBezTo>
                  <a:cubicBezTo>
                    <a:pt x="787" y="101"/>
                    <a:pt x="686" y="0"/>
                    <a:pt x="560" y="0"/>
                  </a:cubicBezTo>
                  <a:cubicBezTo>
                    <a:pt x="460" y="0"/>
                    <a:pt x="374" y="65"/>
                    <a:pt x="344" y="155"/>
                  </a:cubicBezTo>
                  <a:cubicBezTo>
                    <a:pt x="287" y="155"/>
                    <a:pt x="287" y="155"/>
                    <a:pt x="287" y="155"/>
                  </a:cubicBezTo>
                  <a:cubicBezTo>
                    <a:pt x="287" y="180"/>
                    <a:pt x="287" y="180"/>
                    <a:pt x="287" y="180"/>
                  </a:cubicBezTo>
                  <a:cubicBezTo>
                    <a:pt x="276" y="177"/>
                    <a:pt x="265" y="176"/>
                    <a:pt x="253" y="176"/>
                  </a:cubicBezTo>
                  <a:cubicBezTo>
                    <a:pt x="178" y="176"/>
                    <a:pt x="116" y="236"/>
                    <a:pt x="114" y="310"/>
                  </a:cubicBezTo>
                  <a:cubicBezTo>
                    <a:pt x="103" y="304"/>
                    <a:pt x="90" y="301"/>
                    <a:pt x="77" y="301"/>
                  </a:cubicBezTo>
                  <a:cubicBezTo>
                    <a:pt x="34" y="301"/>
                    <a:pt x="0" y="335"/>
                    <a:pt x="0" y="377"/>
                  </a:cubicBezTo>
                  <a:cubicBezTo>
                    <a:pt x="0" y="420"/>
                    <a:pt x="34" y="454"/>
                    <a:pt x="77" y="454"/>
                  </a:cubicBezTo>
                  <a:cubicBezTo>
                    <a:pt x="109" y="454"/>
                    <a:pt x="769" y="454"/>
                    <a:pt x="812" y="454"/>
                  </a:cubicBezTo>
                  <a:cubicBezTo>
                    <a:pt x="862" y="454"/>
                    <a:pt x="903" y="414"/>
                    <a:pt x="903" y="364"/>
                  </a:cubicBezTo>
                  <a:cubicBezTo>
                    <a:pt x="903" y="314"/>
                    <a:pt x="862" y="274"/>
                    <a:pt x="812" y="2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8D77F233-3B97-401B-84E9-31888CFD74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786" y="1525"/>
              <a:ext cx="67" cy="75"/>
            </a:xfrm>
            <a:custGeom>
              <a:avLst/>
              <a:gdLst>
                <a:gd name="T0" fmla="*/ 67 w 67"/>
                <a:gd name="T1" fmla="*/ 47 h 75"/>
                <a:gd name="T2" fmla="*/ 49 w 67"/>
                <a:gd name="T3" fmla="*/ 75 h 75"/>
                <a:gd name="T4" fmla="*/ 11 w 67"/>
                <a:gd name="T5" fmla="*/ 63 h 75"/>
                <a:gd name="T6" fmla="*/ 0 w 67"/>
                <a:gd name="T7" fmla="*/ 17 h 75"/>
                <a:gd name="T8" fmla="*/ 56 w 67"/>
                <a:gd name="T9" fmla="*/ 0 h 75"/>
                <a:gd name="T10" fmla="*/ 67 w 67"/>
                <a:gd name="T11" fmla="*/ 4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75">
                  <a:moveTo>
                    <a:pt x="67" y="47"/>
                  </a:moveTo>
                  <a:lnTo>
                    <a:pt x="49" y="75"/>
                  </a:lnTo>
                  <a:lnTo>
                    <a:pt x="11" y="63"/>
                  </a:lnTo>
                  <a:lnTo>
                    <a:pt x="0" y="17"/>
                  </a:lnTo>
                  <a:lnTo>
                    <a:pt x="56" y="0"/>
                  </a:lnTo>
                  <a:lnTo>
                    <a:pt x="67" y="47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4D627D0B-0736-4EE2-A71A-A0FA1F7ECA3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11" y="1551"/>
              <a:ext cx="654" cy="224"/>
            </a:xfrm>
            <a:custGeom>
              <a:avLst/>
              <a:gdLst>
                <a:gd name="T0" fmla="*/ 280 w 280"/>
                <a:gd name="T1" fmla="*/ 25 h 96"/>
                <a:gd name="T2" fmla="*/ 275 w 280"/>
                <a:gd name="T3" fmla="*/ 9 h 96"/>
                <a:gd name="T4" fmla="*/ 251 w 280"/>
                <a:gd name="T5" fmla="*/ 16 h 96"/>
                <a:gd name="T6" fmla="*/ 247 w 280"/>
                <a:gd name="T7" fmla="*/ 0 h 96"/>
                <a:gd name="T8" fmla="*/ 123 w 280"/>
                <a:gd name="T9" fmla="*/ 36 h 96"/>
                <a:gd name="T10" fmla="*/ 124 w 280"/>
                <a:gd name="T11" fmla="*/ 40 h 96"/>
                <a:gd name="T12" fmla="*/ 7 w 280"/>
                <a:gd name="T13" fmla="*/ 75 h 96"/>
                <a:gd name="T14" fmla="*/ 7 w 280"/>
                <a:gd name="T15" fmla="*/ 74 h 96"/>
                <a:gd name="T16" fmla="*/ 4 w 280"/>
                <a:gd name="T17" fmla="*/ 72 h 96"/>
                <a:gd name="T18" fmla="*/ 2 w 280"/>
                <a:gd name="T19" fmla="*/ 73 h 96"/>
                <a:gd name="T20" fmla="*/ 0 w 280"/>
                <a:gd name="T21" fmla="*/ 77 h 96"/>
                <a:gd name="T22" fmla="*/ 5 w 280"/>
                <a:gd name="T23" fmla="*/ 94 h 96"/>
                <a:gd name="T24" fmla="*/ 9 w 280"/>
                <a:gd name="T25" fmla="*/ 96 h 96"/>
                <a:gd name="T26" fmla="*/ 10 w 280"/>
                <a:gd name="T27" fmla="*/ 96 h 96"/>
                <a:gd name="T28" fmla="*/ 12 w 280"/>
                <a:gd name="T29" fmla="*/ 92 h 96"/>
                <a:gd name="T30" fmla="*/ 12 w 280"/>
                <a:gd name="T31" fmla="*/ 92 h 96"/>
                <a:gd name="T32" fmla="*/ 129 w 280"/>
                <a:gd name="T33" fmla="*/ 58 h 96"/>
                <a:gd name="T34" fmla="*/ 131 w 280"/>
                <a:gd name="T35" fmla="*/ 62 h 96"/>
                <a:gd name="T36" fmla="*/ 254 w 280"/>
                <a:gd name="T37" fmla="*/ 26 h 96"/>
                <a:gd name="T38" fmla="*/ 256 w 280"/>
                <a:gd name="T39" fmla="*/ 32 h 96"/>
                <a:gd name="T40" fmla="*/ 280 w 280"/>
                <a:gd name="T41" fmla="*/ 2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0" h="96">
                  <a:moveTo>
                    <a:pt x="280" y="25"/>
                  </a:moveTo>
                  <a:cubicBezTo>
                    <a:pt x="275" y="9"/>
                    <a:pt x="275" y="9"/>
                    <a:pt x="275" y="9"/>
                  </a:cubicBezTo>
                  <a:cubicBezTo>
                    <a:pt x="251" y="16"/>
                    <a:pt x="251" y="16"/>
                    <a:pt x="251" y="16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7" y="73"/>
                    <a:pt x="5" y="72"/>
                    <a:pt x="4" y="72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0" y="73"/>
                    <a:pt x="0" y="75"/>
                    <a:pt x="0" y="77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6" y="96"/>
                    <a:pt x="7" y="96"/>
                    <a:pt x="9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2" y="95"/>
                    <a:pt x="13" y="93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9" y="58"/>
                    <a:pt x="129" y="58"/>
                    <a:pt x="129" y="58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56" y="32"/>
                    <a:pt x="256" y="32"/>
                    <a:pt x="256" y="32"/>
                  </a:cubicBezTo>
                  <a:lnTo>
                    <a:pt x="280" y="25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8C10C3DC-C18C-4180-89C2-7805323C8B3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27" y="1652"/>
              <a:ext cx="255" cy="88"/>
            </a:xfrm>
            <a:custGeom>
              <a:avLst/>
              <a:gdLst>
                <a:gd name="T0" fmla="*/ 250 w 255"/>
                <a:gd name="T1" fmla="*/ 0 h 88"/>
                <a:gd name="T2" fmla="*/ 0 w 255"/>
                <a:gd name="T3" fmla="*/ 74 h 88"/>
                <a:gd name="T4" fmla="*/ 5 w 255"/>
                <a:gd name="T5" fmla="*/ 88 h 88"/>
                <a:gd name="T6" fmla="*/ 255 w 255"/>
                <a:gd name="T7" fmla="*/ 16 h 88"/>
                <a:gd name="T8" fmla="*/ 250 w 255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88">
                  <a:moveTo>
                    <a:pt x="250" y="0"/>
                  </a:moveTo>
                  <a:lnTo>
                    <a:pt x="0" y="74"/>
                  </a:lnTo>
                  <a:lnTo>
                    <a:pt x="5" y="88"/>
                  </a:lnTo>
                  <a:lnTo>
                    <a:pt x="255" y="16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9BA2F5FA-159F-411F-99AD-45B49F024C1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98" y="1558"/>
              <a:ext cx="274" cy="101"/>
            </a:xfrm>
            <a:custGeom>
              <a:avLst/>
              <a:gdLst>
                <a:gd name="T0" fmla="*/ 267 w 274"/>
                <a:gd name="T1" fmla="*/ 0 h 101"/>
                <a:gd name="T2" fmla="*/ 0 w 274"/>
                <a:gd name="T3" fmla="*/ 77 h 101"/>
                <a:gd name="T4" fmla="*/ 7 w 274"/>
                <a:gd name="T5" fmla="*/ 101 h 101"/>
                <a:gd name="T6" fmla="*/ 274 w 274"/>
                <a:gd name="T7" fmla="*/ 21 h 101"/>
                <a:gd name="T8" fmla="*/ 267 w 274"/>
                <a:gd name="T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4" h="101">
                  <a:moveTo>
                    <a:pt x="267" y="0"/>
                  </a:moveTo>
                  <a:lnTo>
                    <a:pt x="0" y="77"/>
                  </a:lnTo>
                  <a:lnTo>
                    <a:pt x="7" y="101"/>
                  </a:lnTo>
                  <a:lnTo>
                    <a:pt x="274" y="21"/>
                  </a:lnTo>
                  <a:lnTo>
                    <a:pt x="267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EFCA58F2-B871-436D-A340-9323DF76B01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72" y="1652"/>
              <a:ext cx="170" cy="236"/>
            </a:xfrm>
            <a:custGeom>
              <a:avLst/>
              <a:gdLst>
                <a:gd name="T0" fmla="*/ 4 w 73"/>
                <a:gd name="T1" fmla="*/ 82 h 101"/>
                <a:gd name="T2" fmla="*/ 8 w 73"/>
                <a:gd name="T3" fmla="*/ 73 h 101"/>
                <a:gd name="T4" fmla="*/ 1 w 73"/>
                <a:gd name="T5" fmla="*/ 26 h 101"/>
                <a:gd name="T6" fmla="*/ 4 w 73"/>
                <a:gd name="T7" fmla="*/ 18 h 101"/>
                <a:gd name="T8" fmla="*/ 14 w 73"/>
                <a:gd name="T9" fmla="*/ 13 h 101"/>
                <a:gd name="T10" fmla="*/ 19 w 73"/>
                <a:gd name="T11" fmla="*/ 14 h 101"/>
                <a:gd name="T12" fmla="*/ 22 w 73"/>
                <a:gd name="T13" fmla="*/ 17 h 101"/>
                <a:gd name="T14" fmla="*/ 34 w 73"/>
                <a:gd name="T15" fmla="*/ 8 h 101"/>
                <a:gd name="T16" fmla="*/ 49 w 73"/>
                <a:gd name="T17" fmla="*/ 8 h 101"/>
                <a:gd name="T18" fmla="*/ 49 w 73"/>
                <a:gd name="T19" fmla="*/ 12 h 101"/>
                <a:gd name="T20" fmla="*/ 40 w 73"/>
                <a:gd name="T21" fmla="*/ 18 h 101"/>
                <a:gd name="T22" fmla="*/ 35 w 73"/>
                <a:gd name="T23" fmla="*/ 29 h 101"/>
                <a:gd name="T24" fmla="*/ 54 w 73"/>
                <a:gd name="T25" fmla="*/ 3 h 101"/>
                <a:gd name="T26" fmla="*/ 60 w 73"/>
                <a:gd name="T27" fmla="*/ 1 h 101"/>
                <a:gd name="T28" fmla="*/ 60 w 73"/>
                <a:gd name="T29" fmla="*/ 1 h 101"/>
                <a:gd name="T30" fmla="*/ 63 w 73"/>
                <a:gd name="T31" fmla="*/ 9 h 101"/>
                <a:gd name="T32" fmla="*/ 51 w 73"/>
                <a:gd name="T33" fmla="*/ 31 h 101"/>
                <a:gd name="T34" fmla="*/ 65 w 73"/>
                <a:gd name="T35" fmla="*/ 25 h 101"/>
                <a:gd name="T36" fmla="*/ 72 w 73"/>
                <a:gd name="T37" fmla="*/ 27 h 101"/>
                <a:gd name="T38" fmla="*/ 72 w 73"/>
                <a:gd name="T39" fmla="*/ 27 h 101"/>
                <a:gd name="T40" fmla="*/ 70 w 73"/>
                <a:gd name="T41" fmla="*/ 33 h 101"/>
                <a:gd name="T42" fmla="*/ 49 w 73"/>
                <a:gd name="T43" fmla="*/ 49 h 101"/>
                <a:gd name="T44" fmla="*/ 40 w 73"/>
                <a:gd name="T45" fmla="*/ 82 h 101"/>
                <a:gd name="T46" fmla="*/ 27 w 73"/>
                <a:gd name="T47" fmla="*/ 101 h 101"/>
                <a:gd name="T48" fmla="*/ 4 w 73"/>
                <a:gd name="T49" fmla="*/ 91 h 101"/>
                <a:gd name="T50" fmla="*/ 4 w 73"/>
                <a:gd name="T51" fmla="*/ 8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3" h="101">
                  <a:moveTo>
                    <a:pt x="4" y="82"/>
                  </a:moveTo>
                  <a:cubicBezTo>
                    <a:pt x="8" y="73"/>
                    <a:pt x="8" y="73"/>
                    <a:pt x="8" y="7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3"/>
                    <a:pt x="2" y="20"/>
                    <a:pt x="4" y="18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6" y="12"/>
                    <a:pt x="18" y="13"/>
                    <a:pt x="19" y="14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5" y="1"/>
                    <a:pt x="58" y="0"/>
                    <a:pt x="60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3" y="2"/>
                    <a:pt x="65" y="6"/>
                    <a:pt x="63" y="9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7" y="23"/>
                    <a:pt x="70" y="25"/>
                    <a:pt x="72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3" y="29"/>
                    <a:pt x="72" y="32"/>
                    <a:pt x="70" y="3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4" y="91"/>
                    <a:pt x="4" y="91"/>
                    <a:pt x="4" y="91"/>
                  </a:cubicBezTo>
                  <a:lnTo>
                    <a:pt x="4" y="82"/>
                  </a:lnTo>
                  <a:close/>
                </a:path>
              </a:pathLst>
            </a:custGeom>
            <a:solidFill>
              <a:srgbClr val="F0BE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4E2684D9-CF03-4BEA-A4A2-C7988F452CB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921" y="1633"/>
              <a:ext cx="304" cy="334"/>
            </a:xfrm>
            <a:custGeom>
              <a:avLst/>
              <a:gdLst>
                <a:gd name="T0" fmla="*/ 125 w 130"/>
                <a:gd name="T1" fmla="*/ 58 h 143"/>
                <a:gd name="T2" fmla="*/ 120 w 130"/>
                <a:gd name="T3" fmla="*/ 55 h 143"/>
                <a:gd name="T4" fmla="*/ 115 w 130"/>
                <a:gd name="T5" fmla="*/ 49 h 143"/>
                <a:gd name="T6" fmla="*/ 51 w 130"/>
                <a:gd name="T7" fmla="*/ 4 h 143"/>
                <a:gd name="T8" fmla="*/ 3 w 130"/>
                <a:gd name="T9" fmla="*/ 54 h 143"/>
                <a:gd name="T10" fmla="*/ 35 w 130"/>
                <a:gd name="T11" fmla="*/ 111 h 143"/>
                <a:gd name="T12" fmla="*/ 39 w 130"/>
                <a:gd name="T13" fmla="*/ 116 h 143"/>
                <a:gd name="T14" fmla="*/ 32 w 130"/>
                <a:gd name="T15" fmla="*/ 139 h 143"/>
                <a:gd name="T16" fmla="*/ 75 w 130"/>
                <a:gd name="T17" fmla="*/ 143 h 143"/>
                <a:gd name="T18" fmla="*/ 80 w 130"/>
                <a:gd name="T19" fmla="*/ 127 h 143"/>
                <a:gd name="T20" fmla="*/ 93 w 130"/>
                <a:gd name="T21" fmla="*/ 116 h 143"/>
                <a:gd name="T22" fmla="*/ 103 w 130"/>
                <a:gd name="T23" fmla="*/ 114 h 143"/>
                <a:gd name="T24" fmla="*/ 117 w 130"/>
                <a:gd name="T25" fmla="*/ 99 h 143"/>
                <a:gd name="T26" fmla="*/ 116 w 130"/>
                <a:gd name="T27" fmla="*/ 73 h 143"/>
                <a:gd name="T28" fmla="*/ 125 w 130"/>
                <a:gd name="T29" fmla="*/ 70 h 143"/>
                <a:gd name="T30" fmla="*/ 125 w 130"/>
                <a:gd name="T31" fmla="*/ 5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0" h="143">
                  <a:moveTo>
                    <a:pt x="125" y="58"/>
                  </a:moveTo>
                  <a:cubicBezTo>
                    <a:pt x="120" y="55"/>
                    <a:pt x="120" y="55"/>
                    <a:pt x="120" y="55"/>
                  </a:cubicBezTo>
                  <a:cubicBezTo>
                    <a:pt x="117" y="54"/>
                    <a:pt x="115" y="52"/>
                    <a:pt x="115" y="49"/>
                  </a:cubicBezTo>
                  <a:cubicBezTo>
                    <a:pt x="109" y="21"/>
                    <a:pt x="82" y="0"/>
                    <a:pt x="51" y="4"/>
                  </a:cubicBezTo>
                  <a:cubicBezTo>
                    <a:pt x="25" y="7"/>
                    <a:pt x="6" y="28"/>
                    <a:pt x="3" y="54"/>
                  </a:cubicBezTo>
                  <a:cubicBezTo>
                    <a:pt x="0" y="79"/>
                    <a:pt x="14" y="101"/>
                    <a:pt x="35" y="111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75" y="143"/>
                    <a:pt x="75" y="143"/>
                    <a:pt x="75" y="143"/>
                  </a:cubicBezTo>
                  <a:cubicBezTo>
                    <a:pt x="80" y="127"/>
                    <a:pt x="80" y="127"/>
                    <a:pt x="80" y="127"/>
                  </a:cubicBezTo>
                  <a:cubicBezTo>
                    <a:pt x="82" y="121"/>
                    <a:pt x="87" y="117"/>
                    <a:pt x="93" y="116"/>
                  </a:cubicBezTo>
                  <a:cubicBezTo>
                    <a:pt x="103" y="114"/>
                    <a:pt x="103" y="114"/>
                    <a:pt x="103" y="114"/>
                  </a:cubicBezTo>
                  <a:cubicBezTo>
                    <a:pt x="111" y="113"/>
                    <a:pt x="117" y="107"/>
                    <a:pt x="117" y="99"/>
                  </a:cubicBezTo>
                  <a:cubicBezTo>
                    <a:pt x="116" y="91"/>
                    <a:pt x="116" y="82"/>
                    <a:pt x="116" y="73"/>
                  </a:cubicBezTo>
                  <a:cubicBezTo>
                    <a:pt x="125" y="70"/>
                    <a:pt x="125" y="70"/>
                    <a:pt x="125" y="70"/>
                  </a:cubicBezTo>
                  <a:cubicBezTo>
                    <a:pt x="130" y="68"/>
                    <a:pt x="130" y="61"/>
                    <a:pt x="125" y="58"/>
                  </a:cubicBezTo>
                  <a:close/>
                </a:path>
              </a:pathLst>
            </a:custGeom>
            <a:solidFill>
              <a:srgbClr val="F0BE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9BA5AD36-1C80-42E8-85D5-A67B1C3B4C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840" y="1619"/>
              <a:ext cx="289" cy="285"/>
            </a:xfrm>
            <a:custGeom>
              <a:avLst/>
              <a:gdLst>
                <a:gd name="T0" fmla="*/ 86 w 124"/>
                <a:gd name="T1" fmla="*/ 3 h 122"/>
                <a:gd name="T2" fmla="*/ 50 w 124"/>
                <a:gd name="T3" fmla="*/ 15 h 122"/>
                <a:gd name="T4" fmla="*/ 42 w 124"/>
                <a:gd name="T5" fmla="*/ 6 h 122"/>
                <a:gd name="T6" fmla="*/ 13 w 124"/>
                <a:gd name="T7" fmla="*/ 12 h 122"/>
                <a:gd name="T8" fmla="*/ 6 w 124"/>
                <a:gd name="T9" fmla="*/ 23 h 122"/>
                <a:gd name="T10" fmla="*/ 12 w 124"/>
                <a:gd name="T11" fmla="*/ 51 h 122"/>
                <a:gd name="T12" fmla="*/ 28 w 124"/>
                <a:gd name="T13" fmla="*/ 54 h 122"/>
                <a:gd name="T14" fmla="*/ 33 w 124"/>
                <a:gd name="T15" fmla="*/ 83 h 122"/>
                <a:gd name="T16" fmla="*/ 35 w 124"/>
                <a:gd name="T17" fmla="*/ 89 h 122"/>
                <a:gd name="T18" fmla="*/ 67 w 124"/>
                <a:gd name="T19" fmla="*/ 120 h 122"/>
                <a:gd name="T20" fmla="*/ 74 w 124"/>
                <a:gd name="T21" fmla="*/ 122 h 122"/>
                <a:gd name="T22" fmla="*/ 93 w 124"/>
                <a:gd name="T23" fmla="*/ 100 h 122"/>
                <a:gd name="T24" fmla="*/ 93 w 124"/>
                <a:gd name="T25" fmla="*/ 79 h 122"/>
                <a:gd name="T26" fmla="*/ 73 w 124"/>
                <a:gd name="T27" fmla="*/ 72 h 122"/>
                <a:gd name="T28" fmla="*/ 72 w 124"/>
                <a:gd name="T29" fmla="*/ 70 h 122"/>
                <a:gd name="T30" fmla="*/ 76 w 124"/>
                <a:gd name="T31" fmla="*/ 57 h 122"/>
                <a:gd name="T32" fmla="*/ 89 w 124"/>
                <a:gd name="T33" fmla="*/ 62 h 122"/>
                <a:gd name="T34" fmla="*/ 97 w 124"/>
                <a:gd name="T35" fmla="*/ 77 h 122"/>
                <a:gd name="T36" fmla="*/ 103 w 124"/>
                <a:gd name="T37" fmla="*/ 88 h 122"/>
                <a:gd name="T38" fmla="*/ 101 w 124"/>
                <a:gd name="T39" fmla="*/ 50 h 122"/>
                <a:gd name="T40" fmla="*/ 112 w 124"/>
                <a:gd name="T41" fmla="*/ 26 h 122"/>
                <a:gd name="T42" fmla="*/ 124 w 124"/>
                <a:gd name="T43" fmla="*/ 19 h 122"/>
                <a:gd name="T44" fmla="*/ 86 w 124"/>
                <a:gd name="T45" fmla="*/ 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4" h="122">
                  <a:moveTo>
                    <a:pt x="86" y="3"/>
                  </a:moveTo>
                  <a:cubicBezTo>
                    <a:pt x="74" y="3"/>
                    <a:pt x="60" y="7"/>
                    <a:pt x="50" y="15"/>
                  </a:cubicBezTo>
                  <a:cubicBezTo>
                    <a:pt x="48" y="12"/>
                    <a:pt x="46" y="8"/>
                    <a:pt x="42" y="6"/>
                  </a:cubicBezTo>
                  <a:cubicBezTo>
                    <a:pt x="33" y="0"/>
                    <a:pt x="20" y="2"/>
                    <a:pt x="13" y="12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0" y="32"/>
                    <a:pt x="3" y="45"/>
                    <a:pt x="12" y="51"/>
                  </a:cubicBezTo>
                  <a:cubicBezTo>
                    <a:pt x="17" y="55"/>
                    <a:pt x="23" y="55"/>
                    <a:pt x="28" y="54"/>
                  </a:cubicBezTo>
                  <a:cubicBezTo>
                    <a:pt x="27" y="64"/>
                    <a:pt x="29" y="74"/>
                    <a:pt x="33" y="83"/>
                  </a:cubicBezTo>
                  <a:cubicBezTo>
                    <a:pt x="35" y="89"/>
                    <a:pt x="35" y="89"/>
                    <a:pt x="35" y="89"/>
                  </a:cubicBezTo>
                  <a:cubicBezTo>
                    <a:pt x="42" y="103"/>
                    <a:pt x="53" y="114"/>
                    <a:pt x="67" y="120"/>
                  </a:cubicBezTo>
                  <a:cubicBezTo>
                    <a:pt x="74" y="122"/>
                    <a:pt x="74" y="122"/>
                    <a:pt x="74" y="122"/>
                  </a:cubicBezTo>
                  <a:cubicBezTo>
                    <a:pt x="74" y="122"/>
                    <a:pt x="89" y="114"/>
                    <a:pt x="93" y="100"/>
                  </a:cubicBezTo>
                  <a:cubicBezTo>
                    <a:pt x="94" y="94"/>
                    <a:pt x="94" y="86"/>
                    <a:pt x="93" y="79"/>
                  </a:cubicBezTo>
                  <a:cubicBezTo>
                    <a:pt x="85" y="83"/>
                    <a:pt x="76" y="79"/>
                    <a:pt x="73" y="72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69" y="65"/>
                    <a:pt x="72" y="59"/>
                    <a:pt x="76" y="57"/>
                  </a:cubicBezTo>
                  <a:cubicBezTo>
                    <a:pt x="81" y="55"/>
                    <a:pt x="86" y="57"/>
                    <a:pt x="89" y="62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103" y="88"/>
                    <a:pt x="103" y="88"/>
                    <a:pt x="103" y="88"/>
                  </a:cubicBezTo>
                  <a:cubicBezTo>
                    <a:pt x="103" y="88"/>
                    <a:pt x="109" y="63"/>
                    <a:pt x="101" y="50"/>
                  </a:cubicBezTo>
                  <a:cubicBezTo>
                    <a:pt x="94" y="37"/>
                    <a:pt x="102" y="27"/>
                    <a:pt x="112" y="26"/>
                  </a:cubicBezTo>
                  <a:cubicBezTo>
                    <a:pt x="122" y="25"/>
                    <a:pt x="124" y="19"/>
                    <a:pt x="124" y="19"/>
                  </a:cubicBezTo>
                  <a:cubicBezTo>
                    <a:pt x="116" y="6"/>
                    <a:pt x="101" y="3"/>
                    <a:pt x="86" y="3"/>
                  </a:cubicBezTo>
                  <a:close/>
                </a:path>
              </a:pathLst>
            </a:custGeom>
            <a:solidFill>
              <a:srgbClr val="704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19">
              <a:extLst>
                <a:ext uri="{FF2B5EF4-FFF2-40B4-BE49-F238E27FC236}">
                  <a16:creationId xmlns:a16="http://schemas.microsoft.com/office/drawing/2014/main" id="{FFD74E76-8F56-4BA5-83FB-347259809FE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146" y="1745"/>
              <a:ext cx="23" cy="21"/>
            </a:xfrm>
            <a:prstGeom prst="ellipse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98DFAF8A-8C09-4030-A09E-8C6570025DF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122" y="1719"/>
              <a:ext cx="42" cy="28"/>
            </a:xfrm>
            <a:custGeom>
              <a:avLst/>
              <a:gdLst>
                <a:gd name="T0" fmla="*/ 3 w 18"/>
                <a:gd name="T1" fmla="*/ 12 h 12"/>
                <a:gd name="T2" fmla="*/ 2 w 18"/>
                <a:gd name="T3" fmla="*/ 12 h 12"/>
                <a:gd name="T4" fmla="*/ 1 w 18"/>
                <a:gd name="T5" fmla="*/ 9 h 12"/>
                <a:gd name="T6" fmla="*/ 16 w 18"/>
                <a:gd name="T7" fmla="*/ 1 h 12"/>
                <a:gd name="T8" fmla="*/ 18 w 18"/>
                <a:gd name="T9" fmla="*/ 3 h 12"/>
                <a:gd name="T10" fmla="*/ 16 w 18"/>
                <a:gd name="T11" fmla="*/ 5 h 12"/>
                <a:gd name="T12" fmla="*/ 4 w 18"/>
                <a:gd name="T13" fmla="*/ 11 h 12"/>
                <a:gd name="T14" fmla="*/ 3 w 18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2">
                  <a:moveTo>
                    <a:pt x="3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1" y="11"/>
                    <a:pt x="0" y="10"/>
                    <a:pt x="1" y="9"/>
                  </a:cubicBezTo>
                  <a:cubicBezTo>
                    <a:pt x="3" y="6"/>
                    <a:pt x="8" y="0"/>
                    <a:pt x="16" y="1"/>
                  </a:cubicBezTo>
                  <a:cubicBezTo>
                    <a:pt x="17" y="1"/>
                    <a:pt x="18" y="2"/>
                    <a:pt x="18" y="3"/>
                  </a:cubicBezTo>
                  <a:cubicBezTo>
                    <a:pt x="18" y="4"/>
                    <a:pt x="17" y="5"/>
                    <a:pt x="16" y="5"/>
                  </a:cubicBezTo>
                  <a:cubicBezTo>
                    <a:pt x="8" y="4"/>
                    <a:pt x="4" y="11"/>
                    <a:pt x="4" y="11"/>
                  </a:cubicBezTo>
                  <a:cubicBezTo>
                    <a:pt x="4" y="11"/>
                    <a:pt x="3" y="12"/>
                    <a:pt x="3" y="12"/>
                  </a:cubicBezTo>
                  <a:close/>
                </a:path>
              </a:pathLst>
            </a:custGeom>
            <a:solidFill>
              <a:srgbClr val="704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5808ACBF-83CC-475C-8E89-41A2B61E614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157" y="1820"/>
              <a:ext cx="35" cy="21"/>
            </a:xfrm>
            <a:custGeom>
              <a:avLst/>
              <a:gdLst>
                <a:gd name="T0" fmla="*/ 15 w 15"/>
                <a:gd name="T1" fmla="*/ 1 h 9"/>
                <a:gd name="T2" fmla="*/ 15 w 15"/>
                <a:gd name="T3" fmla="*/ 1 h 9"/>
                <a:gd name="T4" fmla="*/ 10 w 15"/>
                <a:gd name="T5" fmla="*/ 1 h 9"/>
                <a:gd name="T6" fmla="*/ 0 w 15"/>
                <a:gd name="T7" fmla="*/ 7 h 9"/>
                <a:gd name="T8" fmla="*/ 7 w 15"/>
                <a:gd name="T9" fmla="*/ 8 h 9"/>
                <a:gd name="T10" fmla="*/ 15 w 15"/>
                <a:gd name="T11" fmla="*/ 7 h 9"/>
                <a:gd name="T12" fmla="*/ 15 w 15"/>
                <a:gd name="T13" fmla="*/ 7 h 9"/>
                <a:gd name="T14" fmla="*/ 15 w 15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9">
                  <a:moveTo>
                    <a:pt x="15" y="1"/>
                  </a:moveTo>
                  <a:cubicBezTo>
                    <a:pt x="15" y="1"/>
                    <a:pt x="15" y="1"/>
                    <a:pt x="15" y="1"/>
                  </a:cubicBezTo>
                  <a:cubicBezTo>
                    <a:pt x="13" y="0"/>
                    <a:pt x="11" y="0"/>
                    <a:pt x="10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0" y="9"/>
                    <a:pt x="13" y="9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lnTo>
                    <a:pt x="15" y="1"/>
                  </a:lnTo>
                  <a:close/>
                </a:path>
              </a:pathLst>
            </a:custGeom>
            <a:solidFill>
              <a:srgbClr val="EB4F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22ACAD39-7E8D-49ED-8155-FD1B02A0451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047" y="1808"/>
              <a:ext cx="475" cy="313"/>
            </a:xfrm>
            <a:custGeom>
              <a:avLst/>
              <a:gdLst>
                <a:gd name="T0" fmla="*/ 24 w 475"/>
                <a:gd name="T1" fmla="*/ 313 h 313"/>
                <a:gd name="T2" fmla="*/ 267 w 475"/>
                <a:gd name="T3" fmla="*/ 262 h 313"/>
                <a:gd name="T4" fmla="*/ 475 w 475"/>
                <a:gd name="T5" fmla="*/ 54 h 313"/>
                <a:gd name="T6" fmla="*/ 379 w 475"/>
                <a:gd name="T7" fmla="*/ 0 h 313"/>
                <a:gd name="T8" fmla="*/ 222 w 475"/>
                <a:gd name="T9" fmla="*/ 171 h 313"/>
                <a:gd name="T10" fmla="*/ 0 w 475"/>
                <a:gd name="T11" fmla="*/ 175 h 313"/>
                <a:gd name="T12" fmla="*/ 24 w 475"/>
                <a:gd name="T13" fmla="*/ 313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5" h="313">
                  <a:moveTo>
                    <a:pt x="24" y="313"/>
                  </a:moveTo>
                  <a:lnTo>
                    <a:pt x="267" y="262"/>
                  </a:lnTo>
                  <a:lnTo>
                    <a:pt x="475" y="54"/>
                  </a:lnTo>
                  <a:lnTo>
                    <a:pt x="379" y="0"/>
                  </a:lnTo>
                  <a:lnTo>
                    <a:pt x="222" y="171"/>
                  </a:lnTo>
                  <a:lnTo>
                    <a:pt x="0" y="175"/>
                  </a:lnTo>
                  <a:lnTo>
                    <a:pt x="24" y="313"/>
                  </a:ln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891D132C-9A98-4E52-A8DC-8C64EB8B37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856" y="1829"/>
              <a:ext cx="505" cy="1104"/>
            </a:xfrm>
            <a:custGeom>
              <a:avLst/>
              <a:gdLst>
                <a:gd name="T0" fmla="*/ 0 w 216"/>
                <a:gd name="T1" fmla="*/ 456 h 472"/>
                <a:gd name="T2" fmla="*/ 62 w 216"/>
                <a:gd name="T3" fmla="*/ 472 h 472"/>
                <a:gd name="T4" fmla="*/ 163 w 216"/>
                <a:gd name="T5" fmla="*/ 415 h 472"/>
                <a:gd name="T6" fmla="*/ 158 w 216"/>
                <a:gd name="T7" fmla="*/ 284 h 472"/>
                <a:gd name="T8" fmla="*/ 171 w 216"/>
                <a:gd name="T9" fmla="*/ 278 h 472"/>
                <a:gd name="T10" fmla="*/ 151 w 216"/>
                <a:gd name="T11" fmla="*/ 184 h 472"/>
                <a:gd name="T12" fmla="*/ 152 w 216"/>
                <a:gd name="T13" fmla="*/ 157 h 472"/>
                <a:gd name="T14" fmla="*/ 153 w 216"/>
                <a:gd name="T15" fmla="*/ 153 h 472"/>
                <a:gd name="T16" fmla="*/ 150 w 216"/>
                <a:gd name="T17" fmla="*/ 129 h 472"/>
                <a:gd name="T18" fmla="*/ 142 w 216"/>
                <a:gd name="T19" fmla="*/ 118 h 472"/>
                <a:gd name="T20" fmla="*/ 177 w 216"/>
                <a:gd name="T21" fmla="*/ 118 h 472"/>
                <a:gd name="T22" fmla="*/ 193 w 216"/>
                <a:gd name="T23" fmla="*/ 105 h 472"/>
                <a:gd name="T24" fmla="*/ 216 w 216"/>
                <a:gd name="T25" fmla="*/ 17 h 472"/>
                <a:gd name="T26" fmla="*/ 180 w 216"/>
                <a:gd name="T27" fmla="*/ 0 h 472"/>
                <a:gd name="T28" fmla="*/ 154 w 216"/>
                <a:gd name="T29" fmla="*/ 78 h 472"/>
                <a:gd name="T30" fmla="*/ 121 w 216"/>
                <a:gd name="T31" fmla="*/ 74 h 472"/>
                <a:gd name="T32" fmla="*/ 118 w 216"/>
                <a:gd name="T33" fmla="*/ 71 h 472"/>
                <a:gd name="T34" fmla="*/ 114 w 216"/>
                <a:gd name="T35" fmla="*/ 67 h 472"/>
                <a:gd name="T36" fmla="*/ 116 w 216"/>
                <a:gd name="T37" fmla="*/ 63 h 472"/>
                <a:gd name="T38" fmla="*/ 115 w 216"/>
                <a:gd name="T39" fmla="*/ 60 h 472"/>
                <a:gd name="T40" fmla="*/ 92 w 216"/>
                <a:gd name="T41" fmla="*/ 44 h 472"/>
                <a:gd name="T42" fmla="*/ 53 w 216"/>
                <a:gd name="T43" fmla="*/ 36 h 472"/>
                <a:gd name="T44" fmla="*/ 46 w 216"/>
                <a:gd name="T45" fmla="*/ 57 h 472"/>
                <a:gd name="T46" fmla="*/ 50 w 216"/>
                <a:gd name="T47" fmla="*/ 58 h 472"/>
                <a:gd name="T48" fmla="*/ 49 w 216"/>
                <a:gd name="T49" fmla="*/ 60 h 472"/>
                <a:gd name="T50" fmla="*/ 35 w 216"/>
                <a:gd name="T51" fmla="*/ 80 h 472"/>
                <a:gd name="T52" fmla="*/ 45 w 216"/>
                <a:gd name="T53" fmla="*/ 221 h 472"/>
                <a:gd name="T54" fmla="*/ 20 w 216"/>
                <a:gd name="T55" fmla="*/ 287 h 472"/>
                <a:gd name="T56" fmla="*/ 28 w 216"/>
                <a:gd name="T57" fmla="*/ 286 h 472"/>
                <a:gd name="T58" fmla="*/ 3 w 216"/>
                <a:gd name="T59" fmla="*/ 387 h 472"/>
                <a:gd name="T60" fmla="*/ 0 w 216"/>
                <a:gd name="T61" fmla="*/ 45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16" h="472">
                  <a:moveTo>
                    <a:pt x="0" y="456"/>
                  </a:moveTo>
                  <a:cubicBezTo>
                    <a:pt x="22" y="457"/>
                    <a:pt x="43" y="463"/>
                    <a:pt x="62" y="472"/>
                  </a:cubicBezTo>
                  <a:cubicBezTo>
                    <a:pt x="88" y="443"/>
                    <a:pt x="123" y="423"/>
                    <a:pt x="163" y="415"/>
                  </a:cubicBezTo>
                  <a:cubicBezTo>
                    <a:pt x="165" y="372"/>
                    <a:pt x="164" y="323"/>
                    <a:pt x="158" y="284"/>
                  </a:cubicBezTo>
                  <a:cubicBezTo>
                    <a:pt x="163" y="283"/>
                    <a:pt x="167" y="281"/>
                    <a:pt x="171" y="278"/>
                  </a:cubicBezTo>
                  <a:cubicBezTo>
                    <a:pt x="169" y="268"/>
                    <a:pt x="156" y="211"/>
                    <a:pt x="151" y="184"/>
                  </a:cubicBezTo>
                  <a:cubicBezTo>
                    <a:pt x="149" y="175"/>
                    <a:pt x="149" y="166"/>
                    <a:pt x="152" y="157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6" y="145"/>
                    <a:pt x="154" y="136"/>
                    <a:pt x="150" y="129"/>
                  </a:cubicBezTo>
                  <a:cubicBezTo>
                    <a:pt x="147" y="126"/>
                    <a:pt x="145" y="122"/>
                    <a:pt x="142" y="118"/>
                  </a:cubicBezTo>
                  <a:cubicBezTo>
                    <a:pt x="177" y="118"/>
                    <a:pt x="177" y="118"/>
                    <a:pt x="177" y="118"/>
                  </a:cubicBezTo>
                  <a:cubicBezTo>
                    <a:pt x="184" y="118"/>
                    <a:pt x="191" y="113"/>
                    <a:pt x="193" y="105"/>
                  </a:cubicBezTo>
                  <a:cubicBezTo>
                    <a:pt x="216" y="17"/>
                    <a:pt x="216" y="17"/>
                    <a:pt x="216" y="17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54" y="78"/>
                    <a:pt x="154" y="78"/>
                    <a:pt x="154" y="78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0" y="73"/>
                    <a:pt x="119" y="72"/>
                    <a:pt x="118" y="71"/>
                  </a:cubicBezTo>
                  <a:cubicBezTo>
                    <a:pt x="117" y="70"/>
                    <a:pt x="115" y="69"/>
                    <a:pt x="114" y="67"/>
                  </a:cubicBezTo>
                  <a:cubicBezTo>
                    <a:pt x="116" y="63"/>
                    <a:pt x="116" y="63"/>
                    <a:pt x="116" y="63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0" y="52"/>
                    <a:pt x="101" y="46"/>
                    <a:pt x="92" y="44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49" y="59"/>
                    <a:pt x="49" y="6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23" y="101"/>
                    <a:pt x="39" y="192"/>
                    <a:pt x="45" y="221"/>
                  </a:cubicBezTo>
                  <a:cubicBezTo>
                    <a:pt x="25" y="257"/>
                    <a:pt x="20" y="287"/>
                    <a:pt x="20" y="287"/>
                  </a:cubicBezTo>
                  <a:cubicBezTo>
                    <a:pt x="28" y="286"/>
                    <a:pt x="28" y="286"/>
                    <a:pt x="28" y="286"/>
                  </a:cubicBezTo>
                  <a:cubicBezTo>
                    <a:pt x="13" y="317"/>
                    <a:pt x="5" y="352"/>
                    <a:pt x="3" y="387"/>
                  </a:cubicBezTo>
                  <a:lnTo>
                    <a:pt x="0" y="456"/>
                  </a:lnTo>
                  <a:close/>
                </a:path>
              </a:pathLst>
            </a:cu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D06A0FFC-72B5-4EDF-A088-B57D912E40D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905" y="2488"/>
              <a:ext cx="341" cy="325"/>
            </a:xfrm>
            <a:custGeom>
              <a:avLst/>
              <a:gdLst>
                <a:gd name="T0" fmla="*/ 0 w 146"/>
                <a:gd name="T1" fmla="*/ 49 h 139"/>
                <a:gd name="T2" fmla="*/ 41 w 146"/>
                <a:gd name="T3" fmla="*/ 28 h 139"/>
                <a:gd name="T4" fmla="*/ 58 w 146"/>
                <a:gd name="T5" fmla="*/ 30 h 139"/>
                <a:gd name="T6" fmla="*/ 126 w 146"/>
                <a:gd name="T7" fmla="*/ 14 h 139"/>
                <a:gd name="T8" fmla="*/ 119 w 146"/>
                <a:gd name="T9" fmla="*/ 139 h 139"/>
                <a:gd name="T10" fmla="*/ 145 w 146"/>
                <a:gd name="T11" fmla="*/ 132 h 139"/>
                <a:gd name="T12" fmla="*/ 139 w 146"/>
                <a:gd name="T13" fmla="*/ 2 h 139"/>
                <a:gd name="T14" fmla="*/ 81 w 146"/>
                <a:gd name="T15" fmla="*/ 7 h 139"/>
                <a:gd name="T16" fmla="*/ 61 w 146"/>
                <a:gd name="T17" fmla="*/ 3 h 139"/>
                <a:gd name="T18" fmla="*/ 27 w 146"/>
                <a:gd name="T19" fmla="*/ 1 h 139"/>
                <a:gd name="T20" fmla="*/ 6 w 146"/>
                <a:gd name="T21" fmla="*/ 4 h 139"/>
                <a:gd name="T22" fmla="*/ 3 w 146"/>
                <a:gd name="T23" fmla="*/ 12 h 139"/>
                <a:gd name="T24" fmla="*/ 27 w 146"/>
                <a:gd name="T25" fmla="*/ 24 h 139"/>
                <a:gd name="T26" fmla="*/ 0 w 146"/>
                <a:gd name="T27" fmla="*/ 4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6" h="139">
                  <a:moveTo>
                    <a:pt x="0" y="49"/>
                  </a:moveTo>
                  <a:cubicBezTo>
                    <a:pt x="0" y="49"/>
                    <a:pt x="20" y="39"/>
                    <a:pt x="41" y="28"/>
                  </a:cubicBezTo>
                  <a:cubicBezTo>
                    <a:pt x="47" y="29"/>
                    <a:pt x="52" y="30"/>
                    <a:pt x="58" y="30"/>
                  </a:cubicBezTo>
                  <a:cubicBezTo>
                    <a:pt x="80" y="31"/>
                    <a:pt x="108" y="21"/>
                    <a:pt x="126" y="14"/>
                  </a:cubicBezTo>
                  <a:cubicBezTo>
                    <a:pt x="127" y="31"/>
                    <a:pt x="129" y="84"/>
                    <a:pt x="119" y="139"/>
                  </a:cubicBezTo>
                  <a:cubicBezTo>
                    <a:pt x="128" y="136"/>
                    <a:pt x="136" y="134"/>
                    <a:pt x="145" y="132"/>
                  </a:cubicBezTo>
                  <a:cubicBezTo>
                    <a:pt x="146" y="89"/>
                    <a:pt x="145" y="40"/>
                    <a:pt x="139" y="2"/>
                  </a:cubicBezTo>
                  <a:cubicBezTo>
                    <a:pt x="120" y="9"/>
                    <a:pt x="100" y="11"/>
                    <a:pt x="81" y="7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50" y="0"/>
                    <a:pt x="38" y="0"/>
                    <a:pt x="27" y="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7"/>
                    <a:pt x="4" y="10"/>
                    <a:pt x="3" y="12"/>
                  </a:cubicBezTo>
                  <a:cubicBezTo>
                    <a:pt x="5" y="14"/>
                    <a:pt x="14" y="20"/>
                    <a:pt x="27" y="24"/>
                  </a:cubicBezTo>
                  <a:cubicBezTo>
                    <a:pt x="8" y="34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D2BA1A43-8D4D-41D4-97B2-0B16BF13C35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991" y="2100"/>
              <a:ext cx="229" cy="157"/>
            </a:xfrm>
            <a:custGeom>
              <a:avLst/>
              <a:gdLst>
                <a:gd name="T0" fmla="*/ 84 w 98"/>
                <a:gd name="T1" fmla="*/ 2 h 67"/>
                <a:gd name="T2" fmla="*/ 7 w 98"/>
                <a:gd name="T3" fmla="*/ 1 h 67"/>
                <a:gd name="T4" fmla="*/ 0 w 98"/>
                <a:gd name="T5" fmla="*/ 0 h 67"/>
                <a:gd name="T6" fmla="*/ 33 w 98"/>
                <a:gd name="T7" fmla="*/ 32 h 67"/>
                <a:gd name="T8" fmla="*/ 92 w 98"/>
                <a:gd name="T9" fmla="*/ 67 h 67"/>
                <a:gd name="T10" fmla="*/ 93 w 98"/>
                <a:gd name="T11" fmla="*/ 67 h 67"/>
                <a:gd name="T12" fmla="*/ 94 w 98"/>
                <a:gd name="T13" fmla="*/ 41 h 67"/>
                <a:gd name="T14" fmla="*/ 95 w 98"/>
                <a:gd name="T15" fmla="*/ 37 h 67"/>
                <a:gd name="T16" fmla="*/ 92 w 98"/>
                <a:gd name="T17" fmla="*/ 13 h 67"/>
                <a:gd name="T18" fmla="*/ 84 w 98"/>
                <a:gd name="T19" fmla="*/ 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" h="67">
                  <a:moveTo>
                    <a:pt x="84" y="2"/>
                  </a:moveTo>
                  <a:cubicBezTo>
                    <a:pt x="7" y="1"/>
                    <a:pt x="7" y="1"/>
                    <a:pt x="7" y="1"/>
                  </a:cubicBezTo>
                  <a:cubicBezTo>
                    <a:pt x="4" y="1"/>
                    <a:pt x="2" y="1"/>
                    <a:pt x="0" y="0"/>
                  </a:cubicBezTo>
                  <a:cubicBezTo>
                    <a:pt x="5" y="6"/>
                    <a:pt x="17" y="19"/>
                    <a:pt x="33" y="32"/>
                  </a:cubicBezTo>
                  <a:cubicBezTo>
                    <a:pt x="53" y="49"/>
                    <a:pt x="92" y="67"/>
                    <a:pt x="92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1" y="58"/>
                    <a:pt x="91" y="49"/>
                    <a:pt x="94" y="41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98" y="29"/>
                    <a:pt x="96" y="20"/>
                    <a:pt x="92" y="13"/>
                  </a:cubicBezTo>
                  <a:cubicBezTo>
                    <a:pt x="89" y="10"/>
                    <a:pt x="87" y="6"/>
                    <a:pt x="84" y="2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6">
              <a:extLst>
                <a:ext uri="{FF2B5EF4-FFF2-40B4-BE49-F238E27FC236}">
                  <a16:creationId xmlns:a16="http://schemas.microsoft.com/office/drawing/2014/main" id="{B348608E-898C-4F01-8246-69AA42AFF92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017" y="2559"/>
              <a:ext cx="164" cy="114"/>
            </a:xfrm>
            <a:custGeom>
              <a:avLst/>
              <a:gdLst>
                <a:gd name="T0" fmla="*/ 0 w 70"/>
                <a:gd name="T1" fmla="*/ 41 h 49"/>
                <a:gd name="T2" fmla="*/ 70 w 70"/>
                <a:gd name="T3" fmla="*/ 0 h 49"/>
                <a:gd name="T4" fmla="*/ 0 w 70"/>
                <a:gd name="T5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0" h="49">
                  <a:moveTo>
                    <a:pt x="0" y="41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52" y="49"/>
                    <a:pt x="0" y="41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7">
              <a:extLst>
                <a:ext uri="{FF2B5EF4-FFF2-40B4-BE49-F238E27FC236}">
                  <a16:creationId xmlns:a16="http://schemas.microsoft.com/office/drawing/2014/main" id="{D9C2781D-D72C-4B51-8976-3A8A3ECD1AC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877" y="2654"/>
              <a:ext cx="68" cy="57"/>
            </a:xfrm>
            <a:custGeom>
              <a:avLst/>
              <a:gdLst>
                <a:gd name="T0" fmla="*/ 29 w 29"/>
                <a:gd name="T1" fmla="*/ 6 h 24"/>
                <a:gd name="T2" fmla="*/ 0 w 29"/>
                <a:gd name="T3" fmla="*/ 24 h 24"/>
                <a:gd name="T4" fmla="*/ 29 w 29"/>
                <a:gd name="T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24">
                  <a:moveTo>
                    <a:pt x="29" y="6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1" y="0"/>
                    <a:pt x="29" y="6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8">
              <a:extLst>
                <a:ext uri="{FF2B5EF4-FFF2-40B4-BE49-F238E27FC236}">
                  <a16:creationId xmlns:a16="http://schemas.microsoft.com/office/drawing/2014/main" id="{77C42607-B9C2-4522-A91D-D39A325E4E7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038" y="1946"/>
              <a:ext cx="84" cy="40"/>
            </a:xfrm>
            <a:custGeom>
              <a:avLst/>
              <a:gdLst>
                <a:gd name="T0" fmla="*/ 36 w 36"/>
                <a:gd name="T1" fmla="*/ 17 h 17"/>
                <a:gd name="T2" fmla="*/ 0 w 36"/>
                <a:gd name="T3" fmla="*/ 7 h 17"/>
                <a:gd name="T4" fmla="*/ 23 w 36"/>
                <a:gd name="T5" fmla="*/ 0 h 17"/>
                <a:gd name="T6" fmla="*/ 36 w 36"/>
                <a:gd name="T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17">
                  <a:moveTo>
                    <a:pt x="36" y="17"/>
                  </a:moveTo>
                  <a:cubicBezTo>
                    <a:pt x="36" y="17"/>
                    <a:pt x="18" y="7"/>
                    <a:pt x="0" y="7"/>
                  </a:cubicBezTo>
                  <a:cubicBezTo>
                    <a:pt x="14" y="1"/>
                    <a:pt x="23" y="0"/>
                    <a:pt x="23" y="0"/>
                  </a:cubicBezTo>
                  <a:cubicBezTo>
                    <a:pt x="23" y="0"/>
                    <a:pt x="35" y="7"/>
                    <a:pt x="36" y="17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9">
              <a:extLst>
                <a:ext uri="{FF2B5EF4-FFF2-40B4-BE49-F238E27FC236}">
                  <a16:creationId xmlns:a16="http://schemas.microsoft.com/office/drawing/2014/main" id="{34D59B82-D8DA-4121-BF46-FD30B7B3A07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202" y="2012"/>
              <a:ext cx="37" cy="49"/>
            </a:xfrm>
            <a:custGeom>
              <a:avLst/>
              <a:gdLst>
                <a:gd name="T0" fmla="*/ 6 w 16"/>
                <a:gd name="T1" fmla="*/ 0 h 21"/>
                <a:gd name="T2" fmla="*/ 16 w 16"/>
                <a:gd name="T3" fmla="*/ 19 h 21"/>
                <a:gd name="T4" fmla="*/ 6 w 16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21">
                  <a:moveTo>
                    <a:pt x="6" y="0"/>
                  </a:move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0" y="21"/>
                    <a:pt x="6" y="0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0">
              <a:extLst>
                <a:ext uri="{FF2B5EF4-FFF2-40B4-BE49-F238E27FC236}">
                  <a16:creationId xmlns:a16="http://schemas.microsoft.com/office/drawing/2014/main" id="{C545F10A-2F16-4859-9CDD-9C298BABA2E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970" y="2269"/>
              <a:ext cx="73" cy="72"/>
            </a:xfrm>
            <a:custGeom>
              <a:avLst/>
              <a:gdLst>
                <a:gd name="T0" fmla="*/ 0 w 31"/>
                <a:gd name="T1" fmla="*/ 31 h 31"/>
                <a:gd name="T2" fmla="*/ 31 w 31"/>
                <a:gd name="T3" fmla="*/ 4 h 31"/>
                <a:gd name="T4" fmla="*/ 0 w 31"/>
                <a:gd name="T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31">
                  <a:moveTo>
                    <a:pt x="0" y="31"/>
                  </a:move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2" y="0"/>
                    <a:pt x="0" y="31"/>
                  </a:cubicBezTo>
                  <a:close/>
                </a:path>
              </a:pathLst>
            </a:cu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31">
              <a:extLst>
                <a:ext uri="{FF2B5EF4-FFF2-40B4-BE49-F238E27FC236}">
                  <a16:creationId xmlns:a16="http://schemas.microsoft.com/office/drawing/2014/main" id="{87695C3F-2EA0-4550-8900-18C24419F5C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174" y="2266"/>
              <a:ext cx="23" cy="24"/>
            </a:xfrm>
            <a:prstGeom prst="ellipse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32">
              <a:extLst>
                <a:ext uri="{FF2B5EF4-FFF2-40B4-BE49-F238E27FC236}">
                  <a16:creationId xmlns:a16="http://schemas.microsoft.com/office/drawing/2014/main" id="{8CC9E22E-40AF-4DE4-B5FF-46E4CAE200C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197" y="2372"/>
              <a:ext cx="26" cy="25"/>
            </a:xfrm>
            <a:prstGeom prst="ellipse">
              <a:avLst/>
            </a:prstGeom>
            <a:solidFill>
              <a:srgbClr val="095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3">
              <a:extLst>
                <a:ext uri="{FF2B5EF4-FFF2-40B4-BE49-F238E27FC236}">
                  <a16:creationId xmlns:a16="http://schemas.microsoft.com/office/drawing/2014/main" id="{C30C237F-4411-4527-9709-A804934D48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31" y="1652"/>
              <a:ext cx="165" cy="198"/>
            </a:xfrm>
            <a:custGeom>
              <a:avLst/>
              <a:gdLst>
                <a:gd name="T0" fmla="*/ 37 w 71"/>
                <a:gd name="T1" fmla="*/ 19 h 85"/>
                <a:gd name="T2" fmla="*/ 35 w 71"/>
                <a:gd name="T3" fmla="*/ 15 h 85"/>
                <a:gd name="T4" fmla="*/ 31 w 71"/>
                <a:gd name="T5" fmla="*/ 16 h 85"/>
                <a:gd name="T6" fmla="*/ 29 w 71"/>
                <a:gd name="T7" fmla="*/ 5 h 85"/>
                <a:gd name="T8" fmla="*/ 24 w 71"/>
                <a:gd name="T9" fmla="*/ 1 h 85"/>
                <a:gd name="T10" fmla="*/ 24 w 71"/>
                <a:gd name="T11" fmla="*/ 1 h 85"/>
                <a:gd name="T12" fmla="*/ 19 w 71"/>
                <a:gd name="T13" fmla="*/ 6 h 85"/>
                <a:gd name="T14" fmla="*/ 18 w 71"/>
                <a:gd name="T15" fmla="*/ 26 h 85"/>
                <a:gd name="T16" fmla="*/ 17 w 71"/>
                <a:gd name="T17" fmla="*/ 47 h 85"/>
                <a:gd name="T18" fmla="*/ 0 w 71"/>
                <a:gd name="T19" fmla="*/ 70 h 85"/>
                <a:gd name="T20" fmla="*/ 28 w 71"/>
                <a:gd name="T21" fmla="*/ 85 h 85"/>
                <a:gd name="T22" fmla="*/ 38 w 71"/>
                <a:gd name="T23" fmla="*/ 69 h 85"/>
                <a:gd name="T24" fmla="*/ 41 w 71"/>
                <a:gd name="T25" fmla="*/ 64 h 85"/>
                <a:gd name="T26" fmla="*/ 54 w 71"/>
                <a:gd name="T27" fmla="*/ 46 h 85"/>
                <a:gd name="T28" fmla="*/ 64 w 71"/>
                <a:gd name="T29" fmla="*/ 29 h 85"/>
                <a:gd name="T30" fmla="*/ 71 w 71"/>
                <a:gd name="T31" fmla="*/ 9 h 85"/>
                <a:gd name="T32" fmla="*/ 37 w 71"/>
                <a:gd name="T33" fmla="*/ 1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1" h="85">
                  <a:moveTo>
                    <a:pt x="37" y="19"/>
                  </a:moveTo>
                  <a:cubicBezTo>
                    <a:pt x="35" y="15"/>
                    <a:pt x="35" y="15"/>
                    <a:pt x="35" y="15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3"/>
                    <a:pt x="27" y="0"/>
                    <a:pt x="24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1" y="1"/>
                    <a:pt x="19" y="3"/>
                    <a:pt x="19" y="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9" y="67"/>
                    <a:pt x="40" y="65"/>
                    <a:pt x="41" y="64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8" y="41"/>
                    <a:pt x="62" y="35"/>
                    <a:pt x="64" y="29"/>
                  </a:cubicBezTo>
                  <a:cubicBezTo>
                    <a:pt x="71" y="9"/>
                    <a:pt x="71" y="9"/>
                    <a:pt x="71" y="9"/>
                  </a:cubicBezTo>
                  <a:lnTo>
                    <a:pt x="37" y="19"/>
                  </a:lnTo>
                  <a:close/>
                </a:path>
              </a:pathLst>
            </a:custGeom>
            <a:solidFill>
              <a:srgbClr val="DB9C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4">
              <a:extLst>
                <a:ext uri="{FF2B5EF4-FFF2-40B4-BE49-F238E27FC236}">
                  <a16:creationId xmlns:a16="http://schemas.microsoft.com/office/drawing/2014/main" id="{B5B2DDFB-959D-48B5-BE17-E30BA4A066B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96" y="1586"/>
              <a:ext cx="110" cy="61"/>
            </a:xfrm>
            <a:custGeom>
              <a:avLst/>
              <a:gdLst>
                <a:gd name="T0" fmla="*/ 42 w 47"/>
                <a:gd name="T1" fmla="*/ 0 h 26"/>
                <a:gd name="T2" fmla="*/ 38 w 47"/>
                <a:gd name="T3" fmla="*/ 3 h 26"/>
                <a:gd name="T4" fmla="*/ 34 w 47"/>
                <a:gd name="T5" fmla="*/ 12 h 26"/>
                <a:gd name="T6" fmla="*/ 22 w 47"/>
                <a:gd name="T7" fmla="*/ 11 h 26"/>
                <a:gd name="T8" fmla="*/ 22 w 47"/>
                <a:gd name="T9" fmla="*/ 12 h 26"/>
                <a:gd name="T10" fmla="*/ 21 w 47"/>
                <a:gd name="T11" fmla="*/ 11 h 26"/>
                <a:gd name="T12" fmla="*/ 11 w 47"/>
                <a:gd name="T13" fmla="*/ 14 h 26"/>
                <a:gd name="T14" fmla="*/ 10 w 47"/>
                <a:gd name="T15" fmla="*/ 14 h 26"/>
                <a:gd name="T16" fmla="*/ 0 w 47"/>
                <a:gd name="T17" fmla="*/ 18 h 26"/>
                <a:gd name="T18" fmla="*/ 0 w 47"/>
                <a:gd name="T19" fmla="*/ 19 h 26"/>
                <a:gd name="T20" fmla="*/ 1 w 47"/>
                <a:gd name="T21" fmla="*/ 22 h 26"/>
                <a:gd name="T22" fmla="*/ 7 w 47"/>
                <a:gd name="T23" fmla="*/ 25 h 26"/>
                <a:gd name="T24" fmla="*/ 11 w 47"/>
                <a:gd name="T25" fmla="*/ 22 h 26"/>
                <a:gd name="T26" fmla="*/ 12 w 47"/>
                <a:gd name="T27" fmla="*/ 19 h 26"/>
                <a:gd name="T28" fmla="*/ 12 w 47"/>
                <a:gd name="T29" fmla="*/ 20 h 26"/>
                <a:gd name="T30" fmla="*/ 18 w 47"/>
                <a:gd name="T31" fmla="*/ 22 h 26"/>
                <a:gd name="T32" fmla="*/ 22 w 47"/>
                <a:gd name="T33" fmla="*/ 18 h 26"/>
                <a:gd name="T34" fmla="*/ 23 w 47"/>
                <a:gd name="T35" fmla="*/ 15 h 26"/>
                <a:gd name="T36" fmla="*/ 24 w 47"/>
                <a:gd name="T37" fmla="*/ 16 h 26"/>
                <a:gd name="T38" fmla="*/ 34 w 47"/>
                <a:gd name="T39" fmla="*/ 13 h 26"/>
                <a:gd name="T40" fmla="*/ 34 w 47"/>
                <a:gd name="T41" fmla="*/ 13 h 26"/>
                <a:gd name="T42" fmla="*/ 34 w 47"/>
                <a:gd name="T43" fmla="*/ 12 h 26"/>
                <a:gd name="T44" fmla="*/ 34 w 47"/>
                <a:gd name="T45" fmla="*/ 12 h 26"/>
                <a:gd name="T46" fmla="*/ 45 w 47"/>
                <a:gd name="T47" fmla="*/ 8 h 26"/>
                <a:gd name="T48" fmla="*/ 46 w 47"/>
                <a:gd name="T49" fmla="*/ 6 h 26"/>
                <a:gd name="T50" fmla="*/ 42 w 47"/>
                <a:gd name="T5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7" h="26">
                  <a:moveTo>
                    <a:pt x="42" y="0"/>
                  </a:moveTo>
                  <a:cubicBezTo>
                    <a:pt x="40" y="0"/>
                    <a:pt x="38" y="1"/>
                    <a:pt x="38" y="3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1" y="8"/>
                    <a:pt x="26" y="8"/>
                    <a:pt x="22" y="11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17" y="9"/>
                    <a:pt x="13" y="10"/>
                    <a:pt x="11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6" y="12"/>
                    <a:pt x="1" y="14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2" y="25"/>
                    <a:pt x="4" y="26"/>
                    <a:pt x="7" y="25"/>
                  </a:cubicBezTo>
                  <a:cubicBezTo>
                    <a:pt x="9" y="25"/>
                    <a:pt x="10" y="24"/>
                    <a:pt x="11" y="22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3" y="22"/>
                    <a:pt x="16" y="23"/>
                    <a:pt x="18" y="22"/>
                  </a:cubicBezTo>
                  <a:cubicBezTo>
                    <a:pt x="20" y="21"/>
                    <a:pt x="21" y="20"/>
                    <a:pt x="22" y="18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7" y="18"/>
                    <a:pt x="32" y="17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7" y="4"/>
                    <a:pt x="45" y="1"/>
                    <a:pt x="42" y="0"/>
                  </a:cubicBezTo>
                  <a:close/>
                </a:path>
              </a:pathLst>
            </a:custGeom>
            <a:solidFill>
              <a:srgbClr val="DB9C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Line 35">
              <a:extLst>
                <a:ext uri="{FF2B5EF4-FFF2-40B4-BE49-F238E27FC236}">
                  <a16:creationId xmlns:a16="http://schemas.microsoft.com/office/drawing/2014/main" id="{D1818219-84DA-4669-97CE-FAFF4F175F0B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5454" y="2979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Line 36">
              <a:extLst>
                <a:ext uri="{FF2B5EF4-FFF2-40B4-BE49-F238E27FC236}">
                  <a16:creationId xmlns:a16="http://schemas.microsoft.com/office/drawing/2014/main" id="{AC23E30A-79D8-4238-B2C7-6CC9F6012389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5454" y="2979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23488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57393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FEE078-ABFF-4CCB-8197-5CF0CE75833B}"/>
              </a:ext>
            </a:extLst>
          </p:cNvPr>
          <p:cNvSpPr/>
          <p:nvPr userDrawn="1"/>
        </p:nvSpPr>
        <p:spPr bwMode="auto">
          <a:xfrm>
            <a:off x="0" y="6504167"/>
            <a:ext cx="2130950" cy="353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10532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99124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797415"/>
          </a:xfrm>
        </p:spPr>
        <p:txBody>
          <a:bodyPr/>
          <a:lstStyle>
            <a:lvl1pPr marL="0" indent="0">
              <a:buNone/>
              <a:defRPr sz="32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</p:spTree>
    <p:extLst>
      <p:ext uri="{BB962C8B-B14F-4D97-AF65-F5344CB8AC3E}">
        <p14:creationId xmlns:p14="http://schemas.microsoft.com/office/powerpoint/2010/main" val="3370343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gray - EMF">
            <a:extLst>
              <a:ext uri="{FF2B5EF4-FFF2-40B4-BE49-F238E27FC236}">
                <a16:creationId xmlns:a16="http://schemas.microsoft.com/office/drawing/2014/main" id="{04D0B255-8059-4FA9-9F1F-3A0BC0214A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1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836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3563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alkin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MS logo gray - EMF">
            <a:extLst>
              <a:ext uri="{FF2B5EF4-FFF2-40B4-BE49-F238E27FC236}">
                <a16:creationId xmlns:a16="http://schemas.microsoft.com/office/drawing/2014/main" id="{AA77A05A-23E1-4B77-B805-360B320A7C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1" cy="292608"/>
          </a:xfrm>
          <a:prstGeom prst="rect">
            <a:avLst/>
          </a:prstGeom>
        </p:spPr>
      </p:pic>
      <p:sp>
        <p:nvSpPr>
          <p:cNvPr id="198" name="TextBox 197">
            <a:extLst>
              <a:ext uri="{FF2B5EF4-FFF2-40B4-BE49-F238E27FC236}">
                <a16:creationId xmlns:a16="http://schemas.microsoft.com/office/drawing/2014/main" id="{8651F689-B4F1-4AE6-87E3-39633B94F5DF}"/>
              </a:ext>
            </a:extLst>
          </p:cNvPr>
          <p:cNvSpPr txBox="1"/>
          <p:nvPr userDrawn="1"/>
        </p:nvSpPr>
        <p:spPr>
          <a:xfrm>
            <a:off x="545834" y="2979778"/>
            <a:ext cx="604561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rPr>
              <a:t>Board of Directors Retreat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FDA63CEF-1003-438A-87D9-3A2788A9A725}"/>
              </a:ext>
            </a:extLst>
          </p:cNvPr>
          <p:cNvSpPr txBox="1"/>
          <p:nvPr userDrawn="1"/>
        </p:nvSpPr>
        <p:spPr>
          <a:xfrm>
            <a:off x="584200" y="3962400"/>
            <a:ext cx="493776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sz="2000" kern="1200" spc="0" baseline="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rPr>
              <a:t>March 12–13, 2018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0B45426-1DCE-4065-9EE7-8AD44B99F44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376594" y="1497776"/>
            <a:ext cx="5232794" cy="4771262"/>
            <a:chOff x="3300" y="130"/>
            <a:chExt cx="4195" cy="3825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9358260E-4CEE-4FFA-BF46-45706566A1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300" y="130"/>
              <a:ext cx="4195" cy="3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E6C4E9E4-2F26-4964-8E1F-1C5419AEB8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695" y="3309"/>
              <a:ext cx="504" cy="459"/>
            </a:xfrm>
            <a:prstGeom prst="rect">
              <a:avLst/>
            </a:prstGeom>
            <a:solidFill>
              <a:srgbClr val="107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5A369076-BB48-4BB0-9A2A-7F06F2E460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46" y="3126"/>
              <a:ext cx="2952" cy="27"/>
            </a:xfrm>
            <a:custGeom>
              <a:avLst/>
              <a:gdLst>
                <a:gd name="T0" fmla="*/ 2832 w 2952"/>
                <a:gd name="T1" fmla="*/ 27 h 27"/>
                <a:gd name="T2" fmla="*/ 2952 w 2952"/>
                <a:gd name="T3" fmla="*/ 0 h 27"/>
                <a:gd name="T4" fmla="*/ 2804 w 2952"/>
                <a:gd name="T5" fmla="*/ 27 h 27"/>
                <a:gd name="T6" fmla="*/ 2683 w 2952"/>
                <a:gd name="T7" fmla="*/ 0 h 27"/>
                <a:gd name="T8" fmla="*/ 2804 w 2952"/>
                <a:gd name="T9" fmla="*/ 27 h 27"/>
                <a:gd name="T10" fmla="*/ 2535 w 2952"/>
                <a:gd name="T11" fmla="*/ 27 h 27"/>
                <a:gd name="T12" fmla="*/ 2652 w 2952"/>
                <a:gd name="T13" fmla="*/ 0 h 27"/>
                <a:gd name="T14" fmla="*/ 2504 w 2952"/>
                <a:gd name="T15" fmla="*/ 27 h 27"/>
                <a:gd name="T16" fmla="*/ 2386 w 2952"/>
                <a:gd name="T17" fmla="*/ 0 h 27"/>
                <a:gd name="T18" fmla="*/ 2504 w 2952"/>
                <a:gd name="T19" fmla="*/ 27 h 27"/>
                <a:gd name="T20" fmla="*/ 2238 w 2952"/>
                <a:gd name="T21" fmla="*/ 27 h 27"/>
                <a:gd name="T22" fmla="*/ 2355 w 2952"/>
                <a:gd name="T23" fmla="*/ 0 h 27"/>
                <a:gd name="T24" fmla="*/ 2207 w 2952"/>
                <a:gd name="T25" fmla="*/ 27 h 27"/>
                <a:gd name="T26" fmla="*/ 2086 w 2952"/>
                <a:gd name="T27" fmla="*/ 0 h 27"/>
                <a:gd name="T28" fmla="*/ 2207 w 2952"/>
                <a:gd name="T29" fmla="*/ 27 h 27"/>
                <a:gd name="T30" fmla="*/ 1937 w 2952"/>
                <a:gd name="T31" fmla="*/ 27 h 27"/>
                <a:gd name="T32" fmla="*/ 2058 w 2952"/>
                <a:gd name="T33" fmla="*/ 0 h 27"/>
                <a:gd name="T34" fmla="*/ 1906 w 2952"/>
                <a:gd name="T35" fmla="*/ 27 h 27"/>
                <a:gd name="T36" fmla="*/ 1789 w 2952"/>
                <a:gd name="T37" fmla="*/ 0 h 27"/>
                <a:gd name="T38" fmla="*/ 1906 w 2952"/>
                <a:gd name="T39" fmla="*/ 27 h 27"/>
                <a:gd name="T40" fmla="*/ 1640 w 2952"/>
                <a:gd name="T41" fmla="*/ 27 h 27"/>
                <a:gd name="T42" fmla="*/ 1758 w 2952"/>
                <a:gd name="T43" fmla="*/ 0 h 27"/>
                <a:gd name="T44" fmla="*/ 1609 w 2952"/>
                <a:gd name="T45" fmla="*/ 27 h 27"/>
                <a:gd name="T46" fmla="*/ 1492 w 2952"/>
                <a:gd name="T47" fmla="*/ 0 h 27"/>
                <a:gd name="T48" fmla="*/ 1609 w 2952"/>
                <a:gd name="T49" fmla="*/ 27 h 27"/>
                <a:gd name="T50" fmla="*/ 1340 w 2952"/>
                <a:gd name="T51" fmla="*/ 27 h 27"/>
                <a:gd name="T52" fmla="*/ 1461 w 2952"/>
                <a:gd name="T53" fmla="*/ 0 h 27"/>
                <a:gd name="T54" fmla="*/ 1312 w 2952"/>
                <a:gd name="T55" fmla="*/ 27 h 27"/>
                <a:gd name="T56" fmla="*/ 1192 w 2952"/>
                <a:gd name="T57" fmla="*/ 0 h 27"/>
                <a:gd name="T58" fmla="*/ 1312 w 2952"/>
                <a:gd name="T59" fmla="*/ 27 h 27"/>
                <a:gd name="T60" fmla="*/ 1043 w 2952"/>
                <a:gd name="T61" fmla="*/ 27 h 27"/>
                <a:gd name="T62" fmla="*/ 1161 w 2952"/>
                <a:gd name="T63" fmla="*/ 0 h 27"/>
                <a:gd name="T64" fmla="*/ 1012 w 2952"/>
                <a:gd name="T65" fmla="*/ 27 h 27"/>
                <a:gd name="T66" fmla="*/ 895 w 2952"/>
                <a:gd name="T67" fmla="*/ 0 h 27"/>
                <a:gd name="T68" fmla="*/ 1012 w 2952"/>
                <a:gd name="T69" fmla="*/ 27 h 27"/>
                <a:gd name="T70" fmla="*/ 746 w 2952"/>
                <a:gd name="T71" fmla="*/ 27 h 27"/>
                <a:gd name="T72" fmla="*/ 864 w 2952"/>
                <a:gd name="T73" fmla="*/ 0 h 27"/>
                <a:gd name="T74" fmla="*/ 715 w 2952"/>
                <a:gd name="T75" fmla="*/ 27 h 27"/>
                <a:gd name="T76" fmla="*/ 594 w 2952"/>
                <a:gd name="T77" fmla="*/ 0 h 27"/>
                <a:gd name="T78" fmla="*/ 715 w 2952"/>
                <a:gd name="T79" fmla="*/ 27 h 27"/>
                <a:gd name="T80" fmla="*/ 446 w 2952"/>
                <a:gd name="T81" fmla="*/ 27 h 27"/>
                <a:gd name="T82" fmla="*/ 567 w 2952"/>
                <a:gd name="T83" fmla="*/ 0 h 27"/>
                <a:gd name="T84" fmla="*/ 415 w 2952"/>
                <a:gd name="T85" fmla="*/ 27 h 27"/>
                <a:gd name="T86" fmla="*/ 297 w 2952"/>
                <a:gd name="T87" fmla="*/ 0 h 27"/>
                <a:gd name="T88" fmla="*/ 415 w 2952"/>
                <a:gd name="T89" fmla="*/ 27 h 27"/>
                <a:gd name="T90" fmla="*/ 149 w 2952"/>
                <a:gd name="T91" fmla="*/ 27 h 27"/>
                <a:gd name="T92" fmla="*/ 266 w 2952"/>
                <a:gd name="T93" fmla="*/ 0 h 27"/>
                <a:gd name="T94" fmla="*/ 118 w 2952"/>
                <a:gd name="T95" fmla="*/ 27 h 27"/>
                <a:gd name="T96" fmla="*/ 0 w 2952"/>
                <a:gd name="T97" fmla="*/ 0 h 27"/>
                <a:gd name="T98" fmla="*/ 118 w 2952"/>
                <a:gd name="T9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52" h="27">
                  <a:moveTo>
                    <a:pt x="2952" y="27"/>
                  </a:moveTo>
                  <a:lnTo>
                    <a:pt x="2832" y="27"/>
                  </a:lnTo>
                  <a:lnTo>
                    <a:pt x="2832" y="0"/>
                  </a:lnTo>
                  <a:lnTo>
                    <a:pt x="2952" y="0"/>
                  </a:lnTo>
                  <a:lnTo>
                    <a:pt x="2952" y="27"/>
                  </a:lnTo>
                  <a:close/>
                  <a:moveTo>
                    <a:pt x="2804" y="27"/>
                  </a:moveTo>
                  <a:lnTo>
                    <a:pt x="2683" y="27"/>
                  </a:lnTo>
                  <a:lnTo>
                    <a:pt x="2683" y="0"/>
                  </a:lnTo>
                  <a:lnTo>
                    <a:pt x="2804" y="0"/>
                  </a:lnTo>
                  <a:lnTo>
                    <a:pt x="2804" y="27"/>
                  </a:lnTo>
                  <a:close/>
                  <a:moveTo>
                    <a:pt x="2652" y="27"/>
                  </a:moveTo>
                  <a:lnTo>
                    <a:pt x="2535" y="27"/>
                  </a:lnTo>
                  <a:lnTo>
                    <a:pt x="2535" y="0"/>
                  </a:lnTo>
                  <a:lnTo>
                    <a:pt x="2652" y="0"/>
                  </a:lnTo>
                  <a:lnTo>
                    <a:pt x="2652" y="27"/>
                  </a:lnTo>
                  <a:close/>
                  <a:moveTo>
                    <a:pt x="2504" y="27"/>
                  </a:moveTo>
                  <a:lnTo>
                    <a:pt x="2386" y="27"/>
                  </a:lnTo>
                  <a:lnTo>
                    <a:pt x="2386" y="0"/>
                  </a:lnTo>
                  <a:lnTo>
                    <a:pt x="2504" y="0"/>
                  </a:lnTo>
                  <a:lnTo>
                    <a:pt x="2504" y="27"/>
                  </a:lnTo>
                  <a:close/>
                  <a:moveTo>
                    <a:pt x="2355" y="27"/>
                  </a:moveTo>
                  <a:lnTo>
                    <a:pt x="2238" y="27"/>
                  </a:lnTo>
                  <a:lnTo>
                    <a:pt x="2238" y="0"/>
                  </a:lnTo>
                  <a:lnTo>
                    <a:pt x="2355" y="0"/>
                  </a:lnTo>
                  <a:lnTo>
                    <a:pt x="2355" y="27"/>
                  </a:lnTo>
                  <a:close/>
                  <a:moveTo>
                    <a:pt x="2207" y="27"/>
                  </a:moveTo>
                  <a:lnTo>
                    <a:pt x="2086" y="27"/>
                  </a:lnTo>
                  <a:lnTo>
                    <a:pt x="2086" y="0"/>
                  </a:lnTo>
                  <a:lnTo>
                    <a:pt x="2207" y="0"/>
                  </a:lnTo>
                  <a:lnTo>
                    <a:pt x="2207" y="27"/>
                  </a:lnTo>
                  <a:close/>
                  <a:moveTo>
                    <a:pt x="2058" y="27"/>
                  </a:moveTo>
                  <a:lnTo>
                    <a:pt x="1937" y="27"/>
                  </a:lnTo>
                  <a:lnTo>
                    <a:pt x="1937" y="0"/>
                  </a:lnTo>
                  <a:lnTo>
                    <a:pt x="2058" y="0"/>
                  </a:lnTo>
                  <a:lnTo>
                    <a:pt x="2058" y="27"/>
                  </a:lnTo>
                  <a:close/>
                  <a:moveTo>
                    <a:pt x="1906" y="27"/>
                  </a:moveTo>
                  <a:lnTo>
                    <a:pt x="1789" y="27"/>
                  </a:lnTo>
                  <a:lnTo>
                    <a:pt x="1789" y="0"/>
                  </a:lnTo>
                  <a:lnTo>
                    <a:pt x="1906" y="0"/>
                  </a:lnTo>
                  <a:lnTo>
                    <a:pt x="1906" y="27"/>
                  </a:lnTo>
                  <a:close/>
                  <a:moveTo>
                    <a:pt x="1758" y="27"/>
                  </a:moveTo>
                  <a:lnTo>
                    <a:pt x="1640" y="27"/>
                  </a:lnTo>
                  <a:lnTo>
                    <a:pt x="1640" y="0"/>
                  </a:lnTo>
                  <a:lnTo>
                    <a:pt x="1758" y="0"/>
                  </a:lnTo>
                  <a:lnTo>
                    <a:pt x="1758" y="27"/>
                  </a:lnTo>
                  <a:close/>
                  <a:moveTo>
                    <a:pt x="1609" y="27"/>
                  </a:moveTo>
                  <a:lnTo>
                    <a:pt x="1492" y="27"/>
                  </a:lnTo>
                  <a:lnTo>
                    <a:pt x="1492" y="0"/>
                  </a:lnTo>
                  <a:lnTo>
                    <a:pt x="1609" y="0"/>
                  </a:lnTo>
                  <a:lnTo>
                    <a:pt x="1609" y="27"/>
                  </a:lnTo>
                  <a:close/>
                  <a:moveTo>
                    <a:pt x="1461" y="27"/>
                  </a:moveTo>
                  <a:lnTo>
                    <a:pt x="1340" y="27"/>
                  </a:lnTo>
                  <a:lnTo>
                    <a:pt x="1340" y="0"/>
                  </a:lnTo>
                  <a:lnTo>
                    <a:pt x="1461" y="0"/>
                  </a:lnTo>
                  <a:lnTo>
                    <a:pt x="1461" y="27"/>
                  </a:lnTo>
                  <a:close/>
                  <a:moveTo>
                    <a:pt x="1312" y="27"/>
                  </a:moveTo>
                  <a:lnTo>
                    <a:pt x="1192" y="27"/>
                  </a:lnTo>
                  <a:lnTo>
                    <a:pt x="1192" y="0"/>
                  </a:lnTo>
                  <a:lnTo>
                    <a:pt x="1312" y="0"/>
                  </a:lnTo>
                  <a:lnTo>
                    <a:pt x="1312" y="27"/>
                  </a:lnTo>
                  <a:close/>
                  <a:moveTo>
                    <a:pt x="1161" y="27"/>
                  </a:moveTo>
                  <a:lnTo>
                    <a:pt x="1043" y="27"/>
                  </a:lnTo>
                  <a:lnTo>
                    <a:pt x="1043" y="0"/>
                  </a:lnTo>
                  <a:lnTo>
                    <a:pt x="1161" y="0"/>
                  </a:lnTo>
                  <a:lnTo>
                    <a:pt x="1161" y="27"/>
                  </a:lnTo>
                  <a:close/>
                  <a:moveTo>
                    <a:pt x="1012" y="27"/>
                  </a:moveTo>
                  <a:lnTo>
                    <a:pt x="895" y="27"/>
                  </a:lnTo>
                  <a:lnTo>
                    <a:pt x="895" y="0"/>
                  </a:lnTo>
                  <a:lnTo>
                    <a:pt x="1012" y="0"/>
                  </a:lnTo>
                  <a:lnTo>
                    <a:pt x="1012" y="27"/>
                  </a:lnTo>
                  <a:close/>
                  <a:moveTo>
                    <a:pt x="864" y="27"/>
                  </a:moveTo>
                  <a:lnTo>
                    <a:pt x="746" y="27"/>
                  </a:lnTo>
                  <a:lnTo>
                    <a:pt x="746" y="0"/>
                  </a:lnTo>
                  <a:lnTo>
                    <a:pt x="864" y="0"/>
                  </a:lnTo>
                  <a:lnTo>
                    <a:pt x="864" y="27"/>
                  </a:lnTo>
                  <a:close/>
                  <a:moveTo>
                    <a:pt x="715" y="27"/>
                  </a:moveTo>
                  <a:lnTo>
                    <a:pt x="594" y="27"/>
                  </a:lnTo>
                  <a:lnTo>
                    <a:pt x="594" y="0"/>
                  </a:lnTo>
                  <a:lnTo>
                    <a:pt x="715" y="0"/>
                  </a:lnTo>
                  <a:lnTo>
                    <a:pt x="715" y="27"/>
                  </a:lnTo>
                  <a:close/>
                  <a:moveTo>
                    <a:pt x="567" y="27"/>
                  </a:moveTo>
                  <a:lnTo>
                    <a:pt x="446" y="27"/>
                  </a:lnTo>
                  <a:lnTo>
                    <a:pt x="446" y="0"/>
                  </a:lnTo>
                  <a:lnTo>
                    <a:pt x="567" y="0"/>
                  </a:lnTo>
                  <a:lnTo>
                    <a:pt x="567" y="27"/>
                  </a:lnTo>
                  <a:close/>
                  <a:moveTo>
                    <a:pt x="415" y="27"/>
                  </a:moveTo>
                  <a:lnTo>
                    <a:pt x="297" y="27"/>
                  </a:lnTo>
                  <a:lnTo>
                    <a:pt x="297" y="0"/>
                  </a:lnTo>
                  <a:lnTo>
                    <a:pt x="415" y="0"/>
                  </a:lnTo>
                  <a:lnTo>
                    <a:pt x="415" y="27"/>
                  </a:lnTo>
                  <a:close/>
                  <a:moveTo>
                    <a:pt x="266" y="27"/>
                  </a:moveTo>
                  <a:lnTo>
                    <a:pt x="149" y="27"/>
                  </a:lnTo>
                  <a:lnTo>
                    <a:pt x="149" y="0"/>
                  </a:lnTo>
                  <a:lnTo>
                    <a:pt x="266" y="0"/>
                  </a:lnTo>
                  <a:lnTo>
                    <a:pt x="266" y="27"/>
                  </a:lnTo>
                  <a:close/>
                  <a:moveTo>
                    <a:pt x="118" y="27"/>
                  </a:moveTo>
                  <a:lnTo>
                    <a:pt x="0" y="27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EC340089-077E-4775-A58E-0F2B4AD78C3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46" y="3564"/>
              <a:ext cx="2952" cy="31"/>
            </a:xfrm>
            <a:custGeom>
              <a:avLst/>
              <a:gdLst>
                <a:gd name="T0" fmla="*/ 2832 w 2952"/>
                <a:gd name="T1" fmla="*/ 31 h 31"/>
                <a:gd name="T2" fmla="*/ 2952 w 2952"/>
                <a:gd name="T3" fmla="*/ 0 h 31"/>
                <a:gd name="T4" fmla="*/ 2804 w 2952"/>
                <a:gd name="T5" fmla="*/ 31 h 31"/>
                <a:gd name="T6" fmla="*/ 2683 w 2952"/>
                <a:gd name="T7" fmla="*/ 0 h 31"/>
                <a:gd name="T8" fmla="*/ 2804 w 2952"/>
                <a:gd name="T9" fmla="*/ 31 h 31"/>
                <a:gd name="T10" fmla="*/ 2535 w 2952"/>
                <a:gd name="T11" fmla="*/ 31 h 31"/>
                <a:gd name="T12" fmla="*/ 2652 w 2952"/>
                <a:gd name="T13" fmla="*/ 0 h 31"/>
                <a:gd name="T14" fmla="*/ 2504 w 2952"/>
                <a:gd name="T15" fmla="*/ 31 h 31"/>
                <a:gd name="T16" fmla="*/ 2386 w 2952"/>
                <a:gd name="T17" fmla="*/ 0 h 31"/>
                <a:gd name="T18" fmla="*/ 2504 w 2952"/>
                <a:gd name="T19" fmla="*/ 31 h 31"/>
                <a:gd name="T20" fmla="*/ 2238 w 2952"/>
                <a:gd name="T21" fmla="*/ 31 h 31"/>
                <a:gd name="T22" fmla="*/ 2355 w 2952"/>
                <a:gd name="T23" fmla="*/ 0 h 31"/>
                <a:gd name="T24" fmla="*/ 2207 w 2952"/>
                <a:gd name="T25" fmla="*/ 31 h 31"/>
                <a:gd name="T26" fmla="*/ 2086 w 2952"/>
                <a:gd name="T27" fmla="*/ 0 h 31"/>
                <a:gd name="T28" fmla="*/ 2207 w 2952"/>
                <a:gd name="T29" fmla="*/ 31 h 31"/>
                <a:gd name="T30" fmla="*/ 1937 w 2952"/>
                <a:gd name="T31" fmla="*/ 31 h 31"/>
                <a:gd name="T32" fmla="*/ 2058 w 2952"/>
                <a:gd name="T33" fmla="*/ 0 h 31"/>
                <a:gd name="T34" fmla="*/ 1906 w 2952"/>
                <a:gd name="T35" fmla="*/ 31 h 31"/>
                <a:gd name="T36" fmla="*/ 1789 w 2952"/>
                <a:gd name="T37" fmla="*/ 0 h 31"/>
                <a:gd name="T38" fmla="*/ 1906 w 2952"/>
                <a:gd name="T39" fmla="*/ 31 h 31"/>
                <a:gd name="T40" fmla="*/ 1640 w 2952"/>
                <a:gd name="T41" fmla="*/ 31 h 31"/>
                <a:gd name="T42" fmla="*/ 1758 w 2952"/>
                <a:gd name="T43" fmla="*/ 0 h 31"/>
                <a:gd name="T44" fmla="*/ 1609 w 2952"/>
                <a:gd name="T45" fmla="*/ 31 h 31"/>
                <a:gd name="T46" fmla="*/ 1492 w 2952"/>
                <a:gd name="T47" fmla="*/ 0 h 31"/>
                <a:gd name="T48" fmla="*/ 1609 w 2952"/>
                <a:gd name="T49" fmla="*/ 31 h 31"/>
                <a:gd name="T50" fmla="*/ 1340 w 2952"/>
                <a:gd name="T51" fmla="*/ 31 h 31"/>
                <a:gd name="T52" fmla="*/ 1461 w 2952"/>
                <a:gd name="T53" fmla="*/ 0 h 31"/>
                <a:gd name="T54" fmla="*/ 1312 w 2952"/>
                <a:gd name="T55" fmla="*/ 31 h 31"/>
                <a:gd name="T56" fmla="*/ 1192 w 2952"/>
                <a:gd name="T57" fmla="*/ 0 h 31"/>
                <a:gd name="T58" fmla="*/ 1312 w 2952"/>
                <a:gd name="T59" fmla="*/ 31 h 31"/>
                <a:gd name="T60" fmla="*/ 1043 w 2952"/>
                <a:gd name="T61" fmla="*/ 31 h 31"/>
                <a:gd name="T62" fmla="*/ 1161 w 2952"/>
                <a:gd name="T63" fmla="*/ 0 h 31"/>
                <a:gd name="T64" fmla="*/ 1012 w 2952"/>
                <a:gd name="T65" fmla="*/ 31 h 31"/>
                <a:gd name="T66" fmla="*/ 895 w 2952"/>
                <a:gd name="T67" fmla="*/ 0 h 31"/>
                <a:gd name="T68" fmla="*/ 1012 w 2952"/>
                <a:gd name="T69" fmla="*/ 31 h 31"/>
                <a:gd name="T70" fmla="*/ 746 w 2952"/>
                <a:gd name="T71" fmla="*/ 31 h 31"/>
                <a:gd name="T72" fmla="*/ 864 w 2952"/>
                <a:gd name="T73" fmla="*/ 0 h 31"/>
                <a:gd name="T74" fmla="*/ 715 w 2952"/>
                <a:gd name="T75" fmla="*/ 31 h 31"/>
                <a:gd name="T76" fmla="*/ 594 w 2952"/>
                <a:gd name="T77" fmla="*/ 0 h 31"/>
                <a:gd name="T78" fmla="*/ 715 w 2952"/>
                <a:gd name="T79" fmla="*/ 31 h 31"/>
                <a:gd name="T80" fmla="*/ 446 w 2952"/>
                <a:gd name="T81" fmla="*/ 31 h 31"/>
                <a:gd name="T82" fmla="*/ 567 w 2952"/>
                <a:gd name="T83" fmla="*/ 0 h 31"/>
                <a:gd name="T84" fmla="*/ 415 w 2952"/>
                <a:gd name="T85" fmla="*/ 31 h 31"/>
                <a:gd name="T86" fmla="*/ 297 w 2952"/>
                <a:gd name="T87" fmla="*/ 0 h 31"/>
                <a:gd name="T88" fmla="*/ 415 w 2952"/>
                <a:gd name="T89" fmla="*/ 31 h 31"/>
                <a:gd name="T90" fmla="*/ 149 w 2952"/>
                <a:gd name="T91" fmla="*/ 31 h 31"/>
                <a:gd name="T92" fmla="*/ 266 w 2952"/>
                <a:gd name="T93" fmla="*/ 0 h 31"/>
                <a:gd name="T94" fmla="*/ 118 w 2952"/>
                <a:gd name="T95" fmla="*/ 31 h 31"/>
                <a:gd name="T96" fmla="*/ 0 w 2952"/>
                <a:gd name="T97" fmla="*/ 0 h 31"/>
                <a:gd name="T98" fmla="*/ 118 w 2952"/>
                <a:gd name="T9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52" h="31">
                  <a:moveTo>
                    <a:pt x="2952" y="31"/>
                  </a:moveTo>
                  <a:lnTo>
                    <a:pt x="2832" y="31"/>
                  </a:lnTo>
                  <a:lnTo>
                    <a:pt x="2832" y="0"/>
                  </a:lnTo>
                  <a:lnTo>
                    <a:pt x="2952" y="0"/>
                  </a:lnTo>
                  <a:lnTo>
                    <a:pt x="2952" y="31"/>
                  </a:lnTo>
                  <a:close/>
                  <a:moveTo>
                    <a:pt x="2804" y="31"/>
                  </a:moveTo>
                  <a:lnTo>
                    <a:pt x="2683" y="31"/>
                  </a:lnTo>
                  <a:lnTo>
                    <a:pt x="2683" y="0"/>
                  </a:lnTo>
                  <a:lnTo>
                    <a:pt x="2804" y="0"/>
                  </a:lnTo>
                  <a:lnTo>
                    <a:pt x="2804" y="31"/>
                  </a:lnTo>
                  <a:close/>
                  <a:moveTo>
                    <a:pt x="2652" y="31"/>
                  </a:moveTo>
                  <a:lnTo>
                    <a:pt x="2535" y="31"/>
                  </a:lnTo>
                  <a:lnTo>
                    <a:pt x="2535" y="0"/>
                  </a:lnTo>
                  <a:lnTo>
                    <a:pt x="2652" y="0"/>
                  </a:lnTo>
                  <a:lnTo>
                    <a:pt x="2652" y="31"/>
                  </a:lnTo>
                  <a:close/>
                  <a:moveTo>
                    <a:pt x="2504" y="31"/>
                  </a:moveTo>
                  <a:lnTo>
                    <a:pt x="2386" y="31"/>
                  </a:lnTo>
                  <a:lnTo>
                    <a:pt x="2386" y="0"/>
                  </a:lnTo>
                  <a:lnTo>
                    <a:pt x="2504" y="0"/>
                  </a:lnTo>
                  <a:lnTo>
                    <a:pt x="2504" y="31"/>
                  </a:lnTo>
                  <a:close/>
                  <a:moveTo>
                    <a:pt x="2355" y="31"/>
                  </a:moveTo>
                  <a:lnTo>
                    <a:pt x="2238" y="31"/>
                  </a:lnTo>
                  <a:lnTo>
                    <a:pt x="2238" y="0"/>
                  </a:lnTo>
                  <a:lnTo>
                    <a:pt x="2355" y="0"/>
                  </a:lnTo>
                  <a:lnTo>
                    <a:pt x="2355" y="31"/>
                  </a:lnTo>
                  <a:close/>
                  <a:moveTo>
                    <a:pt x="2207" y="31"/>
                  </a:moveTo>
                  <a:lnTo>
                    <a:pt x="2086" y="31"/>
                  </a:lnTo>
                  <a:lnTo>
                    <a:pt x="2086" y="0"/>
                  </a:lnTo>
                  <a:lnTo>
                    <a:pt x="2207" y="0"/>
                  </a:lnTo>
                  <a:lnTo>
                    <a:pt x="2207" y="31"/>
                  </a:lnTo>
                  <a:close/>
                  <a:moveTo>
                    <a:pt x="2058" y="31"/>
                  </a:moveTo>
                  <a:lnTo>
                    <a:pt x="1937" y="31"/>
                  </a:lnTo>
                  <a:lnTo>
                    <a:pt x="1937" y="0"/>
                  </a:lnTo>
                  <a:lnTo>
                    <a:pt x="2058" y="0"/>
                  </a:lnTo>
                  <a:lnTo>
                    <a:pt x="2058" y="31"/>
                  </a:lnTo>
                  <a:close/>
                  <a:moveTo>
                    <a:pt x="1906" y="31"/>
                  </a:moveTo>
                  <a:lnTo>
                    <a:pt x="1789" y="31"/>
                  </a:lnTo>
                  <a:lnTo>
                    <a:pt x="1789" y="0"/>
                  </a:lnTo>
                  <a:lnTo>
                    <a:pt x="1906" y="0"/>
                  </a:lnTo>
                  <a:lnTo>
                    <a:pt x="1906" y="31"/>
                  </a:lnTo>
                  <a:close/>
                  <a:moveTo>
                    <a:pt x="1758" y="31"/>
                  </a:moveTo>
                  <a:lnTo>
                    <a:pt x="1640" y="31"/>
                  </a:lnTo>
                  <a:lnTo>
                    <a:pt x="1640" y="0"/>
                  </a:lnTo>
                  <a:lnTo>
                    <a:pt x="1758" y="0"/>
                  </a:lnTo>
                  <a:lnTo>
                    <a:pt x="1758" y="31"/>
                  </a:lnTo>
                  <a:close/>
                  <a:moveTo>
                    <a:pt x="1609" y="31"/>
                  </a:moveTo>
                  <a:lnTo>
                    <a:pt x="1492" y="31"/>
                  </a:lnTo>
                  <a:lnTo>
                    <a:pt x="1492" y="0"/>
                  </a:lnTo>
                  <a:lnTo>
                    <a:pt x="1609" y="0"/>
                  </a:lnTo>
                  <a:lnTo>
                    <a:pt x="1609" y="31"/>
                  </a:lnTo>
                  <a:close/>
                  <a:moveTo>
                    <a:pt x="1461" y="31"/>
                  </a:moveTo>
                  <a:lnTo>
                    <a:pt x="1340" y="31"/>
                  </a:lnTo>
                  <a:lnTo>
                    <a:pt x="1340" y="0"/>
                  </a:lnTo>
                  <a:lnTo>
                    <a:pt x="1461" y="0"/>
                  </a:lnTo>
                  <a:lnTo>
                    <a:pt x="1461" y="31"/>
                  </a:lnTo>
                  <a:close/>
                  <a:moveTo>
                    <a:pt x="1312" y="31"/>
                  </a:moveTo>
                  <a:lnTo>
                    <a:pt x="1192" y="31"/>
                  </a:lnTo>
                  <a:lnTo>
                    <a:pt x="1192" y="0"/>
                  </a:lnTo>
                  <a:lnTo>
                    <a:pt x="1312" y="0"/>
                  </a:lnTo>
                  <a:lnTo>
                    <a:pt x="1312" y="31"/>
                  </a:lnTo>
                  <a:close/>
                  <a:moveTo>
                    <a:pt x="1161" y="31"/>
                  </a:moveTo>
                  <a:lnTo>
                    <a:pt x="1043" y="31"/>
                  </a:lnTo>
                  <a:lnTo>
                    <a:pt x="1043" y="0"/>
                  </a:lnTo>
                  <a:lnTo>
                    <a:pt x="1161" y="0"/>
                  </a:lnTo>
                  <a:lnTo>
                    <a:pt x="1161" y="31"/>
                  </a:lnTo>
                  <a:close/>
                  <a:moveTo>
                    <a:pt x="1012" y="31"/>
                  </a:moveTo>
                  <a:lnTo>
                    <a:pt x="895" y="31"/>
                  </a:lnTo>
                  <a:lnTo>
                    <a:pt x="895" y="0"/>
                  </a:lnTo>
                  <a:lnTo>
                    <a:pt x="1012" y="0"/>
                  </a:lnTo>
                  <a:lnTo>
                    <a:pt x="1012" y="31"/>
                  </a:lnTo>
                  <a:close/>
                  <a:moveTo>
                    <a:pt x="864" y="31"/>
                  </a:moveTo>
                  <a:lnTo>
                    <a:pt x="746" y="31"/>
                  </a:lnTo>
                  <a:lnTo>
                    <a:pt x="746" y="0"/>
                  </a:lnTo>
                  <a:lnTo>
                    <a:pt x="864" y="0"/>
                  </a:lnTo>
                  <a:lnTo>
                    <a:pt x="864" y="31"/>
                  </a:lnTo>
                  <a:close/>
                  <a:moveTo>
                    <a:pt x="715" y="31"/>
                  </a:moveTo>
                  <a:lnTo>
                    <a:pt x="594" y="31"/>
                  </a:lnTo>
                  <a:lnTo>
                    <a:pt x="594" y="0"/>
                  </a:lnTo>
                  <a:lnTo>
                    <a:pt x="715" y="0"/>
                  </a:lnTo>
                  <a:lnTo>
                    <a:pt x="715" y="31"/>
                  </a:lnTo>
                  <a:close/>
                  <a:moveTo>
                    <a:pt x="567" y="31"/>
                  </a:moveTo>
                  <a:lnTo>
                    <a:pt x="446" y="31"/>
                  </a:lnTo>
                  <a:lnTo>
                    <a:pt x="446" y="0"/>
                  </a:lnTo>
                  <a:lnTo>
                    <a:pt x="567" y="0"/>
                  </a:lnTo>
                  <a:lnTo>
                    <a:pt x="567" y="31"/>
                  </a:lnTo>
                  <a:close/>
                  <a:moveTo>
                    <a:pt x="415" y="31"/>
                  </a:moveTo>
                  <a:lnTo>
                    <a:pt x="297" y="31"/>
                  </a:lnTo>
                  <a:lnTo>
                    <a:pt x="297" y="0"/>
                  </a:lnTo>
                  <a:lnTo>
                    <a:pt x="415" y="0"/>
                  </a:lnTo>
                  <a:lnTo>
                    <a:pt x="415" y="31"/>
                  </a:lnTo>
                  <a:close/>
                  <a:moveTo>
                    <a:pt x="266" y="31"/>
                  </a:moveTo>
                  <a:lnTo>
                    <a:pt x="149" y="31"/>
                  </a:lnTo>
                  <a:lnTo>
                    <a:pt x="149" y="0"/>
                  </a:lnTo>
                  <a:lnTo>
                    <a:pt x="266" y="0"/>
                  </a:lnTo>
                  <a:lnTo>
                    <a:pt x="266" y="31"/>
                  </a:lnTo>
                  <a:close/>
                  <a:moveTo>
                    <a:pt x="118" y="31"/>
                  </a:moveTo>
                  <a:lnTo>
                    <a:pt x="0" y="31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3EA87D95-4020-46E2-9B42-03E26BB171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46" y="2683"/>
              <a:ext cx="2952" cy="28"/>
            </a:xfrm>
            <a:custGeom>
              <a:avLst/>
              <a:gdLst>
                <a:gd name="T0" fmla="*/ 2832 w 2952"/>
                <a:gd name="T1" fmla="*/ 28 h 28"/>
                <a:gd name="T2" fmla="*/ 2952 w 2952"/>
                <a:gd name="T3" fmla="*/ 0 h 28"/>
                <a:gd name="T4" fmla="*/ 2804 w 2952"/>
                <a:gd name="T5" fmla="*/ 28 h 28"/>
                <a:gd name="T6" fmla="*/ 2683 w 2952"/>
                <a:gd name="T7" fmla="*/ 0 h 28"/>
                <a:gd name="T8" fmla="*/ 2804 w 2952"/>
                <a:gd name="T9" fmla="*/ 28 h 28"/>
                <a:gd name="T10" fmla="*/ 2535 w 2952"/>
                <a:gd name="T11" fmla="*/ 28 h 28"/>
                <a:gd name="T12" fmla="*/ 2652 w 2952"/>
                <a:gd name="T13" fmla="*/ 0 h 28"/>
                <a:gd name="T14" fmla="*/ 2504 w 2952"/>
                <a:gd name="T15" fmla="*/ 28 h 28"/>
                <a:gd name="T16" fmla="*/ 2386 w 2952"/>
                <a:gd name="T17" fmla="*/ 0 h 28"/>
                <a:gd name="T18" fmla="*/ 2504 w 2952"/>
                <a:gd name="T19" fmla="*/ 28 h 28"/>
                <a:gd name="T20" fmla="*/ 2238 w 2952"/>
                <a:gd name="T21" fmla="*/ 28 h 28"/>
                <a:gd name="T22" fmla="*/ 2355 w 2952"/>
                <a:gd name="T23" fmla="*/ 0 h 28"/>
                <a:gd name="T24" fmla="*/ 2207 w 2952"/>
                <a:gd name="T25" fmla="*/ 28 h 28"/>
                <a:gd name="T26" fmla="*/ 2086 w 2952"/>
                <a:gd name="T27" fmla="*/ 0 h 28"/>
                <a:gd name="T28" fmla="*/ 2207 w 2952"/>
                <a:gd name="T29" fmla="*/ 28 h 28"/>
                <a:gd name="T30" fmla="*/ 1937 w 2952"/>
                <a:gd name="T31" fmla="*/ 28 h 28"/>
                <a:gd name="T32" fmla="*/ 2058 w 2952"/>
                <a:gd name="T33" fmla="*/ 0 h 28"/>
                <a:gd name="T34" fmla="*/ 1906 w 2952"/>
                <a:gd name="T35" fmla="*/ 28 h 28"/>
                <a:gd name="T36" fmla="*/ 1789 w 2952"/>
                <a:gd name="T37" fmla="*/ 0 h 28"/>
                <a:gd name="T38" fmla="*/ 1906 w 2952"/>
                <a:gd name="T39" fmla="*/ 28 h 28"/>
                <a:gd name="T40" fmla="*/ 1640 w 2952"/>
                <a:gd name="T41" fmla="*/ 28 h 28"/>
                <a:gd name="T42" fmla="*/ 1758 w 2952"/>
                <a:gd name="T43" fmla="*/ 0 h 28"/>
                <a:gd name="T44" fmla="*/ 1609 w 2952"/>
                <a:gd name="T45" fmla="*/ 28 h 28"/>
                <a:gd name="T46" fmla="*/ 1492 w 2952"/>
                <a:gd name="T47" fmla="*/ 0 h 28"/>
                <a:gd name="T48" fmla="*/ 1609 w 2952"/>
                <a:gd name="T49" fmla="*/ 28 h 28"/>
                <a:gd name="T50" fmla="*/ 1340 w 2952"/>
                <a:gd name="T51" fmla="*/ 28 h 28"/>
                <a:gd name="T52" fmla="*/ 1461 w 2952"/>
                <a:gd name="T53" fmla="*/ 0 h 28"/>
                <a:gd name="T54" fmla="*/ 1312 w 2952"/>
                <a:gd name="T55" fmla="*/ 28 h 28"/>
                <a:gd name="T56" fmla="*/ 1192 w 2952"/>
                <a:gd name="T57" fmla="*/ 0 h 28"/>
                <a:gd name="T58" fmla="*/ 1312 w 2952"/>
                <a:gd name="T59" fmla="*/ 28 h 28"/>
                <a:gd name="T60" fmla="*/ 1043 w 2952"/>
                <a:gd name="T61" fmla="*/ 28 h 28"/>
                <a:gd name="T62" fmla="*/ 1161 w 2952"/>
                <a:gd name="T63" fmla="*/ 0 h 28"/>
                <a:gd name="T64" fmla="*/ 1012 w 2952"/>
                <a:gd name="T65" fmla="*/ 28 h 28"/>
                <a:gd name="T66" fmla="*/ 895 w 2952"/>
                <a:gd name="T67" fmla="*/ 0 h 28"/>
                <a:gd name="T68" fmla="*/ 1012 w 2952"/>
                <a:gd name="T69" fmla="*/ 28 h 28"/>
                <a:gd name="T70" fmla="*/ 746 w 2952"/>
                <a:gd name="T71" fmla="*/ 28 h 28"/>
                <a:gd name="T72" fmla="*/ 864 w 2952"/>
                <a:gd name="T73" fmla="*/ 0 h 28"/>
                <a:gd name="T74" fmla="*/ 715 w 2952"/>
                <a:gd name="T75" fmla="*/ 28 h 28"/>
                <a:gd name="T76" fmla="*/ 594 w 2952"/>
                <a:gd name="T77" fmla="*/ 0 h 28"/>
                <a:gd name="T78" fmla="*/ 715 w 2952"/>
                <a:gd name="T79" fmla="*/ 28 h 28"/>
                <a:gd name="T80" fmla="*/ 446 w 2952"/>
                <a:gd name="T81" fmla="*/ 28 h 28"/>
                <a:gd name="T82" fmla="*/ 567 w 2952"/>
                <a:gd name="T83" fmla="*/ 0 h 28"/>
                <a:gd name="T84" fmla="*/ 415 w 2952"/>
                <a:gd name="T85" fmla="*/ 28 h 28"/>
                <a:gd name="T86" fmla="*/ 297 w 2952"/>
                <a:gd name="T87" fmla="*/ 0 h 28"/>
                <a:gd name="T88" fmla="*/ 415 w 2952"/>
                <a:gd name="T89" fmla="*/ 28 h 28"/>
                <a:gd name="T90" fmla="*/ 149 w 2952"/>
                <a:gd name="T91" fmla="*/ 28 h 28"/>
                <a:gd name="T92" fmla="*/ 266 w 2952"/>
                <a:gd name="T93" fmla="*/ 0 h 28"/>
                <a:gd name="T94" fmla="*/ 118 w 2952"/>
                <a:gd name="T95" fmla="*/ 28 h 28"/>
                <a:gd name="T96" fmla="*/ 0 w 2952"/>
                <a:gd name="T97" fmla="*/ 0 h 28"/>
                <a:gd name="T98" fmla="*/ 118 w 2952"/>
                <a:gd name="T9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52" h="28">
                  <a:moveTo>
                    <a:pt x="2952" y="28"/>
                  </a:moveTo>
                  <a:lnTo>
                    <a:pt x="2832" y="28"/>
                  </a:lnTo>
                  <a:lnTo>
                    <a:pt x="2832" y="0"/>
                  </a:lnTo>
                  <a:lnTo>
                    <a:pt x="2952" y="0"/>
                  </a:lnTo>
                  <a:lnTo>
                    <a:pt x="2952" y="28"/>
                  </a:lnTo>
                  <a:close/>
                  <a:moveTo>
                    <a:pt x="2804" y="28"/>
                  </a:moveTo>
                  <a:lnTo>
                    <a:pt x="2683" y="28"/>
                  </a:lnTo>
                  <a:lnTo>
                    <a:pt x="2683" y="0"/>
                  </a:lnTo>
                  <a:lnTo>
                    <a:pt x="2804" y="0"/>
                  </a:lnTo>
                  <a:lnTo>
                    <a:pt x="2804" y="28"/>
                  </a:lnTo>
                  <a:close/>
                  <a:moveTo>
                    <a:pt x="2652" y="28"/>
                  </a:moveTo>
                  <a:lnTo>
                    <a:pt x="2535" y="28"/>
                  </a:lnTo>
                  <a:lnTo>
                    <a:pt x="2535" y="0"/>
                  </a:lnTo>
                  <a:lnTo>
                    <a:pt x="2652" y="0"/>
                  </a:lnTo>
                  <a:lnTo>
                    <a:pt x="2652" y="28"/>
                  </a:lnTo>
                  <a:close/>
                  <a:moveTo>
                    <a:pt x="2504" y="28"/>
                  </a:moveTo>
                  <a:lnTo>
                    <a:pt x="2386" y="28"/>
                  </a:lnTo>
                  <a:lnTo>
                    <a:pt x="2386" y="0"/>
                  </a:lnTo>
                  <a:lnTo>
                    <a:pt x="2504" y="0"/>
                  </a:lnTo>
                  <a:lnTo>
                    <a:pt x="2504" y="28"/>
                  </a:lnTo>
                  <a:close/>
                  <a:moveTo>
                    <a:pt x="2355" y="28"/>
                  </a:moveTo>
                  <a:lnTo>
                    <a:pt x="2238" y="28"/>
                  </a:lnTo>
                  <a:lnTo>
                    <a:pt x="2238" y="0"/>
                  </a:lnTo>
                  <a:lnTo>
                    <a:pt x="2355" y="0"/>
                  </a:lnTo>
                  <a:lnTo>
                    <a:pt x="2355" y="28"/>
                  </a:lnTo>
                  <a:close/>
                  <a:moveTo>
                    <a:pt x="2207" y="28"/>
                  </a:moveTo>
                  <a:lnTo>
                    <a:pt x="2086" y="28"/>
                  </a:lnTo>
                  <a:lnTo>
                    <a:pt x="2086" y="0"/>
                  </a:lnTo>
                  <a:lnTo>
                    <a:pt x="2207" y="0"/>
                  </a:lnTo>
                  <a:lnTo>
                    <a:pt x="2207" y="28"/>
                  </a:lnTo>
                  <a:close/>
                  <a:moveTo>
                    <a:pt x="2058" y="28"/>
                  </a:moveTo>
                  <a:lnTo>
                    <a:pt x="1937" y="28"/>
                  </a:lnTo>
                  <a:lnTo>
                    <a:pt x="1937" y="0"/>
                  </a:lnTo>
                  <a:lnTo>
                    <a:pt x="2058" y="0"/>
                  </a:lnTo>
                  <a:lnTo>
                    <a:pt x="2058" y="28"/>
                  </a:lnTo>
                  <a:close/>
                  <a:moveTo>
                    <a:pt x="1906" y="28"/>
                  </a:moveTo>
                  <a:lnTo>
                    <a:pt x="1789" y="28"/>
                  </a:lnTo>
                  <a:lnTo>
                    <a:pt x="1789" y="0"/>
                  </a:lnTo>
                  <a:lnTo>
                    <a:pt x="1906" y="0"/>
                  </a:lnTo>
                  <a:lnTo>
                    <a:pt x="1906" y="28"/>
                  </a:lnTo>
                  <a:close/>
                  <a:moveTo>
                    <a:pt x="1758" y="28"/>
                  </a:moveTo>
                  <a:lnTo>
                    <a:pt x="1640" y="28"/>
                  </a:lnTo>
                  <a:lnTo>
                    <a:pt x="1640" y="0"/>
                  </a:lnTo>
                  <a:lnTo>
                    <a:pt x="1758" y="0"/>
                  </a:lnTo>
                  <a:lnTo>
                    <a:pt x="1758" y="28"/>
                  </a:lnTo>
                  <a:close/>
                  <a:moveTo>
                    <a:pt x="1609" y="28"/>
                  </a:moveTo>
                  <a:lnTo>
                    <a:pt x="1492" y="28"/>
                  </a:lnTo>
                  <a:lnTo>
                    <a:pt x="1492" y="0"/>
                  </a:lnTo>
                  <a:lnTo>
                    <a:pt x="1609" y="0"/>
                  </a:lnTo>
                  <a:lnTo>
                    <a:pt x="1609" y="28"/>
                  </a:lnTo>
                  <a:close/>
                  <a:moveTo>
                    <a:pt x="1461" y="28"/>
                  </a:moveTo>
                  <a:lnTo>
                    <a:pt x="1340" y="28"/>
                  </a:lnTo>
                  <a:lnTo>
                    <a:pt x="1340" y="0"/>
                  </a:lnTo>
                  <a:lnTo>
                    <a:pt x="1461" y="0"/>
                  </a:lnTo>
                  <a:lnTo>
                    <a:pt x="1461" y="28"/>
                  </a:lnTo>
                  <a:close/>
                  <a:moveTo>
                    <a:pt x="1312" y="28"/>
                  </a:moveTo>
                  <a:lnTo>
                    <a:pt x="1192" y="28"/>
                  </a:lnTo>
                  <a:lnTo>
                    <a:pt x="1192" y="0"/>
                  </a:lnTo>
                  <a:lnTo>
                    <a:pt x="1312" y="0"/>
                  </a:lnTo>
                  <a:lnTo>
                    <a:pt x="1312" y="28"/>
                  </a:lnTo>
                  <a:close/>
                  <a:moveTo>
                    <a:pt x="1161" y="28"/>
                  </a:moveTo>
                  <a:lnTo>
                    <a:pt x="1043" y="28"/>
                  </a:lnTo>
                  <a:lnTo>
                    <a:pt x="1043" y="0"/>
                  </a:lnTo>
                  <a:lnTo>
                    <a:pt x="1161" y="0"/>
                  </a:lnTo>
                  <a:lnTo>
                    <a:pt x="1161" y="28"/>
                  </a:lnTo>
                  <a:close/>
                  <a:moveTo>
                    <a:pt x="1012" y="28"/>
                  </a:moveTo>
                  <a:lnTo>
                    <a:pt x="895" y="28"/>
                  </a:lnTo>
                  <a:lnTo>
                    <a:pt x="895" y="0"/>
                  </a:lnTo>
                  <a:lnTo>
                    <a:pt x="1012" y="0"/>
                  </a:lnTo>
                  <a:lnTo>
                    <a:pt x="1012" y="28"/>
                  </a:lnTo>
                  <a:close/>
                  <a:moveTo>
                    <a:pt x="864" y="28"/>
                  </a:moveTo>
                  <a:lnTo>
                    <a:pt x="746" y="28"/>
                  </a:lnTo>
                  <a:lnTo>
                    <a:pt x="746" y="0"/>
                  </a:lnTo>
                  <a:lnTo>
                    <a:pt x="864" y="0"/>
                  </a:lnTo>
                  <a:lnTo>
                    <a:pt x="864" y="28"/>
                  </a:lnTo>
                  <a:close/>
                  <a:moveTo>
                    <a:pt x="715" y="28"/>
                  </a:moveTo>
                  <a:lnTo>
                    <a:pt x="594" y="28"/>
                  </a:lnTo>
                  <a:lnTo>
                    <a:pt x="594" y="0"/>
                  </a:lnTo>
                  <a:lnTo>
                    <a:pt x="715" y="0"/>
                  </a:lnTo>
                  <a:lnTo>
                    <a:pt x="715" y="28"/>
                  </a:lnTo>
                  <a:close/>
                  <a:moveTo>
                    <a:pt x="567" y="28"/>
                  </a:moveTo>
                  <a:lnTo>
                    <a:pt x="446" y="28"/>
                  </a:lnTo>
                  <a:lnTo>
                    <a:pt x="446" y="0"/>
                  </a:lnTo>
                  <a:lnTo>
                    <a:pt x="567" y="0"/>
                  </a:lnTo>
                  <a:lnTo>
                    <a:pt x="567" y="28"/>
                  </a:lnTo>
                  <a:close/>
                  <a:moveTo>
                    <a:pt x="415" y="28"/>
                  </a:moveTo>
                  <a:lnTo>
                    <a:pt x="297" y="28"/>
                  </a:lnTo>
                  <a:lnTo>
                    <a:pt x="297" y="0"/>
                  </a:lnTo>
                  <a:lnTo>
                    <a:pt x="415" y="0"/>
                  </a:lnTo>
                  <a:lnTo>
                    <a:pt x="415" y="28"/>
                  </a:lnTo>
                  <a:close/>
                  <a:moveTo>
                    <a:pt x="266" y="28"/>
                  </a:moveTo>
                  <a:lnTo>
                    <a:pt x="149" y="28"/>
                  </a:lnTo>
                  <a:lnTo>
                    <a:pt x="149" y="0"/>
                  </a:lnTo>
                  <a:lnTo>
                    <a:pt x="266" y="0"/>
                  </a:lnTo>
                  <a:lnTo>
                    <a:pt x="266" y="28"/>
                  </a:lnTo>
                  <a:close/>
                  <a:moveTo>
                    <a:pt x="118" y="28"/>
                  </a:moveTo>
                  <a:lnTo>
                    <a:pt x="0" y="28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FE159C4D-7931-45D1-8EEF-190CA162E5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46" y="2241"/>
              <a:ext cx="2952" cy="28"/>
            </a:xfrm>
            <a:custGeom>
              <a:avLst/>
              <a:gdLst>
                <a:gd name="T0" fmla="*/ 2832 w 2952"/>
                <a:gd name="T1" fmla="*/ 28 h 28"/>
                <a:gd name="T2" fmla="*/ 2952 w 2952"/>
                <a:gd name="T3" fmla="*/ 0 h 28"/>
                <a:gd name="T4" fmla="*/ 2804 w 2952"/>
                <a:gd name="T5" fmla="*/ 28 h 28"/>
                <a:gd name="T6" fmla="*/ 2683 w 2952"/>
                <a:gd name="T7" fmla="*/ 0 h 28"/>
                <a:gd name="T8" fmla="*/ 2804 w 2952"/>
                <a:gd name="T9" fmla="*/ 28 h 28"/>
                <a:gd name="T10" fmla="*/ 2535 w 2952"/>
                <a:gd name="T11" fmla="*/ 28 h 28"/>
                <a:gd name="T12" fmla="*/ 2652 w 2952"/>
                <a:gd name="T13" fmla="*/ 0 h 28"/>
                <a:gd name="T14" fmla="*/ 2504 w 2952"/>
                <a:gd name="T15" fmla="*/ 28 h 28"/>
                <a:gd name="T16" fmla="*/ 2386 w 2952"/>
                <a:gd name="T17" fmla="*/ 0 h 28"/>
                <a:gd name="T18" fmla="*/ 2504 w 2952"/>
                <a:gd name="T19" fmla="*/ 28 h 28"/>
                <a:gd name="T20" fmla="*/ 2238 w 2952"/>
                <a:gd name="T21" fmla="*/ 28 h 28"/>
                <a:gd name="T22" fmla="*/ 2355 w 2952"/>
                <a:gd name="T23" fmla="*/ 0 h 28"/>
                <a:gd name="T24" fmla="*/ 2207 w 2952"/>
                <a:gd name="T25" fmla="*/ 28 h 28"/>
                <a:gd name="T26" fmla="*/ 2086 w 2952"/>
                <a:gd name="T27" fmla="*/ 0 h 28"/>
                <a:gd name="T28" fmla="*/ 2207 w 2952"/>
                <a:gd name="T29" fmla="*/ 28 h 28"/>
                <a:gd name="T30" fmla="*/ 1937 w 2952"/>
                <a:gd name="T31" fmla="*/ 28 h 28"/>
                <a:gd name="T32" fmla="*/ 2058 w 2952"/>
                <a:gd name="T33" fmla="*/ 0 h 28"/>
                <a:gd name="T34" fmla="*/ 1906 w 2952"/>
                <a:gd name="T35" fmla="*/ 28 h 28"/>
                <a:gd name="T36" fmla="*/ 1789 w 2952"/>
                <a:gd name="T37" fmla="*/ 0 h 28"/>
                <a:gd name="T38" fmla="*/ 1906 w 2952"/>
                <a:gd name="T39" fmla="*/ 28 h 28"/>
                <a:gd name="T40" fmla="*/ 1640 w 2952"/>
                <a:gd name="T41" fmla="*/ 28 h 28"/>
                <a:gd name="T42" fmla="*/ 1758 w 2952"/>
                <a:gd name="T43" fmla="*/ 0 h 28"/>
                <a:gd name="T44" fmla="*/ 1609 w 2952"/>
                <a:gd name="T45" fmla="*/ 28 h 28"/>
                <a:gd name="T46" fmla="*/ 1492 w 2952"/>
                <a:gd name="T47" fmla="*/ 0 h 28"/>
                <a:gd name="T48" fmla="*/ 1609 w 2952"/>
                <a:gd name="T49" fmla="*/ 28 h 28"/>
                <a:gd name="T50" fmla="*/ 1340 w 2952"/>
                <a:gd name="T51" fmla="*/ 28 h 28"/>
                <a:gd name="T52" fmla="*/ 1461 w 2952"/>
                <a:gd name="T53" fmla="*/ 0 h 28"/>
                <a:gd name="T54" fmla="*/ 1312 w 2952"/>
                <a:gd name="T55" fmla="*/ 28 h 28"/>
                <a:gd name="T56" fmla="*/ 1192 w 2952"/>
                <a:gd name="T57" fmla="*/ 0 h 28"/>
                <a:gd name="T58" fmla="*/ 1312 w 2952"/>
                <a:gd name="T59" fmla="*/ 28 h 28"/>
                <a:gd name="T60" fmla="*/ 1043 w 2952"/>
                <a:gd name="T61" fmla="*/ 28 h 28"/>
                <a:gd name="T62" fmla="*/ 1161 w 2952"/>
                <a:gd name="T63" fmla="*/ 0 h 28"/>
                <a:gd name="T64" fmla="*/ 1012 w 2952"/>
                <a:gd name="T65" fmla="*/ 28 h 28"/>
                <a:gd name="T66" fmla="*/ 895 w 2952"/>
                <a:gd name="T67" fmla="*/ 0 h 28"/>
                <a:gd name="T68" fmla="*/ 1012 w 2952"/>
                <a:gd name="T69" fmla="*/ 28 h 28"/>
                <a:gd name="T70" fmla="*/ 746 w 2952"/>
                <a:gd name="T71" fmla="*/ 28 h 28"/>
                <a:gd name="T72" fmla="*/ 864 w 2952"/>
                <a:gd name="T73" fmla="*/ 0 h 28"/>
                <a:gd name="T74" fmla="*/ 715 w 2952"/>
                <a:gd name="T75" fmla="*/ 28 h 28"/>
                <a:gd name="T76" fmla="*/ 594 w 2952"/>
                <a:gd name="T77" fmla="*/ 0 h 28"/>
                <a:gd name="T78" fmla="*/ 715 w 2952"/>
                <a:gd name="T79" fmla="*/ 28 h 28"/>
                <a:gd name="T80" fmla="*/ 446 w 2952"/>
                <a:gd name="T81" fmla="*/ 28 h 28"/>
                <a:gd name="T82" fmla="*/ 567 w 2952"/>
                <a:gd name="T83" fmla="*/ 0 h 28"/>
                <a:gd name="T84" fmla="*/ 415 w 2952"/>
                <a:gd name="T85" fmla="*/ 28 h 28"/>
                <a:gd name="T86" fmla="*/ 297 w 2952"/>
                <a:gd name="T87" fmla="*/ 0 h 28"/>
                <a:gd name="T88" fmla="*/ 415 w 2952"/>
                <a:gd name="T89" fmla="*/ 28 h 28"/>
                <a:gd name="T90" fmla="*/ 149 w 2952"/>
                <a:gd name="T91" fmla="*/ 28 h 28"/>
                <a:gd name="T92" fmla="*/ 266 w 2952"/>
                <a:gd name="T93" fmla="*/ 0 h 28"/>
                <a:gd name="T94" fmla="*/ 118 w 2952"/>
                <a:gd name="T95" fmla="*/ 28 h 28"/>
                <a:gd name="T96" fmla="*/ 0 w 2952"/>
                <a:gd name="T97" fmla="*/ 0 h 28"/>
                <a:gd name="T98" fmla="*/ 118 w 2952"/>
                <a:gd name="T9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52" h="28">
                  <a:moveTo>
                    <a:pt x="2952" y="28"/>
                  </a:moveTo>
                  <a:lnTo>
                    <a:pt x="2832" y="28"/>
                  </a:lnTo>
                  <a:lnTo>
                    <a:pt x="2832" y="0"/>
                  </a:lnTo>
                  <a:lnTo>
                    <a:pt x="2952" y="0"/>
                  </a:lnTo>
                  <a:lnTo>
                    <a:pt x="2952" y="28"/>
                  </a:lnTo>
                  <a:close/>
                  <a:moveTo>
                    <a:pt x="2804" y="28"/>
                  </a:moveTo>
                  <a:lnTo>
                    <a:pt x="2683" y="28"/>
                  </a:lnTo>
                  <a:lnTo>
                    <a:pt x="2683" y="0"/>
                  </a:lnTo>
                  <a:lnTo>
                    <a:pt x="2804" y="0"/>
                  </a:lnTo>
                  <a:lnTo>
                    <a:pt x="2804" y="28"/>
                  </a:lnTo>
                  <a:close/>
                  <a:moveTo>
                    <a:pt x="2652" y="28"/>
                  </a:moveTo>
                  <a:lnTo>
                    <a:pt x="2535" y="28"/>
                  </a:lnTo>
                  <a:lnTo>
                    <a:pt x="2535" y="0"/>
                  </a:lnTo>
                  <a:lnTo>
                    <a:pt x="2652" y="0"/>
                  </a:lnTo>
                  <a:lnTo>
                    <a:pt x="2652" y="28"/>
                  </a:lnTo>
                  <a:close/>
                  <a:moveTo>
                    <a:pt x="2504" y="28"/>
                  </a:moveTo>
                  <a:lnTo>
                    <a:pt x="2386" y="28"/>
                  </a:lnTo>
                  <a:lnTo>
                    <a:pt x="2386" y="0"/>
                  </a:lnTo>
                  <a:lnTo>
                    <a:pt x="2504" y="0"/>
                  </a:lnTo>
                  <a:lnTo>
                    <a:pt x="2504" y="28"/>
                  </a:lnTo>
                  <a:close/>
                  <a:moveTo>
                    <a:pt x="2355" y="28"/>
                  </a:moveTo>
                  <a:lnTo>
                    <a:pt x="2238" y="28"/>
                  </a:lnTo>
                  <a:lnTo>
                    <a:pt x="2238" y="0"/>
                  </a:lnTo>
                  <a:lnTo>
                    <a:pt x="2355" y="0"/>
                  </a:lnTo>
                  <a:lnTo>
                    <a:pt x="2355" y="28"/>
                  </a:lnTo>
                  <a:close/>
                  <a:moveTo>
                    <a:pt x="2207" y="28"/>
                  </a:moveTo>
                  <a:lnTo>
                    <a:pt x="2086" y="28"/>
                  </a:lnTo>
                  <a:lnTo>
                    <a:pt x="2086" y="0"/>
                  </a:lnTo>
                  <a:lnTo>
                    <a:pt x="2207" y="0"/>
                  </a:lnTo>
                  <a:lnTo>
                    <a:pt x="2207" y="28"/>
                  </a:lnTo>
                  <a:close/>
                  <a:moveTo>
                    <a:pt x="2058" y="28"/>
                  </a:moveTo>
                  <a:lnTo>
                    <a:pt x="1937" y="28"/>
                  </a:lnTo>
                  <a:lnTo>
                    <a:pt x="1937" y="0"/>
                  </a:lnTo>
                  <a:lnTo>
                    <a:pt x="2058" y="0"/>
                  </a:lnTo>
                  <a:lnTo>
                    <a:pt x="2058" y="28"/>
                  </a:lnTo>
                  <a:close/>
                  <a:moveTo>
                    <a:pt x="1906" y="28"/>
                  </a:moveTo>
                  <a:lnTo>
                    <a:pt x="1789" y="28"/>
                  </a:lnTo>
                  <a:lnTo>
                    <a:pt x="1789" y="0"/>
                  </a:lnTo>
                  <a:lnTo>
                    <a:pt x="1906" y="0"/>
                  </a:lnTo>
                  <a:lnTo>
                    <a:pt x="1906" y="28"/>
                  </a:lnTo>
                  <a:close/>
                  <a:moveTo>
                    <a:pt x="1758" y="28"/>
                  </a:moveTo>
                  <a:lnTo>
                    <a:pt x="1640" y="28"/>
                  </a:lnTo>
                  <a:lnTo>
                    <a:pt x="1640" y="0"/>
                  </a:lnTo>
                  <a:lnTo>
                    <a:pt x="1758" y="0"/>
                  </a:lnTo>
                  <a:lnTo>
                    <a:pt x="1758" y="28"/>
                  </a:lnTo>
                  <a:close/>
                  <a:moveTo>
                    <a:pt x="1609" y="28"/>
                  </a:moveTo>
                  <a:lnTo>
                    <a:pt x="1492" y="28"/>
                  </a:lnTo>
                  <a:lnTo>
                    <a:pt x="1492" y="0"/>
                  </a:lnTo>
                  <a:lnTo>
                    <a:pt x="1609" y="0"/>
                  </a:lnTo>
                  <a:lnTo>
                    <a:pt x="1609" y="28"/>
                  </a:lnTo>
                  <a:close/>
                  <a:moveTo>
                    <a:pt x="1461" y="28"/>
                  </a:moveTo>
                  <a:lnTo>
                    <a:pt x="1340" y="28"/>
                  </a:lnTo>
                  <a:lnTo>
                    <a:pt x="1340" y="0"/>
                  </a:lnTo>
                  <a:lnTo>
                    <a:pt x="1461" y="0"/>
                  </a:lnTo>
                  <a:lnTo>
                    <a:pt x="1461" y="28"/>
                  </a:lnTo>
                  <a:close/>
                  <a:moveTo>
                    <a:pt x="1312" y="28"/>
                  </a:moveTo>
                  <a:lnTo>
                    <a:pt x="1192" y="28"/>
                  </a:lnTo>
                  <a:lnTo>
                    <a:pt x="1192" y="0"/>
                  </a:lnTo>
                  <a:lnTo>
                    <a:pt x="1312" y="0"/>
                  </a:lnTo>
                  <a:lnTo>
                    <a:pt x="1312" y="28"/>
                  </a:lnTo>
                  <a:close/>
                  <a:moveTo>
                    <a:pt x="1161" y="28"/>
                  </a:moveTo>
                  <a:lnTo>
                    <a:pt x="1043" y="28"/>
                  </a:lnTo>
                  <a:lnTo>
                    <a:pt x="1043" y="0"/>
                  </a:lnTo>
                  <a:lnTo>
                    <a:pt x="1161" y="0"/>
                  </a:lnTo>
                  <a:lnTo>
                    <a:pt x="1161" y="28"/>
                  </a:lnTo>
                  <a:close/>
                  <a:moveTo>
                    <a:pt x="1012" y="28"/>
                  </a:moveTo>
                  <a:lnTo>
                    <a:pt x="895" y="28"/>
                  </a:lnTo>
                  <a:lnTo>
                    <a:pt x="895" y="0"/>
                  </a:lnTo>
                  <a:lnTo>
                    <a:pt x="1012" y="0"/>
                  </a:lnTo>
                  <a:lnTo>
                    <a:pt x="1012" y="28"/>
                  </a:lnTo>
                  <a:close/>
                  <a:moveTo>
                    <a:pt x="864" y="28"/>
                  </a:moveTo>
                  <a:lnTo>
                    <a:pt x="746" y="28"/>
                  </a:lnTo>
                  <a:lnTo>
                    <a:pt x="746" y="0"/>
                  </a:lnTo>
                  <a:lnTo>
                    <a:pt x="864" y="0"/>
                  </a:lnTo>
                  <a:lnTo>
                    <a:pt x="864" y="28"/>
                  </a:lnTo>
                  <a:close/>
                  <a:moveTo>
                    <a:pt x="715" y="28"/>
                  </a:moveTo>
                  <a:lnTo>
                    <a:pt x="594" y="28"/>
                  </a:lnTo>
                  <a:lnTo>
                    <a:pt x="594" y="0"/>
                  </a:lnTo>
                  <a:lnTo>
                    <a:pt x="715" y="0"/>
                  </a:lnTo>
                  <a:lnTo>
                    <a:pt x="715" y="28"/>
                  </a:lnTo>
                  <a:close/>
                  <a:moveTo>
                    <a:pt x="567" y="28"/>
                  </a:moveTo>
                  <a:lnTo>
                    <a:pt x="446" y="28"/>
                  </a:lnTo>
                  <a:lnTo>
                    <a:pt x="446" y="0"/>
                  </a:lnTo>
                  <a:lnTo>
                    <a:pt x="567" y="0"/>
                  </a:lnTo>
                  <a:lnTo>
                    <a:pt x="567" y="28"/>
                  </a:lnTo>
                  <a:close/>
                  <a:moveTo>
                    <a:pt x="415" y="28"/>
                  </a:moveTo>
                  <a:lnTo>
                    <a:pt x="297" y="28"/>
                  </a:lnTo>
                  <a:lnTo>
                    <a:pt x="297" y="0"/>
                  </a:lnTo>
                  <a:lnTo>
                    <a:pt x="415" y="0"/>
                  </a:lnTo>
                  <a:lnTo>
                    <a:pt x="415" y="28"/>
                  </a:lnTo>
                  <a:close/>
                  <a:moveTo>
                    <a:pt x="266" y="28"/>
                  </a:moveTo>
                  <a:lnTo>
                    <a:pt x="149" y="28"/>
                  </a:lnTo>
                  <a:lnTo>
                    <a:pt x="149" y="0"/>
                  </a:lnTo>
                  <a:lnTo>
                    <a:pt x="266" y="0"/>
                  </a:lnTo>
                  <a:lnTo>
                    <a:pt x="266" y="28"/>
                  </a:lnTo>
                  <a:close/>
                  <a:moveTo>
                    <a:pt x="118" y="28"/>
                  </a:moveTo>
                  <a:lnTo>
                    <a:pt x="0" y="28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715112CA-7521-400D-A122-67544ACE20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46" y="1799"/>
              <a:ext cx="2952" cy="28"/>
            </a:xfrm>
            <a:custGeom>
              <a:avLst/>
              <a:gdLst>
                <a:gd name="T0" fmla="*/ 2832 w 2952"/>
                <a:gd name="T1" fmla="*/ 28 h 28"/>
                <a:gd name="T2" fmla="*/ 2952 w 2952"/>
                <a:gd name="T3" fmla="*/ 0 h 28"/>
                <a:gd name="T4" fmla="*/ 2804 w 2952"/>
                <a:gd name="T5" fmla="*/ 28 h 28"/>
                <a:gd name="T6" fmla="*/ 2683 w 2952"/>
                <a:gd name="T7" fmla="*/ 0 h 28"/>
                <a:gd name="T8" fmla="*/ 2804 w 2952"/>
                <a:gd name="T9" fmla="*/ 28 h 28"/>
                <a:gd name="T10" fmla="*/ 2535 w 2952"/>
                <a:gd name="T11" fmla="*/ 28 h 28"/>
                <a:gd name="T12" fmla="*/ 2652 w 2952"/>
                <a:gd name="T13" fmla="*/ 0 h 28"/>
                <a:gd name="T14" fmla="*/ 2504 w 2952"/>
                <a:gd name="T15" fmla="*/ 28 h 28"/>
                <a:gd name="T16" fmla="*/ 2386 w 2952"/>
                <a:gd name="T17" fmla="*/ 0 h 28"/>
                <a:gd name="T18" fmla="*/ 2504 w 2952"/>
                <a:gd name="T19" fmla="*/ 28 h 28"/>
                <a:gd name="T20" fmla="*/ 2238 w 2952"/>
                <a:gd name="T21" fmla="*/ 28 h 28"/>
                <a:gd name="T22" fmla="*/ 2355 w 2952"/>
                <a:gd name="T23" fmla="*/ 0 h 28"/>
                <a:gd name="T24" fmla="*/ 2207 w 2952"/>
                <a:gd name="T25" fmla="*/ 28 h 28"/>
                <a:gd name="T26" fmla="*/ 2086 w 2952"/>
                <a:gd name="T27" fmla="*/ 0 h 28"/>
                <a:gd name="T28" fmla="*/ 2207 w 2952"/>
                <a:gd name="T29" fmla="*/ 28 h 28"/>
                <a:gd name="T30" fmla="*/ 1937 w 2952"/>
                <a:gd name="T31" fmla="*/ 28 h 28"/>
                <a:gd name="T32" fmla="*/ 2058 w 2952"/>
                <a:gd name="T33" fmla="*/ 0 h 28"/>
                <a:gd name="T34" fmla="*/ 1906 w 2952"/>
                <a:gd name="T35" fmla="*/ 28 h 28"/>
                <a:gd name="T36" fmla="*/ 1789 w 2952"/>
                <a:gd name="T37" fmla="*/ 0 h 28"/>
                <a:gd name="T38" fmla="*/ 1906 w 2952"/>
                <a:gd name="T39" fmla="*/ 28 h 28"/>
                <a:gd name="T40" fmla="*/ 1640 w 2952"/>
                <a:gd name="T41" fmla="*/ 28 h 28"/>
                <a:gd name="T42" fmla="*/ 1758 w 2952"/>
                <a:gd name="T43" fmla="*/ 0 h 28"/>
                <a:gd name="T44" fmla="*/ 1609 w 2952"/>
                <a:gd name="T45" fmla="*/ 28 h 28"/>
                <a:gd name="T46" fmla="*/ 1492 w 2952"/>
                <a:gd name="T47" fmla="*/ 0 h 28"/>
                <a:gd name="T48" fmla="*/ 1609 w 2952"/>
                <a:gd name="T49" fmla="*/ 28 h 28"/>
                <a:gd name="T50" fmla="*/ 1340 w 2952"/>
                <a:gd name="T51" fmla="*/ 28 h 28"/>
                <a:gd name="T52" fmla="*/ 1461 w 2952"/>
                <a:gd name="T53" fmla="*/ 0 h 28"/>
                <a:gd name="T54" fmla="*/ 1312 w 2952"/>
                <a:gd name="T55" fmla="*/ 28 h 28"/>
                <a:gd name="T56" fmla="*/ 1192 w 2952"/>
                <a:gd name="T57" fmla="*/ 0 h 28"/>
                <a:gd name="T58" fmla="*/ 1312 w 2952"/>
                <a:gd name="T59" fmla="*/ 28 h 28"/>
                <a:gd name="T60" fmla="*/ 1043 w 2952"/>
                <a:gd name="T61" fmla="*/ 28 h 28"/>
                <a:gd name="T62" fmla="*/ 1161 w 2952"/>
                <a:gd name="T63" fmla="*/ 0 h 28"/>
                <a:gd name="T64" fmla="*/ 1012 w 2952"/>
                <a:gd name="T65" fmla="*/ 28 h 28"/>
                <a:gd name="T66" fmla="*/ 895 w 2952"/>
                <a:gd name="T67" fmla="*/ 0 h 28"/>
                <a:gd name="T68" fmla="*/ 1012 w 2952"/>
                <a:gd name="T69" fmla="*/ 28 h 28"/>
                <a:gd name="T70" fmla="*/ 746 w 2952"/>
                <a:gd name="T71" fmla="*/ 28 h 28"/>
                <a:gd name="T72" fmla="*/ 864 w 2952"/>
                <a:gd name="T73" fmla="*/ 0 h 28"/>
                <a:gd name="T74" fmla="*/ 715 w 2952"/>
                <a:gd name="T75" fmla="*/ 28 h 28"/>
                <a:gd name="T76" fmla="*/ 594 w 2952"/>
                <a:gd name="T77" fmla="*/ 0 h 28"/>
                <a:gd name="T78" fmla="*/ 715 w 2952"/>
                <a:gd name="T79" fmla="*/ 28 h 28"/>
                <a:gd name="T80" fmla="*/ 446 w 2952"/>
                <a:gd name="T81" fmla="*/ 28 h 28"/>
                <a:gd name="T82" fmla="*/ 567 w 2952"/>
                <a:gd name="T83" fmla="*/ 0 h 28"/>
                <a:gd name="T84" fmla="*/ 415 w 2952"/>
                <a:gd name="T85" fmla="*/ 28 h 28"/>
                <a:gd name="T86" fmla="*/ 297 w 2952"/>
                <a:gd name="T87" fmla="*/ 0 h 28"/>
                <a:gd name="T88" fmla="*/ 415 w 2952"/>
                <a:gd name="T89" fmla="*/ 28 h 28"/>
                <a:gd name="T90" fmla="*/ 149 w 2952"/>
                <a:gd name="T91" fmla="*/ 28 h 28"/>
                <a:gd name="T92" fmla="*/ 266 w 2952"/>
                <a:gd name="T93" fmla="*/ 0 h 28"/>
                <a:gd name="T94" fmla="*/ 118 w 2952"/>
                <a:gd name="T95" fmla="*/ 28 h 28"/>
                <a:gd name="T96" fmla="*/ 0 w 2952"/>
                <a:gd name="T97" fmla="*/ 0 h 28"/>
                <a:gd name="T98" fmla="*/ 118 w 2952"/>
                <a:gd name="T9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52" h="28">
                  <a:moveTo>
                    <a:pt x="2952" y="28"/>
                  </a:moveTo>
                  <a:lnTo>
                    <a:pt x="2832" y="28"/>
                  </a:lnTo>
                  <a:lnTo>
                    <a:pt x="2832" y="0"/>
                  </a:lnTo>
                  <a:lnTo>
                    <a:pt x="2952" y="0"/>
                  </a:lnTo>
                  <a:lnTo>
                    <a:pt x="2952" y="28"/>
                  </a:lnTo>
                  <a:close/>
                  <a:moveTo>
                    <a:pt x="2804" y="28"/>
                  </a:moveTo>
                  <a:lnTo>
                    <a:pt x="2683" y="28"/>
                  </a:lnTo>
                  <a:lnTo>
                    <a:pt x="2683" y="0"/>
                  </a:lnTo>
                  <a:lnTo>
                    <a:pt x="2804" y="0"/>
                  </a:lnTo>
                  <a:lnTo>
                    <a:pt x="2804" y="28"/>
                  </a:lnTo>
                  <a:close/>
                  <a:moveTo>
                    <a:pt x="2652" y="28"/>
                  </a:moveTo>
                  <a:lnTo>
                    <a:pt x="2535" y="28"/>
                  </a:lnTo>
                  <a:lnTo>
                    <a:pt x="2535" y="0"/>
                  </a:lnTo>
                  <a:lnTo>
                    <a:pt x="2652" y="0"/>
                  </a:lnTo>
                  <a:lnTo>
                    <a:pt x="2652" y="28"/>
                  </a:lnTo>
                  <a:close/>
                  <a:moveTo>
                    <a:pt x="2504" y="28"/>
                  </a:moveTo>
                  <a:lnTo>
                    <a:pt x="2386" y="28"/>
                  </a:lnTo>
                  <a:lnTo>
                    <a:pt x="2386" y="0"/>
                  </a:lnTo>
                  <a:lnTo>
                    <a:pt x="2504" y="0"/>
                  </a:lnTo>
                  <a:lnTo>
                    <a:pt x="2504" y="28"/>
                  </a:lnTo>
                  <a:close/>
                  <a:moveTo>
                    <a:pt x="2355" y="28"/>
                  </a:moveTo>
                  <a:lnTo>
                    <a:pt x="2238" y="28"/>
                  </a:lnTo>
                  <a:lnTo>
                    <a:pt x="2238" y="0"/>
                  </a:lnTo>
                  <a:lnTo>
                    <a:pt x="2355" y="0"/>
                  </a:lnTo>
                  <a:lnTo>
                    <a:pt x="2355" y="28"/>
                  </a:lnTo>
                  <a:close/>
                  <a:moveTo>
                    <a:pt x="2207" y="28"/>
                  </a:moveTo>
                  <a:lnTo>
                    <a:pt x="2086" y="28"/>
                  </a:lnTo>
                  <a:lnTo>
                    <a:pt x="2086" y="0"/>
                  </a:lnTo>
                  <a:lnTo>
                    <a:pt x="2207" y="0"/>
                  </a:lnTo>
                  <a:lnTo>
                    <a:pt x="2207" y="28"/>
                  </a:lnTo>
                  <a:close/>
                  <a:moveTo>
                    <a:pt x="2058" y="28"/>
                  </a:moveTo>
                  <a:lnTo>
                    <a:pt x="1937" y="28"/>
                  </a:lnTo>
                  <a:lnTo>
                    <a:pt x="1937" y="0"/>
                  </a:lnTo>
                  <a:lnTo>
                    <a:pt x="2058" y="0"/>
                  </a:lnTo>
                  <a:lnTo>
                    <a:pt x="2058" y="28"/>
                  </a:lnTo>
                  <a:close/>
                  <a:moveTo>
                    <a:pt x="1906" y="28"/>
                  </a:moveTo>
                  <a:lnTo>
                    <a:pt x="1789" y="28"/>
                  </a:lnTo>
                  <a:lnTo>
                    <a:pt x="1789" y="0"/>
                  </a:lnTo>
                  <a:lnTo>
                    <a:pt x="1906" y="0"/>
                  </a:lnTo>
                  <a:lnTo>
                    <a:pt x="1906" y="28"/>
                  </a:lnTo>
                  <a:close/>
                  <a:moveTo>
                    <a:pt x="1758" y="28"/>
                  </a:moveTo>
                  <a:lnTo>
                    <a:pt x="1640" y="28"/>
                  </a:lnTo>
                  <a:lnTo>
                    <a:pt x="1640" y="0"/>
                  </a:lnTo>
                  <a:lnTo>
                    <a:pt x="1758" y="0"/>
                  </a:lnTo>
                  <a:lnTo>
                    <a:pt x="1758" y="28"/>
                  </a:lnTo>
                  <a:close/>
                  <a:moveTo>
                    <a:pt x="1609" y="28"/>
                  </a:moveTo>
                  <a:lnTo>
                    <a:pt x="1492" y="28"/>
                  </a:lnTo>
                  <a:lnTo>
                    <a:pt x="1492" y="0"/>
                  </a:lnTo>
                  <a:lnTo>
                    <a:pt x="1609" y="0"/>
                  </a:lnTo>
                  <a:lnTo>
                    <a:pt x="1609" y="28"/>
                  </a:lnTo>
                  <a:close/>
                  <a:moveTo>
                    <a:pt x="1461" y="28"/>
                  </a:moveTo>
                  <a:lnTo>
                    <a:pt x="1340" y="28"/>
                  </a:lnTo>
                  <a:lnTo>
                    <a:pt x="1340" y="0"/>
                  </a:lnTo>
                  <a:lnTo>
                    <a:pt x="1461" y="0"/>
                  </a:lnTo>
                  <a:lnTo>
                    <a:pt x="1461" y="28"/>
                  </a:lnTo>
                  <a:close/>
                  <a:moveTo>
                    <a:pt x="1312" y="28"/>
                  </a:moveTo>
                  <a:lnTo>
                    <a:pt x="1192" y="28"/>
                  </a:lnTo>
                  <a:lnTo>
                    <a:pt x="1192" y="0"/>
                  </a:lnTo>
                  <a:lnTo>
                    <a:pt x="1312" y="0"/>
                  </a:lnTo>
                  <a:lnTo>
                    <a:pt x="1312" y="28"/>
                  </a:lnTo>
                  <a:close/>
                  <a:moveTo>
                    <a:pt x="1161" y="28"/>
                  </a:moveTo>
                  <a:lnTo>
                    <a:pt x="1043" y="28"/>
                  </a:lnTo>
                  <a:lnTo>
                    <a:pt x="1043" y="0"/>
                  </a:lnTo>
                  <a:lnTo>
                    <a:pt x="1161" y="0"/>
                  </a:lnTo>
                  <a:lnTo>
                    <a:pt x="1161" y="28"/>
                  </a:lnTo>
                  <a:close/>
                  <a:moveTo>
                    <a:pt x="1012" y="28"/>
                  </a:moveTo>
                  <a:lnTo>
                    <a:pt x="895" y="28"/>
                  </a:lnTo>
                  <a:lnTo>
                    <a:pt x="895" y="0"/>
                  </a:lnTo>
                  <a:lnTo>
                    <a:pt x="1012" y="0"/>
                  </a:lnTo>
                  <a:lnTo>
                    <a:pt x="1012" y="28"/>
                  </a:lnTo>
                  <a:close/>
                  <a:moveTo>
                    <a:pt x="864" y="28"/>
                  </a:moveTo>
                  <a:lnTo>
                    <a:pt x="746" y="28"/>
                  </a:lnTo>
                  <a:lnTo>
                    <a:pt x="746" y="0"/>
                  </a:lnTo>
                  <a:lnTo>
                    <a:pt x="864" y="0"/>
                  </a:lnTo>
                  <a:lnTo>
                    <a:pt x="864" y="28"/>
                  </a:lnTo>
                  <a:close/>
                  <a:moveTo>
                    <a:pt x="715" y="28"/>
                  </a:moveTo>
                  <a:lnTo>
                    <a:pt x="594" y="28"/>
                  </a:lnTo>
                  <a:lnTo>
                    <a:pt x="594" y="0"/>
                  </a:lnTo>
                  <a:lnTo>
                    <a:pt x="715" y="0"/>
                  </a:lnTo>
                  <a:lnTo>
                    <a:pt x="715" y="28"/>
                  </a:lnTo>
                  <a:close/>
                  <a:moveTo>
                    <a:pt x="567" y="28"/>
                  </a:moveTo>
                  <a:lnTo>
                    <a:pt x="446" y="28"/>
                  </a:lnTo>
                  <a:lnTo>
                    <a:pt x="446" y="0"/>
                  </a:lnTo>
                  <a:lnTo>
                    <a:pt x="567" y="0"/>
                  </a:lnTo>
                  <a:lnTo>
                    <a:pt x="567" y="28"/>
                  </a:lnTo>
                  <a:close/>
                  <a:moveTo>
                    <a:pt x="415" y="28"/>
                  </a:moveTo>
                  <a:lnTo>
                    <a:pt x="297" y="28"/>
                  </a:lnTo>
                  <a:lnTo>
                    <a:pt x="297" y="0"/>
                  </a:lnTo>
                  <a:lnTo>
                    <a:pt x="415" y="0"/>
                  </a:lnTo>
                  <a:lnTo>
                    <a:pt x="415" y="28"/>
                  </a:lnTo>
                  <a:close/>
                  <a:moveTo>
                    <a:pt x="266" y="28"/>
                  </a:moveTo>
                  <a:lnTo>
                    <a:pt x="149" y="28"/>
                  </a:lnTo>
                  <a:lnTo>
                    <a:pt x="149" y="0"/>
                  </a:lnTo>
                  <a:lnTo>
                    <a:pt x="266" y="0"/>
                  </a:lnTo>
                  <a:lnTo>
                    <a:pt x="266" y="28"/>
                  </a:lnTo>
                  <a:close/>
                  <a:moveTo>
                    <a:pt x="118" y="28"/>
                  </a:moveTo>
                  <a:lnTo>
                    <a:pt x="0" y="28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D11F42BB-C7E2-4796-8DF0-A54243928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6" y="3855"/>
              <a:ext cx="3947" cy="96"/>
            </a:xfrm>
            <a:custGeom>
              <a:avLst/>
              <a:gdLst>
                <a:gd name="T0" fmla="*/ 13 w 1143"/>
                <a:gd name="T1" fmla="*/ 28 h 28"/>
                <a:gd name="T2" fmla="*/ 1129 w 1143"/>
                <a:gd name="T3" fmla="*/ 28 h 28"/>
                <a:gd name="T4" fmla="*/ 1143 w 1143"/>
                <a:gd name="T5" fmla="*/ 14 h 28"/>
                <a:gd name="T6" fmla="*/ 1143 w 1143"/>
                <a:gd name="T7" fmla="*/ 14 h 28"/>
                <a:gd name="T8" fmla="*/ 1129 w 1143"/>
                <a:gd name="T9" fmla="*/ 0 h 28"/>
                <a:gd name="T10" fmla="*/ 13 w 1143"/>
                <a:gd name="T11" fmla="*/ 0 h 28"/>
                <a:gd name="T12" fmla="*/ 0 w 1143"/>
                <a:gd name="T13" fmla="*/ 14 h 28"/>
                <a:gd name="T14" fmla="*/ 0 w 1143"/>
                <a:gd name="T15" fmla="*/ 14 h 28"/>
                <a:gd name="T16" fmla="*/ 13 w 1143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3" h="28">
                  <a:moveTo>
                    <a:pt x="13" y="28"/>
                  </a:moveTo>
                  <a:cubicBezTo>
                    <a:pt x="1129" y="28"/>
                    <a:pt x="1129" y="28"/>
                    <a:pt x="1129" y="28"/>
                  </a:cubicBezTo>
                  <a:cubicBezTo>
                    <a:pt x="1137" y="28"/>
                    <a:pt x="1143" y="21"/>
                    <a:pt x="1143" y="14"/>
                  </a:cubicBezTo>
                  <a:cubicBezTo>
                    <a:pt x="1143" y="14"/>
                    <a:pt x="1143" y="14"/>
                    <a:pt x="1143" y="14"/>
                  </a:cubicBezTo>
                  <a:cubicBezTo>
                    <a:pt x="1143" y="6"/>
                    <a:pt x="1137" y="0"/>
                    <a:pt x="1129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1"/>
                    <a:pt x="6" y="28"/>
                    <a:pt x="13" y="28"/>
                  </a:cubicBezTo>
                  <a:close/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8CC97E92-4C2A-4DA3-A89B-BD1E6E4C1A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81" y="603"/>
              <a:ext cx="1640" cy="678"/>
            </a:xfrm>
            <a:custGeom>
              <a:avLst/>
              <a:gdLst>
                <a:gd name="T0" fmla="*/ 440 w 475"/>
                <a:gd name="T1" fmla="*/ 125 h 196"/>
                <a:gd name="T2" fmla="*/ 414 w 475"/>
                <a:gd name="T3" fmla="*/ 136 h 196"/>
                <a:gd name="T4" fmla="*/ 414 w 475"/>
                <a:gd name="T5" fmla="*/ 131 h 196"/>
                <a:gd name="T6" fmla="*/ 349 w 475"/>
                <a:gd name="T7" fmla="*/ 66 h 196"/>
                <a:gd name="T8" fmla="*/ 293 w 475"/>
                <a:gd name="T9" fmla="*/ 99 h 196"/>
                <a:gd name="T10" fmla="*/ 293 w 475"/>
                <a:gd name="T11" fmla="*/ 98 h 196"/>
                <a:gd name="T12" fmla="*/ 195 w 475"/>
                <a:gd name="T13" fmla="*/ 0 h 196"/>
                <a:gd name="T14" fmla="*/ 97 w 475"/>
                <a:gd name="T15" fmla="*/ 98 h 196"/>
                <a:gd name="T16" fmla="*/ 99 w 475"/>
                <a:gd name="T17" fmla="*/ 118 h 196"/>
                <a:gd name="T18" fmla="*/ 53 w 475"/>
                <a:gd name="T19" fmla="*/ 91 h 196"/>
                <a:gd name="T20" fmla="*/ 0 w 475"/>
                <a:gd name="T21" fmla="*/ 144 h 196"/>
                <a:gd name="T22" fmla="*/ 53 w 475"/>
                <a:gd name="T23" fmla="*/ 196 h 196"/>
                <a:gd name="T24" fmla="*/ 195 w 475"/>
                <a:gd name="T25" fmla="*/ 196 h 196"/>
                <a:gd name="T26" fmla="*/ 349 w 475"/>
                <a:gd name="T27" fmla="*/ 196 h 196"/>
                <a:gd name="T28" fmla="*/ 440 w 475"/>
                <a:gd name="T29" fmla="*/ 196 h 196"/>
                <a:gd name="T30" fmla="*/ 475 w 475"/>
                <a:gd name="T31" fmla="*/ 161 h 196"/>
                <a:gd name="T32" fmla="*/ 440 w 475"/>
                <a:gd name="T33" fmla="*/ 12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5" h="196">
                  <a:moveTo>
                    <a:pt x="440" y="125"/>
                  </a:moveTo>
                  <a:cubicBezTo>
                    <a:pt x="430" y="125"/>
                    <a:pt x="421" y="130"/>
                    <a:pt x="414" y="136"/>
                  </a:cubicBezTo>
                  <a:cubicBezTo>
                    <a:pt x="414" y="134"/>
                    <a:pt x="414" y="133"/>
                    <a:pt x="414" y="131"/>
                  </a:cubicBezTo>
                  <a:cubicBezTo>
                    <a:pt x="414" y="95"/>
                    <a:pt x="385" y="66"/>
                    <a:pt x="349" y="66"/>
                  </a:cubicBezTo>
                  <a:cubicBezTo>
                    <a:pt x="325" y="66"/>
                    <a:pt x="304" y="79"/>
                    <a:pt x="293" y="99"/>
                  </a:cubicBezTo>
                  <a:cubicBezTo>
                    <a:pt x="293" y="98"/>
                    <a:pt x="293" y="98"/>
                    <a:pt x="293" y="98"/>
                  </a:cubicBezTo>
                  <a:cubicBezTo>
                    <a:pt x="293" y="44"/>
                    <a:pt x="249" y="0"/>
                    <a:pt x="195" y="0"/>
                  </a:cubicBezTo>
                  <a:cubicBezTo>
                    <a:pt x="141" y="0"/>
                    <a:pt x="97" y="44"/>
                    <a:pt x="97" y="98"/>
                  </a:cubicBezTo>
                  <a:cubicBezTo>
                    <a:pt x="97" y="105"/>
                    <a:pt x="98" y="112"/>
                    <a:pt x="99" y="118"/>
                  </a:cubicBezTo>
                  <a:cubicBezTo>
                    <a:pt x="90" y="102"/>
                    <a:pt x="73" y="91"/>
                    <a:pt x="53" y="91"/>
                  </a:cubicBezTo>
                  <a:cubicBezTo>
                    <a:pt x="24" y="91"/>
                    <a:pt x="0" y="114"/>
                    <a:pt x="0" y="144"/>
                  </a:cubicBezTo>
                  <a:cubicBezTo>
                    <a:pt x="0" y="173"/>
                    <a:pt x="24" y="196"/>
                    <a:pt x="53" y="196"/>
                  </a:cubicBezTo>
                  <a:cubicBezTo>
                    <a:pt x="82" y="196"/>
                    <a:pt x="155" y="196"/>
                    <a:pt x="195" y="196"/>
                  </a:cubicBezTo>
                  <a:cubicBezTo>
                    <a:pt x="235" y="196"/>
                    <a:pt x="316" y="196"/>
                    <a:pt x="349" y="196"/>
                  </a:cubicBezTo>
                  <a:cubicBezTo>
                    <a:pt x="373" y="196"/>
                    <a:pt x="422" y="196"/>
                    <a:pt x="440" y="196"/>
                  </a:cubicBezTo>
                  <a:cubicBezTo>
                    <a:pt x="459" y="196"/>
                    <a:pt x="475" y="180"/>
                    <a:pt x="475" y="161"/>
                  </a:cubicBezTo>
                  <a:cubicBezTo>
                    <a:pt x="475" y="141"/>
                    <a:pt x="459" y="125"/>
                    <a:pt x="440" y="1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27041061-4EE3-4A67-AB65-6CD3EEA5AF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87" y="134"/>
              <a:ext cx="697" cy="355"/>
            </a:xfrm>
            <a:custGeom>
              <a:avLst/>
              <a:gdLst>
                <a:gd name="T0" fmla="*/ 177 w 202"/>
                <a:gd name="T1" fmla="*/ 52 h 103"/>
                <a:gd name="T2" fmla="*/ 166 w 202"/>
                <a:gd name="T3" fmla="*/ 54 h 103"/>
                <a:gd name="T4" fmla="*/ 166 w 202"/>
                <a:gd name="T5" fmla="*/ 52 h 103"/>
                <a:gd name="T6" fmla="*/ 115 w 202"/>
                <a:gd name="T7" fmla="*/ 0 h 103"/>
                <a:gd name="T8" fmla="*/ 64 w 202"/>
                <a:gd name="T9" fmla="*/ 47 h 103"/>
                <a:gd name="T10" fmla="*/ 35 w 202"/>
                <a:gd name="T11" fmla="*/ 33 h 103"/>
                <a:gd name="T12" fmla="*/ 0 w 202"/>
                <a:gd name="T13" fmla="*/ 68 h 103"/>
                <a:gd name="T14" fmla="*/ 35 w 202"/>
                <a:gd name="T15" fmla="*/ 103 h 103"/>
                <a:gd name="T16" fmla="*/ 177 w 202"/>
                <a:gd name="T17" fmla="*/ 103 h 103"/>
                <a:gd name="T18" fmla="*/ 202 w 202"/>
                <a:gd name="T19" fmla="*/ 77 h 103"/>
                <a:gd name="T20" fmla="*/ 177 w 202"/>
                <a:gd name="T21" fmla="*/ 5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2" h="103">
                  <a:moveTo>
                    <a:pt x="177" y="52"/>
                  </a:moveTo>
                  <a:cubicBezTo>
                    <a:pt x="173" y="52"/>
                    <a:pt x="169" y="53"/>
                    <a:pt x="166" y="54"/>
                  </a:cubicBezTo>
                  <a:cubicBezTo>
                    <a:pt x="166" y="53"/>
                    <a:pt x="166" y="53"/>
                    <a:pt x="166" y="52"/>
                  </a:cubicBezTo>
                  <a:cubicBezTo>
                    <a:pt x="166" y="23"/>
                    <a:pt x="143" y="0"/>
                    <a:pt x="115" y="0"/>
                  </a:cubicBezTo>
                  <a:cubicBezTo>
                    <a:pt x="88" y="0"/>
                    <a:pt x="66" y="21"/>
                    <a:pt x="64" y="47"/>
                  </a:cubicBezTo>
                  <a:cubicBezTo>
                    <a:pt x="57" y="39"/>
                    <a:pt x="47" y="33"/>
                    <a:pt x="35" y="33"/>
                  </a:cubicBezTo>
                  <a:cubicBezTo>
                    <a:pt x="16" y="33"/>
                    <a:pt x="0" y="49"/>
                    <a:pt x="0" y="68"/>
                  </a:cubicBezTo>
                  <a:cubicBezTo>
                    <a:pt x="0" y="87"/>
                    <a:pt x="16" y="103"/>
                    <a:pt x="35" y="103"/>
                  </a:cubicBezTo>
                  <a:cubicBezTo>
                    <a:pt x="52" y="103"/>
                    <a:pt x="166" y="103"/>
                    <a:pt x="177" y="103"/>
                  </a:cubicBezTo>
                  <a:cubicBezTo>
                    <a:pt x="191" y="103"/>
                    <a:pt x="202" y="92"/>
                    <a:pt x="202" y="77"/>
                  </a:cubicBezTo>
                  <a:cubicBezTo>
                    <a:pt x="202" y="63"/>
                    <a:pt x="191" y="52"/>
                    <a:pt x="177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D9CE3F7A-FBF9-469F-9F33-AF2C8D0ACD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4" y="2801"/>
              <a:ext cx="45" cy="159"/>
            </a:xfrm>
            <a:custGeom>
              <a:avLst/>
              <a:gdLst>
                <a:gd name="T0" fmla="*/ 0 w 13"/>
                <a:gd name="T1" fmla="*/ 46 h 46"/>
                <a:gd name="T2" fmla="*/ 0 w 13"/>
                <a:gd name="T3" fmla="*/ 46 h 46"/>
                <a:gd name="T4" fmla="*/ 13 w 13"/>
                <a:gd name="T5" fmla="*/ 34 h 46"/>
                <a:gd name="T6" fmla="*/ 13 w 13"/>
                <a:gd name="T7" fmla="*/ 13 h 46"/>
                <a:gd name="T8" fmla="*/ 0 w 13"/>
                <a:gd name="T9" fmla="*/ 0 h 46"/>
                <a:gd name="T10" fmla="*/ 0 w 13"/>
                <a:gd name="T11" fmla="*/ 0 h 46"/>
                <a:gd name="T12" fmla="*/ 0 w 13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46">
                  <a:moveTo>
                    <a:pt x="0" y="46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7" y="46"/>
                    <a:pt x="13" y="41"/>
                    <a:pt x="13" y="3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6"/>
                    <a:pt x="7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C9FB56D4-017E-42C8-A564-2711217EA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3" y="2766"/>
              <a:ext cx="221" cy="128"/>
            </a:xfrm>
            <a:custGeom>
              <a:avLst/>
              <a:gdLst>
                <a:gd name="T0" fmla="*/ 21 w 221"/>
                <a:gd name="T1" fmla="*/ 0 h 128"/>
                <a:gd name="T2" fmla="*/ 221 w 221"/>
                <a:gd name="T3" fmla="*/ 114 h 128"/>
                <a:gd name="T4" fmla="*/ 214 w 221"/>
                <a:gd name="T5" fmla="*/ 128 h 128"/>
                <a:gd name="T6" fmla="*/ 0 w 221"/>
                <a:gd name="T7" fmla="*/ 7 h 128"/>
                <a:gd name="T8" fmla="*/ 21 w 221"/>
                <a:gd name="T9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1" h="128">
                  <a:moveTo>
                    <a:pt x="21" y="0"/>
                  </a:moveTo>
                  <a:lnTo>
                    <a:pt x="221" y="114"/>
                  </a:lnTo>
                  <a:lnTo>
                    <a:pt x="214" y="128"/>
                  </a:lnTo>
                  <a:lnTo>
                    <a:pt x="0" y="7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1648674B-16BC-40A8-B8B5-8A0380567C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97" y="2372"/>
              <a:ext cx="276" cy="287"/>
            </a:xfrm>
            <a:custGeom>
              <a:avLst/>
              <a:gdLst>
                <a:gd name="T0" fmla="*/ 276 w 276"/>
                <a:gd name="T1" fmla="*/ 232 h 287"/>
                <a:gd name="T2" fmla="*/ 0 w 276"/>
                <a:gd name="T3" fmla="*/ 287 h 287"/>
                <a:gd name="T4" fmla="*/ 148 w 276"/>
                <a:gd name="T5" fmla="*/ 0 h 287"/>
                <a:gd name="T6" fmla="*/ 242 w 276"/>
                <a:gd name="T7" fmla="*/ 139 h 287"/>
                <a:gd name="T8" fmla="*/ 276 w 276"/>
                <a:gd name="T9" fmla="*/ 23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287">
                  <a:moveTo>
                    <a:pt x="276" y="232"/>
                  </a:moveTo>
                  <a:lnTo>
                    <a:pt x="0" y="287"/>
                  </a:lnTo>
                  <a:lnTo>
                    <a:pt x="148" y="0"/>
                  </a:lnTo>
                  <a:lnTo>
                    <a:pt x="242" y="139"/>
                  </a:lnTo>
                  <a:lnTo>
                    <a:pt x="276" y="2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7EB3D3CA-3A1B-471D-BADB-7B8D9FFF53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8" y="2148"/>
              <a:ext cx="273" cy="249"/>
            </a:xfrm>
            <a:custGeom>
              <a:avLst/>
              <a:gdLst>
                <a:gd name="T0" fmla="*/ 57 w 79"/>
                <a:gd name="T1" fmla="*/ 0 h 72"/>
                <a:gd name="T2" fmla="*/ 37 w 79"/>
                <a:gd name="T3" fmla="*/ 16 h 72"/>
                <a:gd name="T4" fmla="*/ 29 w 79"/>
                <a:gd name="T5" fmla="*/ 13 h 72"/>
                <a:gd name="T6" fmla="*/ 14 w 79"/>
                <a:gd name="T7" fmla="*/ 28 h 72"/>
                <a:gd name="T8" fmla="*/ 18 w 79"/>
                <a:gd name="T9" fmla="*/ 37 h 72"/>
                <a:gd name="T10" fmla="*/ 17 w 79"/>
                <a:gd name="T11" fmla="*/ 37 h 72"/>
                <a:gd name="T12" fmla="*/ 0 w 79"/>
                <a:gd name="T13" fmla="*/ 55 h 72"/>
                <a:gd name="T14" fmla="*/ 17 w 79"/>
                <a:gd name="T15" fmla="*/ 72 h 72"/>
                <a:gd name="T16" fmla="*/ 34 w 79"/>
                <a:gd name="T17" fmla="*/ 55 h 72"/>
                <a:gd name="T18" fmla="*/ 37 w 79"/>
                <a:gd name="T19" fmla="*/ 55 h 72"/>
                <a:gd name="T20" fmla="*/ 49 w 79"/>
                <a:gd name="T21" fmla="*/ 43 h 72"/>
                <a:gd name="T22" fmla="*/ 49 w 79"/>
                <a:gd name="T23" fmla="*/ 41 h 72"/>
                <a:gd name="T24" fmla="*/ 57 w 79"/>
                <a:gd name="T25" fmla="*/ 43 h 72"/>
                <a:gd name="T26" fmla="*/ 79 w 79"/>
                <a:gd name="T27" fmla="*/ 22 h 72"/>
                <a:gd name="T28" fmla="*/ 57 w 79"/>
                <a:gd name="T2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72">
                  <a:moveTo>
                    <a:pt x="57" y="0"/>
                  </a:moveTo>
                  <a:cubicBezTo>
                    <a:pt x="48" y="0"/>
                    <a:pt x="40" y="7"/>
                    <a:pt x="37" y="16"/>
                  </a:cubicBezTo>
                  <a:cubicBezTo>
                    <a:pt x="35" y="14"/>
                    <a:pt x="32" y="13"/>
                    <a:pt x="29" y="13"/>
                  </a:cubicBezTo>
                  <a:cubicBezTo>
                    <a:pt x="21" y="13"/>
                    <a:pt x="14" y="20"/>
                    <a:pt x="14" y="28"/>
                  </a:cubicBezTo>
                  <a:cubicBezTo>
                    <a:pt x="14" y="32"/>
                    <a:pt x="16" y="35"/>
                    <a:pt x="18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7" y="37"/>
                    <a:pt x="0" y="45"/>
                    <a:pt x="0" y="55"/>
                  </a:cubicBezTo>
                  <a:cubicBezTo>
                    <a:pt x="0" y="64"/>
                    <a:pt x="7" y="72"/>
                    <a:pt x="17" y="72"/>
                  </a:cubicBezTo>
                  <a:cubicBezTo>
                    <a:pt x="26" y="72"/>
                    <a:pt x="34" y="64"/>
                    <a:pt x="34" y="55"/>
                  </a:cubicBezTo>
                  <a:cubicBezTo>
                    <a:pt x="35" y="55"/>
                    <a:pt x="36" y="55"/>
                    <a:pt x="37" y="55"/>
                  </a:cubicBezTo>
                  <a:cubicBezTo>
                    <a:pt x="44" y="55"/>
                    <a:pt x="49" y="50"/>
                    <a:pt x="49" y="43"/>
                  </a:cubicBezTo>
                  <a:cubicBezTo>
                    <a:pt x="49" y="42"/>
                    <a:pt x="49" y="42"/>
                    <a:pt x="49" y="41"/>
                  </a:cubicBezTo>
                  <a:cubicBezTo>
                    <a:pt x="51" y="42"/>
                    <a:pt x="54" y="43"/>
                    <a:pt x="57" y="43"/>
                  </a:cubicBezTo>
                  <a:cubicBezTo>
                    <a:pt x="69" y="43"/>
                    <a:pt x="79" y="33"/>
                    <a:pt x="79" y="22"/>
                  </a:cubicBezTo>
                  <a:cubicBezTo>
                    <a:pt x="79" y="10"/>
                    <a:pt x="69" y="0"/>
                    <a:pt x="5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2C8CDC61-8427-49D8-92DA-1FD4AF3C02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3" y="3685"/>
              <a:ext cx="197" cy="246"/>
            </a:xfrm>
            <a:custGeom>
              <a:avLst/>
              <a:gdLst>
                <a:gd name="T0" fmla="*/ 57 w 57"/>
                <a:gd name="T1" fmla="*/ 60 h 71"/>
                <a:gd name="T2" fmla="*/ 43 w 57"/>
                <a:gd name="T3" fmla="*/ 38 h 71"/>
                <a:gd name="T4" fmla="*/ 35 w 57"/>
                <a:gd name="T5" fmla="*/ 16 h 71"/>
                <a:gd name="T6" fmla="*/ 33 w 57"/>
                <a:gd name="T7" fmla="*/ 1 h 71"/>
                <a:gd name="T8" fmla="*/ 0 w 57"/>
                <a:gd name="T9" fmla="*/ 0 h 71"/>
                <a:gd name="T10" fmla="*/ 4 w 57"/>
                <a:gd name="T11" fmla="*/ 28 h 71"/>
                <a:gd name="T12" fmla="*/ 42 w 57"/>
                <a:gd name="T13" fmla="*/ 71 h 71"/>
                <a:gd name="T14" fmla="*/ 57 w 57"/>
                <a:gd name="T15" fmla="*/ 6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71">
                  <a:moveTo>
                    <a:pt x="57" y="60"/>
                  </a:moveTo>
                  <a:cubicBezTo>
                    <a:pt x="43" y="38"/>
                    <a:pt x="43" y="38"/>
                    <a:pt x="43" y="38"/>
                  </a:cubicBezTo>
                  <a:cubicBezTo>
                    <a:pt x="39" y="32"/>
                    <a:pt x="36" y="24"/>
                    <a:pt x="35" y="16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2" y="71"/>
                    <a:pt x="42" y="71"/>
                    <a:pt x="42" y="71"/>
                  </a:cubicBezTo>
                  <a:lnTo>
                    <a:pt x="57" y="60"/>
                  </a:lnTo>
                  <a:close/>
                </a:path>
              </a:pathLst>
            </a:custGeom>
            <a:solidFill>
              <a:srgbClr val="66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9F23054A-6259-4D6A-8A46-78BBF23E84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3" y="3782"/>
              <a:ext cx="300" cy="166"/>
            </a:xfrm>
            <a:custGeom>
              <a:avLst/>
              <a:gdLst>
                <a:gd name="T0" fmla="*/ 0 w 87"/>
                <a:gd name="T1" fmla="*/ 35 h 48"/>
                <a:gd name="T2" fmla="*/ 6 w 87"/>
                <a:gd name="T3" fmla="*/ 48 h 48"/>
                <a:gd name="T4" fmla="*/ 15 w 87"/>
                <a:gd name="T5" fmla="*/ 48 h 48"/>
                <a:gd name="T6" fmla="*/ 14 w 87"/>
                <a:gd name="T7" fmla="*/ 35 h 48"/>
                <a:gd name="T8" fmla="*/ 14 w 87"/>
                <a:gd name="T9" fmla="*/ 35 h 48"/>
                <a:gd name="T10" fmla="*/ 43 w 87"/>
                <a:gd name="T11" fmla="*/ 48 h 48"/>
                <a:gd name="T12" fmla="*/ 44 w 87"/>
                <a:gd name="T13" fmla="*/ 48 h 48"/>
                <a:gd name="T14" fmla="*/ 83 w 87"/>
                <a:gd name="T15" fmla="*/ 48 h 48"/>
                <a:gd name="T16" fmla="*/ 85 w 87"/>
                <a:gd name="T17" fmla="*/ 43 h 48"/>
                <a:gd name="T18" fmla="*/ 60 w 87"/>
                <a:gd name="T19" fmla="*/ 32 h 48"/>
                <a:gd name="T20" fmla="*/ 46 w 87"/>
                <a:gd name="T21" fmla="*/ 39 h 48"/>
                <a:gd name="T22" fmla="*/ 7 w 87"/>
                <a:gd name="T23" fmla="*/ 0 h 48"/>
                <a:gd name="T24" fmla="*/ 0 w 87"/>
                <a:gd name="T25" fmla="*/ 3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48">
                  <a:moveTo>
                    <a:pt x="0" y="35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25" y="36"/>
                    <a:pt x="35" y="40"/>
                    <a:pt x="43" y="48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6" y="48"/>
                    <a:pt x="87" y="45"/>
                    <a:pt x="85" y="43"/>
                  </a:cubicBezTo>
                  <a:cubicBezTo>
                    <a:pt x="79" y="38"/>
                    <a:pt x="69" y="32"/>
                    <a:pt x="60" y="3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0" y="17"/>
                    <a:pt x="0" y="3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3A7CE6FB-6B47-42F4-B918-82DC50D68F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5" y="3685"/>
              <a:ext cx="200" cy="246"/>
            </a:xfrm>
            <a:custGeom>
              <a:avLst/>
              <a:gdLst>
                <a:gd name="T0" fmla="*/ 58 w 58"/>
                <a:gd name="T1" fmla="*/ 60 h 71"/>
                <a:gd name="T2" fmla="*/ 43 w 58"/>
                <a:gd name="T3" fmla="*/ 38 h 71"/>
                <a:gd name="T4" fmla="*/ 35 w 58"/>
                <a:gd name="T5" fmla="*/ 16 h 71"/>
                <a:gd name="T6" fmla="*/ 33 w 58"/>
                <a:gd name="T7" fmla="*/ 1 h 71"/>
                <a:gd name="T8" fmla="*/ 0 w 58"/>
                <a:gd name="T9" fmla="*/ 0 h 71"/>
                <a:gd name="T10" fmla="*/ 4 w 58"/>
                <a:gd name="T11" fmla="*/ 28 h 71"/>
                <a:gd name="T12" fmla="*/ 43 w 58"/>
                <a:gd name="T13" fmla="*/ 71 h 71"/>
                <a:gd name="T14" fmla="*/ 58 w 58"/>
                <a:gd name="T15" fmla="*/ 6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71">
                  <a:moveTo>
                    <a:pt x="58" y="60"/>
                  </a:moveTo>
                  <a:cubicBezTo>
                    <a:pt x="43" y="38"/>
                    <a:pt x="43" y="38"/>
                    <a:pt x="43" y="38"/>
                  </a:cubicBezTo>
                  <a:cubicBezTo>
                    <a:pt x="39" y="32"/>
                    <a:pt x="36" y="24"/>
                    <a:pt x="35" y="16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3" y="71"/>
                    <a:pt x="43" y="71"/>
                    <a:pt x="43" y="71"/>
                  </a:cubicBezTo>
                  <a:lnTo>
                    <a:pt x="58" y="60"/>
                  </a:lnTo>
                  <a:close/>
                </a:path>
              </a:pathLst>
            </a:custGeom>
            <a:solidFill>
              <a:srgbClr val="725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9F3E5D9F-D0B5-4A69-A5FF-5CF0EE29C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45" y="2618"/>
              <a:ext cx="500" cy="1126"/>
            </a:xfrm>
            <a:custGeom>
              <a:avLst/>
              <a:gdLst>
                <a:gd name="T0" fmla="*/ 31 w 145"/>
                <a:gd name="T1" fmla="*/ 0 h 326"/>
                <a:gd name="T2" fmla="*/ 7 w 145"/>
                <a:gd name="T3" fmla="*/ 43 h 326"/>
                <a:gd name="T4" fmla="*/ 31 w 145"/>
                <a:gd name="T5" fmla="*/ 110 h 326"/>
                <a:gd name="T6" fmla="*/ 31 w 145"/>
                <a:gd name="T7" fmla="*/ 110 h 326"/>
                <a:gd name="T8" fmla="*/ 92 w 145"/>
                <a:gd name="T9" fmla="*/ 326 h 326"/>
                <a:gd name="T10" fmla="*/ 145 w 145"/>
                <a:gd name="T11" fmla="*/ 326 h 326"/>
                <a:gd name="T12" fmla="*/ 103 w 145"/>
                <a:gd name="T13" fmla="*/ 81 h 326"/>
                <a:gd name="T14" fmla="*/ 105 w 145"/>
                <a:gd name="T15" fmla="*/ 17 h 326"/>
                <a:gd name="T16" fmla="*/ 31 w 145"/>
                <a:gd name="T17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326">
                  <a:moveTo>
                    <a:pt x="31" y="0"/>
                  </a:moveTo>
                  <a:cubicBezTo>
                    <a:pt x="7" y="43"/>
                    <a:pt x="7" y="43"/>
                    <a:pt x="7" y="43"/>
                  </a:cubicBezTo>
                  <a:cubicBezTo>
                    <a:pt x="0" y="70"/>
                    <a:pt x="19" y="84"/>
                    <a:pt x="31" y="110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92" y="326"/>
                    <a:pt x="92" y="326"/>
                    <a:pt x="92" y="326"/>
                  </a:cubicBezTo>
                  <a:cubicBezTo>
                    <a:pt x="145" y="326"/>
                    <a:pt x="145" y="326"/>
                    <a:pt x="145" y="326"/>
                  </a:cubicBezTo>
                  <a:cubicBezTo>
                    <a:pt x="145" y="326"/>
                    <a:pt x="103" y="188"/>
                    <a:pt x="103" y="81"/>
                  </a:cubicBezTo>
                  <a:cubicBezTo>
                    <a:pt x="105" y="17"/>
                    <a:pt x="105" y="17"/>
                    <a:pt x="105" y="17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A7DD54E8-D96A-4CFC-B0B9-B335A839C7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28" y="2462"/>
              <a:ext cx="646" cy="633"/>
            </a:xfrm>
            <a:custGeom>
              <a:avLst/>
              <a:gdLst>
                <a:gd name="T0" fmla="*/ 175 w 187"/>
                <a:gd name="T1" fmla="*/ 116 h 183"/>
                <a:gd name="T2" fmla="*/ 155 w 187"/>
                <a:gd name="T3" fmla="*/ 117 h 183"/>
                <a:gd name="T4" fmla="*/ 117 w 187"/>
                <a:gd name="T5" fmla="*/ 95 h 183"/>
                <a:gd name="T6" fmla="*/ 133 w 187"/>
                <a:gd name="T7" fmla="*/ 56 h 183"/>
                <a:gd name="T8" fmla="*/ 117 w 187"/>
                <a:gd name="T9" fmla="*/ 47 h 183"/>
                <a:gd name="T10" fmla="*/ 135 w 187"/>
                <a:gd name="T11" fmla="*/ 15 h 183"/>
                <a:gd name="T12" fmla="*/ 132 w 187"/>
                <a:gd name="T13" fmla="*/ 4 h 183"/>
                <a:gd name="T14" fmla="*/ 124 w 187"/>
                <a:gd name="T15" fmla="*/ 0 h 183"/>
                <a:gd name="T16" fmla="*/ 127 w 187"/>
                <a:gd name="T17" fmla="*/ 11 h 183"/>
                <a:gd name="T18" fmla="*/ 109 w 187"/>
                <a:gd name="T19" fmla="*/ 42 h 183"/>
                <a:gd name="T20" fmla="*/ 81 w 187"/>
                <a:gd name="T21" fmla="*/ 27 h 183"/>
                <a:gd name="T22" fmla="*/ 3 w 187"/>
                <a:gd name="T23" fmla="*/ 133 h 183"/>
                <a:gd name="T24" fmla="*/ 5 w 187"/>
                <a:gd name="T25" fmla="*/ 142 h 183"/>
                <a:gd name="T26" fmla="*/ 73 w 187"/>
                <a:gd name="T27" fmla="*/ 181 h 183"/>
                <a:gd name="T28" fmla="*/ 82 w 187"/>
                <a:gd name="T29" fmla="*/ 178 h 183"/>
                <a:gd name="T30" fmla="*/ 88 w 187"/>
                <a:gd name="T31" fmla="*/ 164 h 183"/>
                <a:gd name="T32" fmla="*/ 175 w 187"/>
                <a:gd name="T33" fmla="*/ 126 h 183"/>
                <a:gd name="T34" fmla="*/ 187 w 187"/>
                <a:gd name="T35" fmla="*/ 148 h 183"/>
                <a:gd name="T36" fmla="*/ 187 w 187"/>
                <a:gd name="T37" fmla="*/ 95 h 183"/>
                <a:gd name="T38" fmla="*/ 175 w 187"/>
                <a:gd name="T39" fmla="*/ 116 h 183"/>
                <a:gd name="T40" fmla="*/ 115 w 187"/>
                <a:gd name="T41" fmla="*/ 100 h 183"/>
                <a:gd name="T42" fmla="*/ 147 w 187"/>
                <a:gd name="T43" fmla="*/ 118 h 183"/>
                <a:gd name="T44" fmla="*/ 102 w 187"/>
                <a:gd name="T45" fmla="*/ 131 h 183"/>
                <a:gd name="T46" fmla="*/ 115 w 187"/>
                <a:gd name="T47" fmla="*/ 10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7" h="183">
                  <a:moveTo>
                    <a:pt x="175" y="116"/>
                  </a:moveTo>
                  <a:cubicBezTo>
                    <a:pt x="170" y="116"/>
                    <a:pt x="163" y="116"/>
                    <a:pt x="155" y="117"/>
                  </a:cubicBezTo>
                  <a:cubicBezTo>
                    <a:pt x="117" y="95"/>
                    <a:pt x="117" y="95"/>
                    <a:pt x="117" y="95"/>
                  </a:cubicBezTo>
                  <a:cubicBezTo>
                    <a:pt x="133" y="56"/>
                    <a:pt x="133" y="56"/>
                    <a:pt x="133" y="56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7" y="11"/>
                    <a:pt x="136" y="6"/>
                    <a:pt x="132" y="4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8" y="2"/>
                    <a:pt x="129" y="7"/>
                    <a:pt x="127" y="11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0" y="136"/>
                    <a:pt x="1" y="140"/>
                    <a:pt x="5" y="142"/>
                  </a:cubicBezTo>
                  <a:cubicBezTo>
                    <a:pt x="73" y="181"/>
                    <a:pt x="73" y="181"/>
                    <a:pt x="73" y="181"/>
                  </a:cubicBezTo>
                  <a:cubicBezTo>
                    <a:pt x="77" y="183"/>
                    <a:pt x="81" y="181"/>
                    <a:pt x="82" y="178"/>
                  </a:cubicBezTo>
                  <a:cubicBezTo>
                    <a:pt x="88" y="164"/>
                    <a:pt x="88" y="164"/>
                    <a:pt x="88" y="164"/>
                  </a:cubicBezTo>
                  <a:cubicBezTo>
                    <a:pt x="119" y="137"/>
                    <a:pt x="158" y="129"/>
                    <a:pt x="175" y="126"/>
                  </a:cubicBezTo>
                  <a:cubicBezTo>
                    <a:pt x="176" y="135"/>
                    <a:pt x="181" y="143"/>
                    <a:pt x="187" y="148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1" y="100"/>
                    <a:pt x="176" y="108"/>
                    <a:pt x="175" y="116"/>
                  </a:cubicBezTo>
                  <a:close/>
                  <a:moveTo>
                    <a:pt x="115" y="100"/>
                  </a:moveTo>
                  <a:cubicBezTo>
                    <a:pt x="147" y="118"/>
                    <a:pt x="147" y="118"/>
                    <a:pt x="147" y="118"/>
                  </a:cubicBezTo>
                  <a:cubicBezTo>
                    <a:pt x="133" y="120"/>
                    <a:pt x="117" y="124"/>
                    <a:pt x="102" y="131"/>
                  </a:cubicBezTo>
                  <a:lnTo>
                    <a:pt x="115" y="100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B5444CE3-306D-4EB7-9DDC-D52AC802AC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28" y="2452"/>
              <a:ext cx="449" cy="608"/>
            </a:xfrm>
            <a:custGeom>
              <a:avLst/>
              <a:gdLst>
                <a:gd name="T0" fmla="*/ 91 w 130"/>
                <a:gd name="T1" fmla="*/ 47 h 176"/>
                <a:gd name="T2" fmla="*/ 92 w 130"/>
                <a:gd name="T3" fmla="*/ 48 h 176"/>
                <a:gd name="T4" fmla="*/ 98 w 130"/>
                <a:gd name="T5" fmla="*/ 46 h 176"/>
                <a:gd name="T6" fmla="*/ 119 w 130"/>
                <a:gd name="T7" fmla="*/ 9 h 176"/>
                <a:gd name="T8" fmla="*/ 130 w 130"/>
                <a:gd name="T9" fmla="*/ 6 h 176"/>
                <a:gd name="T10" fmla="*/ 122 w 130"/>
                <a:gd name="T11" fmla="*/ 2 h 176"/>
                <a:gd name="T12" fmla="*/ 111 w 130"/>
                <a:gd name="T13" fmla="*/ 5 h 176"/>
                <a:gd name="T14" fmla="*/ 93 w 130"/>
                <a:gd name="T15" fmla="*/ 36 h 176"/>
                <a:gd name="T16" fmla="*/ 83 w 130"/>
                <a:gd name="T17" fmla="*/ 30 h 176"/>
                <a:gd name="T18" fmla="*/ 83 w 130"/>
                <a:gd name="T19" fmla="*/ 30 h 176"/>
                <a:gd name="T20" fmla="*/ 68 w 130"/>
                <a:gd name="T21" fmla="*/ 22 h 176"/>
                <a:gd name="T22" fmla="*/ 39 w 130"/>
                <a:gd name="T23" fmla="*/ 22 h 176"/>
                <a:gd name="T24" fmla="*/ 25 w 130"/>
                <a:gd name="T25" fmla="*/ 47 h 176"/>
                <a:gd name="T26" fmla="*/ 26 w 130"/>
                <a:gd name="T27" fmla="*/ 104 h 176"/>
                <a:gd name="T28" fmla="*/ 3 w 130"/>
                <a:gd name="T29" fmla="*/ 136 h 176"/>
                <a:gd name="T30" fmla="*/ 5 w 130"/>
                <a:gd name="T31" fmla="*/ 145 h 176"/>
                <a:gd name="T32" fmla="*/ 60 w 130"/>
                <a:gd name="T33" fmla="*/ 176 h 176"/>
                <a:gd name="T34" fmla="*/ 89 w 130"/>
                <a:gd name="T35" fmla="*/ 54 h 176"/>
                <a:gd name="T36" fmla="*/ 126 w 130"/>
                <a:gd name="T37" fmla="*/ 75 h 176"/>
                <a:gd name="T38" fmla="*/ 128 w 130"/>
                <a:gd name="T39" fmla="*/ 72 h 176"/>
                <a:gd name="T40" fmla="*/ 90 w 130"/>
                <a:gd name="T41" fmla="*/ 50 h 176"/>
                <a:gd name="T42" fmla="*/ 91 w 130"/>
                <a:gd name="T43" fmla="*/ 47 h 176"/>
                <a:gd name="T44" fmla="*/ 32 w 130"/>
                <a:gd name="T45" fmla="*/ 96 h 176"/>
                <a:gd name="T46" fmla="*/ 31 w 130"/>
                <a:gd name="T47" fmla="*/ 47 h 176"/>
                <a:gd name="T48" fmla="*/ 42 w 130"/>
                <a:gd name="T49" fmla="*/ 27 h 176"/>
                <a:gd name="T50" fmla="*/ 65 w 130"/>
                <a:gd name="T51" fmla="*/ 27 h 176"/>
                <a:gd name="T52" fmla="*/ 78 w 130"/>
                <a:gd name="T53" fmla="*/ 35 h 176"/>
                <a:gd name="T54" fmla="*/ 32 w 130"/>
                <a:gd name="T55" fmla="*/ 9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0" h="176">
                  <a:moveTo>
                    <a:pt x="91" y="47"/>
                  </a:moveTo>
                  <a:cubicBezTo>
                    <a:pt x="91" y="47"/>
                    <a:pt x="91" y="48"/>
                    <a:pt x="92" y="48"/>
                  </a:cubicBezTo>
                  <a:cubicBezTo>
                    <a:pt x="94" y="49"/>
                    <a:pt x="97" y="49"/>
                    <a:pt x="98" y="46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21" y="6"/>
                    <a:pt x="126" y="4"/>
                    <a:pt x="130" y="6"/>
                  </a:cubicBezTo>
                  <a:cubicBezTo>
                    <a:pt x="122" y="2"/>
                    <a:pt x="122" y="2"/>
                    <a:pt x="122" y="2"/>
                  </a:cubicBezTo>
                  <a:cubicBezTo>
                    <a:pt x="118" y="0"/>
                    <a:pt x="113" y="1"/>
                    <a:pt x="111" y="5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59" y="17"/>
                    <a:pt x="48" y="17"/>
                    <a:pt x="39" y="22"/>
                  </a:cubicBezTo>
                  <a:cubicBezTo>
                    <a:pt x="30" y="27"/>
                    <a:pt x="25" y="37"/>
                    <a:pt x="25" y="47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" y="136"/>
                    <a:pt x="3" y="136"/>
                    <a:pt x="3" y="136"/>
                  </a:cubicBezTo>
                  <a:cubicBezTo>
                    <a:pt x="0" y="139"/>
                    <a:pt x="1" y="143"/>
                    <a:pt x="5" y="145"/>
                  </a:cubicBezTo>
                  <a:cubicBezTo>
                    <a:pt x="60" y="176"/>
                    <a:pt x="60" y="176"/>
                    <a:pt x="60" y="176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126" y="75"/>
                    <a:pt x="126" y="75"/>
                    <a:pt x="126" y="75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90" y="50"/>
                    <a:pt x="90" y="50"/>
                    <a:pt x="90" y="50"/>
                  </a:cubicBezTo>
                  <a:lnTo>
                    <a:pt x="91" y="47"/>
                  </a:lnTo>
                  <a:close/>
                  <a:moveTo>
                    <a:pt x="32" y="96"/>
                  </a:moveTo>
                  <a:cubicBezTo>
                    <a:pt x="31" y="47"/>
                    <a:pt x="31" y="47"/>
                    <a:pt x="31" y="47"/>
                  </a:cubicBezTo>
                  <a:cubicBezTo>
                    <a:pt x="31" y="39"/>
                    <a:pt x="35" y="32"/>
                    <a:pt x="42" y="27"/>
                  </a:cubicBezTo>
                  <a:cubicBezTo>
                    <a:pt x="49" y="23"/>
                    <a:pt x="58" y="23"/>
                    <a:pt x="65" y="27"/>
                  </a:cubicBezTo>
                  <a:cubicBezTo>
                    <a:pt x="78" y="35"/>
                    <a:pt x="78" y="35"/>
                    <a:pt x="78" y="35"/>
                  </a:cubicBezTo>
                  <a:lnTo>
                    <a:pt x="32" y="96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5F65798F-298A-4D5E-9590-60D161BBD8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1" y="1882"/>
              <a:ext cx="421" cy="432"/>
            </a:xfrm>
            <a:custGeom>
              <a:avLst/>
              <a:gdLst>
                <a:gd name="T0" fmla="*/ 8 w 122"/>
                <a:gd name="T1" fmla="*/ 67 h 125"/>
                <a:gd name="T2" fmla="*/ 20 w 122"/>
                <a:gd name="T3" fmla="*/ 65 h 125"/>
                <a:gd name="T4" fmla="*/ 32 w 122"/>
                <a:gd name="T5" fmla="*/ 22 h 125"/>
                <a:gd name="T6" fmla="*/ 105 w 122"/>
                <a:gd name="T7" fmla="*/ 22 h 125"/>
                <a:gd name="T8" fmla="*/ 114 w 122"/>
                <a:gd name="T9" fmla="*/ 78 h 125"/>
                <a:gd name="T10" fmla="*/ 112 w 122"/>
                <a:gd name="T11" fmla="*/ 87 h 125"/>
                <a:gd name="T12" fmla="*/ 110 w 122"/>
                <a:gd name="T13" fmla="*/ 98 h 125"/>
                <a:gd name="T14" fmla="*/ 110 w 122"/>
                <a:gd name="T15" fmla="*/ 107 h 125"/>
                <a:gd name="T16" fmla="*/ 106 w 122"/>
                <a:gd name="T17" fmla="*/ 109 h 125"/>
                <a:gd name="T18" fmla="*/ 100 w 122"/>
                <a:gd name="T19" fmla="*/ 106 h 125"/>
                <a:gd name="T20" fmla="*/ 98 w 122"/>
                <a:gd name="T21" fmla="*/ 106 h 125"/>
                <a:gd name="T22" fmla="*/ 88 w 122"/>
                <a:gd name="T23" fmla="*/ 118 h 125"/>
                <a:gd name="T24" fmla="*/ 67 w 122"/>
                <a:gd name="T25" fmla="*/ 119 h 125"/>
                <a:gd name="T26" fmla="*/ 49 w 122"/>
                <a:gd name="T27" fmla="*/ 104 h 125"/>
                <a:gd name="T28" fmla="*/ 40 w 122"/>
                <a:gd name="T29" fmla="*/ 102 h 125"/>
                <a:gd name="T30" fmla="*/ 25 w 122"/>
                <a:gd name="T31" fmla="*/ 107 h 125"/>
                <a:gd name="T32" fmla="*/ 0 w 122"/>
                <a:gd name="T33" fmla="*/ 93 h 125"/>
                <a:gd name="T34" fmla="*/ 8 w 122"/>
                <a:gd name="T35" fmla="*/ 67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125">
                  <a:moveTo>
                    <a:pt x="8" y="67"/>
                  </a:moveTo>
                  <a:cubicBezTo>
                    <a:pt x="12" y="66"/>
                    <a:pt x="16" y="66"/>
                    <a:pt x="20" y="65"/>
                  </a:cubicBezTo>
                  <a:cubicBezTo>
                    <a:pt x="17" y="50"/>
                    <a:pt x="21" y="34"/>
                    <a:pt x="32" y="22"/>
                  </a:cubicBezTo>
                  <a:cubicBezTo>
                    <a:pt x="51" y="0"/>
                    <a:pt x="85" y="1"/>
                    <a:pt x="105" y="22"/>
                  </a:cubicBezTo>
                  <a:cubicBezTo>
                    <a:pt x="122" y="40"/>
                    <a:pt x="121" y="60"/>
                    <a:pt x="114" y="78"/>
                  </a:cubicBezTo>
                  <a:cubicBezTo>
                    <a:pt x="112" y="87"/>
                    <a:pt x="112" y="87"/>
                    <a:pt x="112" y="87"/>
                  </a:cubicBezTo>
                  <a:cubicBezTo>
                    <a:pt x="111" y="91"/>
                    <a:pt x="110" y="94"/>
                    <a:pt x="110" y="98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110"/>
                    <a:pt x="108" y="111"/>
                    <a:pt x="106" y="109"/>
                  </a:cubicBezTo>
                  <a:cubicBezTo>
                    <a:pt x="100" y="106"/>
                    <a:pt x="100" y="106"/>
                    <a:pt x="100" y="106"/>
                  </a:cubicBezTo>
                  <a:cubicBezTo>
                    <a:pt x="99" y="105"/>
                    <a:pt x="98" y="105"/>
                    <a:pt x="98" y="106"/>
                  </a:cubicBezTo>
                  <a:cubicBezTo>
                    <a:pt x="94" y="111"/>
                    <a:pt x="91" y="115"/>
                    <a:pt x="88" y="118"/>
                  </a:cubicBezTo>
                  <a:cubicBezTo>
                    <a:pt x="82" y="124"/>
                    <a:pt x="73" y="125"/>
                    <a:pt x="67" y="119"/>
                  </a:cubicBezTo>
                  <a:cubicBezTo>
                    <a:pt x="61" y="115"/>
                    <a:pt x="55" y="109"/>
                    <a:pt x="49" y="104"/>
                  </a:cubicBezTo>
                  <a:cubicBezTo>
                    <a:pt x="47" y="102"/>
                    <a:pt x="43" y="101"/>
                    <a:pt x="40" y="102"/>
                  </a:cubicBezTo>
                  <a:cubicBezTo>
                    <a:pt x="36" y="103"/>
                    <a:pt x="31" y="105"/>
                    <a:pt x="25" y="107"/>
                  </a:cubicBezTo>
                  <a:cubicBezTo>
                    <a:pt x="11" y="113"/>
                    <a:pt x="0" y="93"/>
                    <a:pt x="0" y="93"/>
                  </a:cubicBezTo>
                  <a:lnTo>
                    <a:pt x="8" y="67"/>
                  </a:lnTo>
                  <a:close/>
                </a:path>
              </a:pathLst>
            </a:custGeom>
            <a:solidFill>
              <a:srgbClr val="725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6D047F2C-2FFF-4D6E-9A45-52C8828DD1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53" y="2213"/>
              <a:ext cx="265" cy="101"/>
            </a:xfrm>
            <a:custGeom>
              <a:avLst/>
              <a:gdLst>
                <a:gd name="T0" fmla="*/ 77 w 77"/>
                <a:gd name="T1" fmla="*/ 20 h 29"/>
                <a:gd name="T2" fmla="*/ 73 w 77"/>
                <a:gd name="T3" fmla="*/ 15 h 29"/>
                <a:gd name="T4" fmla="*/ 68 w 77"/>
                <a:gd name="T5" fmla="*/ 19 h 29"/>
                <a:gd name="T6" fmla="*/ 55 w 77"/>
                <a:gd name="T7" fmla="*/ 18 h 29"/>
                <a:gd name="T8" fmla="*/ 44 w 77"/>
                <a:gd name="T9" fmla="*/ 9 h 29"/>
                <a:gd name="T10" fmla="*/ 14 w 77"/>
                <a:gd name="T11" fmla="*/ 4 h 29"/>
                <a:gd name="T12" fmla="*/ 0 w 77"/>
                <a:gd name="T13" fmla="*/ 10 h 29"/>
                <a:gd name="T14" fmla="*/ 13 w 77"/>
                <a:gd name="T15" fmla="*/ 11 h 29"/>
                <a:gd name="T16" fmla="*/ 28 w 77"/>
                <a:gd name="T17" fmla="*/ 6 h 29"/>
                <a:gd name="T18" fmla="*/ 37 w 77"/>
                <a:gd name="T19" fmla="*/ 8 h 29"/>
                <a:gd name="T20" fmla="*/ 55 w 77"/>
                <a:gd name="T21" fmla="*/ 23 h 29"/>
                <a:gd name="T22" fmla="*/ 76 w 77"/>
                <a:gd name="T23" fmla="*/ 22 h 29"/>
                <a:gd name="T24" fmla="*/ 77 w 77"/>
                <a:gd name="T25" fmla="*/ 2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29">
                  <a:moveTo>
                    <a:pt x="77" y="20"/>
                  </a:moveTo>
                  <a:cubicBezTo>
                    <a:pt x="73" y="15"/>
                    <a:pt x="73" y="15"/>
                    <a:pt x="73" y="15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5" y="22"/>
                    <a:pt x="58" y="21"/>
                    <a:pt x="55" y="18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6" y="2"/>
                    <a:pt x="24" y="0"/>
                    <a:pt x="14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12"/>
                    <a:pt x="8" y="13"/>
                    <a:pt x="13" y="11"/>
                  </a:cubicBezTo>
                  <a:cubicBezTo>
                    <a:pt x="19" y="9"/>
                    <a:pt x="24" y="7"/>
                    <a:pt x="28" y="6"/>
                  </a:cubicBezTo>
                  <a:cubicBezTo>
                    <a:pt x="31" y="5"/>
                    <a:pt x="35" y="6"/>
                    <a:pt x="37" y="8"/>
                  </a:cubicBezTo>
                  <a:cubicBezTo>
                    <a:pt x="43" y="13"/>
                    <a:pt x="49" y="19"/>
                    <a:pt x="55" y="23"/>
                  </a:cubicBezTo>
                  <a:cubicBezTo>
                    <a:pt x="61" y="29"/>
                    <a:pt x="70" y="28"/>
                    <a:pt x="76" y="22"/>
                  </a:cubicBezTo>
                  <a:cubicBezTo>
                    <a:pt x="76" y="21"/>
                    <a:pt x="77" y="21"/>
                    <a:pt x="77" y="20"/>
                  </a:cubicBezTo>
                  <a:close/>
                </a:path>
              </a:pathLst>
            </a:custGeom>
            <a:solidFill>
              <a:srgbClr val="66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6">
              <a:extLst>
                <a:ext uri="{FF2B5EF4-FFF2-40B4-BE49-F238E27FC236}">
                  <a16:creationId xmlns:a16="http://schemas.microsoft.com/office/drawing/2014/main" id="{F620A638-DB59-49DA-A84F-EA5632E07C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32" y="2017"/>
              <a:ext cx="293" cy="196"/>
            </a:xfrm>
            <a:custGeom>
              <a:avLst/>
              <a:gdLst>
                <a:gd name="T0" fmla="*/ 85 w 85"/>
                <a:gd name="T1" fmla="*/ 15 h 57"/>
                <a:gd name="T2" fmla="*/ 69 w 85"/>
                <a:gd name="T3" fmla="*/ 0 h 57"/>
                <a:gd name="T4" fmla="*/ 59 w 85"/>
                <a:gd name="T5" fmla="*/ 4 h 57"/>
                <a:gd name="T6" fmla="*/ 51 w 85"/>
                <a:gd name="T7" fmla="*/ 2 h 57"/>
                <a:gd name="T8" fmla="*/ 31 w 85"/>
                <a:gd name="T9" fmla="*/ 22 h 57"/>
                <a:gd name="T10" fmla="*/ 32 w 85"/>
                <a:gd name="T11" fmla="*/ 27 h 57"/>
                <a:gd name="T12" fmla="*/ 20 w 85"/>
                <a:gd name="T13" fmla="*/ 36 h 57"/>
                <a:gd name="T14" fmla="*/ 12 w 85"/>
                <a:gd name="T15" fmla="*/ 33 h 57"/>
                <a:gd name="T16" fmla="*/ 0 w 85"/>
                <a:gd name="T17" fmla="*/ 45 h 57"/>
                <a:gd name="T18" fmla="*/ 12 w 85"/>
                <a:gd name="T19" fmla="*/ 57 h 57"/>
                <a:gd name="T20" fmla="*/ 23 w 85"/>
                <a:gd name="T21" fmla="*/ 50 h 57"/>
                <a:gd name="T22" fmla="*/ 33 w 85"/>
                <a:gd name="T23" fmla="*/ 54 h 57"/>
                <a:gd name="T24" fmla="*/ 47 w 85"/>
                <a:gd name="T25" fmla="*/ 41 h 57"/>
                <a:gd name="T26" fmla="*/ 51 w 85"/>
                <a:gd name="T27" fmla="*/ 42 h 57"/>
                <a:gd name="T28" fmla="*/ 70 w 85"/>
                <a:gd name="T29" fmla="*/ 30 h 57"/>
                <a:gd name="T30" fmla="*/ 85 w 85"/>
                <a:gd name="T31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5" h="57">
                  <a:moveTo>
                    <a:pt x="85" y="15"/>
                  </a:moveTo>
                  <a:cubicBezTo>
                    <a:pt x="85" y="7"/>
                    <a:pt x="78" y="0"/>
                    <a:pt x="69" y="0"/>
                  </a:cubicBezTo>
                  <a:cubicBezTo>
                    <a:pt x="66" y="0"/>
                    <a:pt x="62" y="1"/>
                    <a:pt x="59" y="4"/>
                  </a:cubicBezTo>
                  <a:cubicBezTo>
                    <a:pt x="57" y="3"/>
                    <a:pt x="54" y="2"/>
                    <a:pt x="51" y="2"/>
                  </a:cubicBezTo>
                  <a:cubicBezTo>
                    <a:pt x="40" y="2"/>
                    <a:pt x="31" y="11"/>
                    <a:pt x="31" y="22"/>
                  </a:cubicBezTo>
                  <a:cubicBezTo>
                    <a:pt x="31" y="24"/>
                    <a:pt x="32" y="26"/>
                    <a:pt x="32" y="27"/>
                  </a:cubicBezTo>
                  <a:cubicBezTo>
                    <a:pt x="27" y="28"/>
                    <a:pt x="22" y="31"/>
                    <a:pt x="20" y="36"/>
                  </a:cubicBezTo>
                  <a:cubicBezTo>
                    <a:pt x="18" y="34"/>
                    <a:pt x="15" y="33"/>
                    <a:pt x="12" y="33"/>
                  </a:cubicBezTo>
                  <a:cubicBezTo>
                    <a:pt x="5" y="33"/>
                    <a:pt x="0" y="38"/>
                    <a:pt x="0" y="45"/>
                  </a:cubicBezTo>
                  <a:cubicBezTo>
                    <a:pt x="0" y="51"/>
                    <a:pt x="5" y="57"/>
                    <a:pt x="12" y="57"/>
                  </a:cubicBezTo>
                  <a:cubicBezTo>
                    <a:pt x="17" y="57"/>
                    <a:pt x="21" y="54"/>
                    <a:pt x="23" y="50"/>
                  </a:cubicBezTo>
                  <a:cubicBezTo>
                    <a:pt x="25" y="52"/>
                    <a:pt x="29" y="54"/>
                    <a:pt x="33" y="54"/>
                  </a:cubicBezTo>
                  <a:cubicBezTo>
                    <a:pt x="40" y="54"/>
                    <a:pt x="46" y="49"/>
                    <a:pt x="47" y="41"/>
                  </a:cubicBezTo>
                  <a:cubicBezTo>
                    <a:pt x="48" y="42"/>
                    <a:pt x="50" y="42"/>
                    <a:pt x="51" y="42"/>
                  </a:cubicBezTo>
                  <a:cubicBezTo>
                    <a:pt x="60" y="42"/>
                    <a:pt x="67" y="37"/>
                    <a:pt x="70" y="30"/>
                  </a:cubicBezTo>
                  <a:cubicBezTo>
                    <a:pt x="78" y="30"/>
                    <a:pt x="85" y="23"/>
                    <a:pt x="85" y="15"/>
                  </a:cubicBezTo>
                  <a:close/>
                </a:path>
              </a:pathLst>
            </a:custGeom>
            <a:solidFill>
              <a:srgbClr val="66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7">
              <a:extLst>
                <a:ext uri="{FF2B5EF4-FFF2-40B4-BE49-F238E27FC236}">
                  <a16:creationId xmlns:a16="http://schemas.microsoft.com/office/drawing/2014/main" id="{A250E0A2-A2C9-4D75-A04A-2E2E1AAD9D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4" y="2220"/>
              <a:ext cx="38" cy="66"/>
            </a:xfrm>
            <a:custGeom>
              <a:avLst/>
              <a:gdLst>
                <a:gd name="T0" fmla="*/ 9 w 11"/>
                <a:gd name="T1" fmla="*/ 19 h 19"/>
                <a:gd name="T2" fmla="*/ 7 w 11"/>
                <a:gd name="T3" fmla="*/ 0 h 19"/>
                <a:gd name="T4" fmla="*/ 11 w 11"/>
                <a:gd name="T5" fmla="*/ 18 h 19"/>
                <a:gd name="T6" fmla="*/ 9 w 11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9">
                  <a:moveTo>
                    <a:pt x="9" y="19"/>
                  </a:moveTo>
                  <a:cubicBezTo>
                    <a:pt x="9" y="19"/>
                    <a:pt x="0" y="14"/>
                    <a:pt x="7" y="0"/>
                  </a:cubicBezTo>
                  <a:cubicBezTo>
                    <a:pt x="9" y="7"/>
                    <a:pt x="11" y="18"/>
                    <a:pt x="11" y="18"/>
                  </a:cubicBezTo>
                  <a:lnTo>
                    <a:pt x="9" y="19"/>
                  </a:lnTo>
                  <a:close/>
                </a:path>
              </a:pathLst>
            </a:custGeom>
            <a:solidFill>
              <a:srgbClr val="EB4F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8">
              <a:extLst>
                <a:ext uri="{FF2B5EF4-FFF2-40B4-BE49-F238E27FC236}">
                  <a16:creationId xmlns:a16="http://schemas.microsoft.com/office/drawing/2014/main" id="{6EB31390-08E7-439A-8FFD-A67B4D4208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98" y="2220"/>
              <a:ext cx="45" cy="63"/>
            </a:xfrm>
            <a:custGeom>
              <a:avLst/>
              <a:gdLst>
                <a:gd name="T0" fmla="*/ 13 w 13"/>
                <a:gd name="T1" fmla="*/ 11 h 18"/>
                <a:gd name="T2" fmla="*/ 3 w 13"/>
                <a:gd name="T3" fmla="*/ 0 h 18"/>
                <a:gd name="T4" fmla="*/ 7 w 13"/>
                <a:gd name="T5" fmla="*/ 18 h 18"/>
                <a:gd name="T6" fmla="*/ 13 w 13"/>
                <a:gd name="T7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8">
                  <a:moveTo>
                    <a:pt x="13" y="11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0" y="10"/>
                    <a:pt x="7" y="18"/>
                  </a:cubicBezTo>
                  <a:cubicBezTo>
                    <a:pt x="9" y="16"/>
                    <a:pt x="13" y="11"/>
                    <a:pt x="13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9">
              <a:extLst>
                <a:ext uri="{FF2B5EF4-FFF2-40B4-BE49-F238E27FC236}">
                  <a16:creationId xmlns:a16="http://schemas.microsoft.com/office/drawing/2014/main" id="{35BED37C-79BD-46F5-A71D-9274C6E3EA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0" y="2207"/>
              <a:ext cx="52" cy="13"/>
            </a:xfrm>
            <a:custGeom>
              <a:avLst/>
              <a:gdLst>
                <a:gd name="T0" fmla="*/ 0 w 15"/>
                <a:gd name="T1" fmla="*/ 4 h 4"/>
                <a:gd name="T2" fmla="*/ 8 w 15"/>
                <a:gd name="T3" fmla="*/ 0 h 4"/>
                <a:gd name="T4" fmla="*/ 15 w 15"/>
                <a:gd name="T5" fmla="*/ 4 h 4"/>
                <a:gd name="T6" fmla="*/ 0 w 1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4">
                  <a:moveTo>
                    <a:pt x="0" y="4"/>
                  </a:moveTo>
                  <a:cubicBezTo>
                    <a:pt x="2" y="1"/>
                    <a:pt x="5" y="0"/>
                    <a:pt x="8" y="0"/>
                  </a:cubicBezTo>
                  <a:cubicBezTo>
                    <a:pt x="11" y="0"/>
                    <a:pt x="13" y="1"/>
                    <a:pt x="15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66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Oval 30">
              <a:extLst>
                <a:ext uri="{FF2B5EF4-FFF2-40B4-BE49-F238E27FC236}">
                  <a16:creationId xmlns:a16="http://schemas.microsoft.com/office/drawing/2014/main" id="{B388DB57-C8FF-46F1-A52E-775302030A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14" y="2103"/>
              <a:ext cx="76" cy="72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31">
              <a:extLst>
                <a:ext uri="{FF2B5EF4-FFF2-40B4-BE49-F238E27FC236}">
                  <a16:creationId xmlns:a16="http://schemas.microsoft.com/office/drawing/2014/main" id="{672DEAB2-FBB3-4B56-8C42-55871713EC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9" y="2469"/>
              <a:ext cx="172" cy="121"/>
            </a:xfrm>
            <a:custGeom>
              <a:avLst/>
              <a:gdLst>
                <a:gd name="T0" fmla="*/ 0 w 50"/>
                <a:gd name="T1" fmla="*/ 11 h 35"/>
                <a:gd name="T2" fmla="*/ 22 w 50"/>
                <a:gd name="T3" fmla="*/ 2 h 35"/>
                <a:gd name="T4" fmla="*/ 38 w 50"/>
                <a:gd name="T5" fmla="*/ 8 h 35"/>
                <a:gd name="T6" fmla="*/ 50 w 50"/>
                <a:gd name="T7" fmla="*/ 31 h 35"/>
                <a:gd name="T8" fmla="*/ 48 w 50"/>
                <a:gd name="T9" fmla="*/ 32 h 35"/>
                <a:gd name="T10" fmla="*/ 35 w 50"/>
                <a:gd name="T11" fmla="*/ 31 h 35"/>
                <a:gd name="T12" fmla="*/ 35 w 50"/>
                <a:gd name="T13" fmla="*/ 31 h 35"/>
                <a:gd name="T14" fmla="*/ 31 w 50"/>
                <a:gd name="T15" fmla="*/ 33 h 35"/>
                <a:gd name="T16" fmla="*/ 23 w 50"/>
                <a:gd name="T17" fmla="*/ 33 h 35"/>
                <a:gd name="T18" fmla="*/ 14 w 50"/>
                <a:gd name="T19" fmla="*/ 25 h 35"/>
                <a:gd name="T20" fmla="*/ 0 w 50"/>
                <a:gd name="T21" fmla="*/ 25 h 35"/>
                <a:gd name="T22" fmla="*/ 0 w 50"/>
                <a:gd name="T2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35">
                  <a:moveTo>
                    <a:pt x="0" y="11"/>
                  </a:moveTo>
                  <a:cubicBezTo>
                    <a:pt x="22" y="2"/>
                    <a:pt x="22" y="2"/>
                    <a:pt x="22" y="2"/>
                  </a:cubicBezTo>
                  <a:cubicBezTo>
                    <a:pt x="28" y="0"/>
                    <a:pt x="35" y="2"/>
                    <a:pt x="38" y="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4" y="35"/>
                    <a:pt x="39" y="34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5"/>
                    <a:pt x="23" y="33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0" y="25"/>
                    <a:pt x="0" y="25"/>
                    <a:pt x="0" y="25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66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32">
              <a:extLst>
                <a:ext uri="{FF2B5EF4-FFF2-40B4-BE49-F238E27FC236}">
                  <a16:creationId xmlns:a16="http://schemas.microsoft.com/office/drawing/2014/main" id="{AB818880-CDEE-49C3-968D-2A00722173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573"/>
              <a:ext cx="442" cy="249"/>
            </a:xfrm>
            <a:custGeom>
              <a:avLst/>
              <a:gdLst>
                <a:gd name="T0" fmla="*/ 42 w 128"/>
                <a:gd name="T1" fmla="*/ 6 h 72"/>
                <a:gd name="T2" fmla="*/ 34 w 128"/>
                <a:gd name="T3" fmla="*/ 22 h 72"/>
                <a:gd name="T4" fmla="*/ 37 w 128"/>
                <a:gd name="T5" fmla="*/ 28 h 72"/>
                <a:gd name="T6" fmla="*/ 128 w 128"/>
                <a:gd name="T7" fmla="*/ 63 h 72"/>
                <a:gd name="T8" fmla="*/ 120 w 128"/>
                <a:gd name="T9" fmla="*/ 72 h 72"/>
                <a:gd name="T10" fmla="*/ 31 w 128"/>
                <a:gd name="T11" fmla="*/ 50 h 72"/>
                <a:gd name="T12" fmla="*/ 0 w 128"/>
                <a:gd name="T13" fmla="*/ 19 h 72"/>
                <a:gd name="T14" fmla="*/ 15 w 128"/>
                <a:gd name="T15" fmla="*/ 0 h 72"/>
                <a:gd name="T16" fmla="*/ 42 w 128"/>
                <a:gd name="T17" fmla="*/ 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72">
                  <a:moveTo>
                    <a:pt x="42" y="6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3" y="25"/>
                    <a:pt x="34" y="27"/>
                    <a:pt x="37" y="28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20" y="72"/>
                    <a:pt x="120" y="72"/>
                    <a:pt x="120" y="72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42" y="6"/>
                  </a:lnTo>
                  <a:close/>
                </a:path>
              </a:pathLst>
            </a:custGeom>
            <a:solidFill>
              <a:srgbClr val="66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33">
              <a:extLst>
                <a:ext uri="{FF2B5EF4-FFF2-40B4-BE49-F238E27FC236}">
                  <a16:creationId xmlns:a16="http://schemas.microsoft.com/office/drawing/2014/main" id="{FBE8BB6D-33B8-4F82-B0D9-943B5220AA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4" y="3782"/>
              <a:ext cx="301" cy="166"/>
            </a:xfrm>
            <a:custGeom>
              <a:avLst/>
              <a:gdLst>
                <a:gd name="T0" fmla="*/ 0 w 87"/>
                <a:gd name="T1" fmla="*/ 35 h 48"/>
                <a:gd name="T2" fmla="*/ 6 w 87"/>
                <a:gd name="T3" fmla="*/ 48 h 48"/>
                <a:gd name="T4" fmla="*/ 15 w 87"/>
                <a:gd name="T5" fmla="*/ 48 h 48"/>
                <a:gd name="T6" fmla="*/ 15 w 87"/>
                <a:gd name="T7" fmla="*/ 35 h 48"/>
                <a:gd name="T8" fmla="*/ 15 w 87"/>
                <a:gd name="T9" fmla="*/ 35 h 48"/>
                <a:gd name="T10" fmla="*/ 43 w 87"/>
                <a:gd name="T11" fmla="*/ 48 h 48"/>
                <a:gd name="T12" fmla="*/ 44 w 87"/>
                <a:gd name="T13" fmla="*/ 48 h 48"/>
                <a:gd name="T14" fmla="*/ 83 w 87"/>
                <a:gd name="T15" fmla="*/ 48 h 48"/>
                <a:gd name="T16" fmla="*/ 85 w 87"/>
                <a:gd name="T17" fmla="*/ 43 h 48"/>
                <a:gd name="T18" fmla="*/ 61 w 87"/>
                <a:gd name="T19" fmla="*/ 32 h 48"/>
                <a:gd name="T20" fmla="*/ 46 w 87"/>
                <a:gd name="T21" fmla="*/ 39 h 48"/>
                <a:gd name="T22" fmla="*/ 7 w 87"/>
                <a:gd name="T23" fmla="*/ 0 h 48"/>
                <a:gd name="T24" fmla="*/ 0 w 87"/>
                <a:gd name="T25" fmla="*/ 3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48">
                  <a:moveTo>
                    <a:pt x="0" y="35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25" y="36"/>
                    <a:pt x="35" y="40"/>
                    <a:pt x="43" y="48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6" y="48"/>
                    <a:pt x="87" y="45"/>
                    <a:pt x="85" y="43"/>
                  </a:cubicBezTo>
                  <a:cubicBezTo>
                    <a:pt x="79" y="38"/>
                    <a:pt x="69" y="32"/>
                    <a:pt x="61" y="3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0" y="17"/>
                    <a:pt x="0" y="3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34">
              <a:extLst>
                <a:ext uri="{FF2B5EF4-FFF2-40B4-BE49-F238E27FC236}">
                  <a16:creationId xmlns:a16="http://schemas.microsoft.com/office/drawing/2014/main" id="{1E50E5C9-CA46-4634-B1F9-CF6B9E2B0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2" y="1871"/>
              <a:ext cx="473" cy="322"/>
            </a:xfrm>
            <a:custGeom>
              <a:avLst/>
              <a:gdLst>
                <a:gd name="T0" fmla="*/ 137 w 137"/>
                <a:gd name="T1" fmla="*/ 45 h 93"/>
                <a:gd name="T2" fmla="*/ 99 w 137"/>
                <a:gd name="T3" fmla="*/ 5 h 93"/>
                <a:gd name="T4" fmla="*/ 91 w 137"/>
                <a:gd name="T5" fmla="*/ 1 h 93"/>
                <a:gd name="T6" fmla="*/ 82 w 137"/>
                <a:gd name="T7" fmla="*/ 5 h 93"/>
                <a:gd name="T8" fmla="*/ 81 w 137"/>
                <a:gd name="T9" fmla="*/ 5 h 93"/>
                <a:gd name="T10" fmla="*/ 70 w 137"/>
                <a:gd name="T11" fmla="*/ 0 h 93"/>
                <a:gd name="T12" fmla="*/ 56 w 137"/>
                <a:gd name="T13" fmla="*/ 8 h 93"/>
                <a:gd name="T14" fmla="*/ 43 w 137"/>
                <a:gd name="T15" fmla="*/ 19 h 93"/>
                <a:gd name="T16" fmla="*/ 41 w 137"/>
                <a:gd name="T17" fmla="*/ 18 h 93"/>
                <a:gd name="T18" fmla="*/ 26 w 137"/>
                <a:gd name="T19" fmla="*/ 33 h 93"/>
                <a:gd name="T20" fmla="*/ 28 w 137"/>
                <a:gd name="T21" fmla="*/ 41 h 93"/>
                <a:gd name="T22" fmla="*/ 15 w 137"/>
                <a:gd name="T23" fmla="*/ 57 h 93"/>
                <a:gd name="T24" fmla="*/ 15 w 137"/>
                <a:gd name="T25" fmla="*/ 58 h 93"/>
                <a:gd name="T26" fmla="*/ 11 w 137"/>
                <a:gd name="T27" fmla="*/ 58 h 93"/>
                <a:gd name="T28" fmla="*/ 0 w 137"/>
                <a:gd name="T29" fmla="*/ 69 h 93"/>
                <a:gd name="T30" fmla="*/ 7 w 137"/>
                <a:gd name="T31" fmla="*/ 80 h 93"/>
                <a:gd name="T32" fmla="*/ 6 w 137"/>
                <a:gd name="T33" fmla="*/ 84 h 93"/>
                <a:gd name="T34" fmla="*/ 15 w 137"/>
                <a:gd name="T35" fmla="*/ 93 h 93"/>
                <a:gd name="T36" fmla="*/ 22 w 137"/>
                <a:gd name="T37" fmla="*/ 89 h 93"/>
                <a:gd name="T38" fmla="*/ 32 w 137"/>
                <a:gd name="T39" fmla="*/ 93 h 93"/>
                <a:gd name="T40" fmla="*/ 45 w 137"/>
                <a:gd name="T41" fmla="*/ 87 h 93"/>
                <a:gd name="T42" fmla="*/ 54 w 137"/>
                <a:gd name="T43" fmla="*/ 91 h 93"/>
                <a:gd name="T44" fmla="*/ 68 w 137"/>
                <a:gd name="T45" fmla="*/ 78 h 93"/>
                <a:gd name="T46" fmla="*/ 68 w 137"/>
                <a:gd name="T47" fmla="*/ 77 h 93"/>
                <a:gd name="T48" fmla="*/ 69 w 137"/>
                <a:gd name="T49" fmla="*/ 76 h 93"/>
                <a:gd name="T50" fmla="*/ 91 w 137"/>
                <a:gd name="T51" fmla="*/ 67 h 93"/>
                <a:gd name="T52" fmla="*/ 93 w 137"/>
                <a:gd name="T53" fmla="*/ 68 h 93"/>
                <a:gd name="T54" fmla="*/ 108 w 137"/>
                <a:gd name="T55" fmla="*/ 53 h 93"/>
                <a:gd name="T56" fmla="*/ 108 w 137"/>
                <a:gd name="T57" fmla="*/ 53 h 93"/>
                <a:gd name="T58" fmla="*/ 113 w 137"/>
                <a:gd name="T59" fmla="*/ 51 h 93"/>
                <a:gd name="T60" fmla="*/ 124 w 137"/>
                <a:gd name="T61" fmla="*/ 58 h 93"/>
                <a:gd name="T62" fmla="*/ 137 w 137"/>
                <a:gd name="T63" fmla="*/ 45 h 93"/>
                <a:gd name="T64" fmla="*/ 137 w 137"/>
                <a:gd name="T65" fmla="*/ 45 h 93"/>
                <a:gd name="T66" fmla="*/ 137 w 137"/>
                <a:gd name="T67" fmla="*/ 4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7" h="93">
                  <a:moveTo>
                    <a:pt x="137" y="45"/>
                  </a:moveTo>
                  <a:cubicBezTo>
                    <a:pt x="137" y="23"/>
                    <a:pt x="121" y="6"/>
                    <a:pt x="99" y="5"/>
                  </a:cubicBezTo>
                  <a:cubicBezTo>
                    <a:pt x="97" y="3"/>
                    <a:pt x="94" y="1"/>
                    <a:pt x="91" y="1"/>
                  </a:cubicBezTo>
                  <a:cubicBezTo>
                    <a:pt x="87" y="1"/>
                    <a:pt x="84" y="3"/>
                    <a:pt x="82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79" y="2"/>
                    <a:pt x="75" y="0"/>
                    <a:pt x="70" y="0"/>
                  </a:cubicBezTo>
                  <a:cubicBezTo>
                    <a:pt x="64" y="0"/>
                    <a:pt x="59" y="3"/>
                    <a:pt x="56" y="8"/>
                  </a:cubicBezTo>
                  <a:cubicBezTo>
                    <a:pt x="51" y="11"/>
                    <a:pt x="47" y="14"/>
                    <a:pt x="43" y="19"/>
                  </a:cubicBezTo>
                  <a:cubicBezTo>
                    <a:pt x="42" y="19"/>
                    <a:pt x="42" y="18"/>
                    <a:pt x="41" y="18"/>
                  </a:cubicBezTo>
                  <a:cubicBezTo>
                    <a:pt x="33" y="18"/>
                    <a:pt x="26" y="25"/>
                    <a:pt x="26" y="33"/>
                  </a:cubicBezTo>
                  <a:cubicBezTo>
                    <a:pt x="26" y="36"/>
                    <a:pt x="27" y="39"/>
                    <a:pt x="28" y="41"/>
                  </a:cubicBezTo>
                  <a:cubicBezTo>
                    <a:pt x="20" y="43"/>
                    <a:pt x="15" y="49"/>
                    <a:pt x="15" y="57"/>
                  </a:cubicBezTo>
                  <a:cubicBezTo>
                    <a:pt x="15" y="57"/>
                    <a:pt x="15" y="58"/>
                    <a:pt x="15" y="58"/>
                  </a:cubicBezTo>
                  <a:cubicBezTo>
                    <a:pt x="14" y="58"/>
                    <a:pt x="13" y="58"/>
                    <a:pt x="11" y="58"/>
                  </a:cubicBezTo>
                  <a:cubicBezTo>
                    <a:pt x="5" y="58"/>
                    <a:pt x="0" y="63"/>
                    <a:pt x="0" y="69"/>
                  </a:cubicBezTo>
                  <a:cubicBezTo>
                    <a:pt x="0" y="74"/>
                    <a:pt x="3" y="78"/>
                    <a:pt x="7" y="80"/>
                  </a:cubicBezTo>
                  <a:cubicBezTo>
                    <a:pt x="6" y="81"/>
                    <a:pt x="6" y="82"/>
                    <a:pt x="6" y="84"/>
                  </a:cubicBezTo>
                  <a:cubicBezTo>
                    <a:pt x="6" y="89"/>
                    <a:pt x="10" y="93"/>
                    <a:pt x="15" y="93"/>
                  </a:cubicBezTo>
                  <a:cubicBezTo>
                    <a:pt x="18" y="93"/>
                    <a:pt x="20" y="91"/>
                    <a:pt x="22" y="89"/>
                  </a:cubicBezTo>
                  <a:cubicBezTo>
                    <a:pt x="25" y="91"/>
                    <a:pt x="28" y="93"/>
                    <a:pt x="32" y="93"/>
                  </a:cubicBezTo>
                  <a:cubicBezTo>
                    <a:pt x="37" y="93"/>
                    <a:pt x="42" y="91"/>
                    <a:pt x="45" y="87"/>
                  </a:cubicBezTo>
                  <a:cubicBezTo>
                    <a:pt x="47" y="90"/>
                    <a:pt x="51" y="91"/>
                    <a:pt x="54" y="91"/>
                  </a:cubicBezTo>
                  <a:cubicBezTo>
                    <a:pt x="62" y="91"/>
                    <a:pt x="68" y="85"/>
                    <a:pt x="68" y="78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9" y="76"/>
                    <a:pt x="69" y="76"/>
                    <a:pt x="69" y="76"/>
                  </a:cubicBezTo>
                  <a:cubicBezTo>
                    <a:pt x="77" y="76"/>
                    <a:pt x="85" y="73"/>
                    <a:pt x="91" y="67"/>
                  </a:cubicBezTo>
                  <a:cubicBezTo>
                    <a:pt x="92" y="68"/>
                    <a:pt x="93" y="68"/>
                    <a:pt x="93" y="68"/>
                  </a:cubicBezTo>
                  <a:cubicBezTo>
                    <a:pt x="101" y="68"/>
                    <a:pt x="108" y="61"/>
                    <a:pt x="108" y="5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10" y="53"/>
                    <a:pt x="112" y="53"/>
                    <a:pt x="113" y="51"/>
                  </a:cubicBezTo>
                  <a:cubicBezTo>
                    <a:pt x="116" y="55"/>
                    <a:pt x="120" y="58"/>
                    <a:pt x="124" y="58"/>
                  </a:cubicBezTo>
                  <a:cubicBezTo>
                    <a:pt x="132" y="58"/>
                    <a:pt x="137" y="52"/>
                    <a:pt x="137" y="45"/>
                  </a:cubicBezTo>
                  <a:cubicBezTo>
                    <a:pt x="137" y="45"/>
                    <a:pt x="137" y="45"/>
                    <a:pt x="137" y="45"/>
                  </a:cubicBezTo>
                  <a:cubicBezTo>
                    <a:pt x="137" y="45"/>
                    <a:pt x="137" y="45"/>
                    <a:pt x="137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35">
              <a:extLst>
                <a:ext uri="{FF2B5EF4-FFF2-40B4-BE49-F238E27FC236}">
                  <a16:creationId xmlns:a16="http://schemas.microsoft.com/office/drawing/2014/main" id="{FE944DBE-280C-49C7-BDA0-68D8FF6BE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9" y="2148"/>
              <a:ext cx="24" cy="27"/>
            </a:xfrm>
            <a:custGeom>
              <a:avLst/>
              <a:gdLst>
                <a:gd name="T0" fmla="*/ 3 w 7"/>
                <a:gd name="T1" fmla="*/ 8 h 8"/>
                <a:gd name="T2" fmla="*/ 0 w 7"/>
                <a:gd name="T3" fmla="*/ 2 h 8"/>
                <a:gd name="T4" fmla="*/ 3 w 7"/>
                <a:gd name="T5" fmla="*/ 0 h 8"/>
                <a:gd name="T6" fmla="*/ 7 w 7"/>
                <a:gd name="T7" fmla="*/ 4 h 8"/>
                <a:gd name="T8" fmla="*/ 3 w 7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3" y="8"/>
                  </a:moveTo>
                  <a:cubicBezTo>
                    <a:pt x="3" y="6"/>
                    <a:pt x="2" y="4"/>
                    <a:pt x="0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7"/>
                    <a:pt x="6" y="8"/>
                    <a:pt x="3" y="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36">
              <a:extLst>
                <a:ext uri="{FF2B5EF4-FFF2-40B4-BE49-F238E27FC236}">
                  <a16:creationId xmlns:a16="http://schemas.microsoft.com/office/drawing/2014/main" id="{F04378A4-8E3D-4076-A4F0-23CBB6A3B2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22" y="2110"/>
              <a:ext cx="55" cy="34"/>
            </a:xfrm>
            <a:custGeom>
              <a:avLst/>
              <a:gdLst>
                <a:gd name="T0" fmla="*/ 15 w 16"/>
                <a:gd name="T1" fmla="*/ 10 h 10"/>
                <a:gd name="T2" fmla="*/ 14 w 16"/>
                <a:gd name="T3" fmla="*/ 9 h 10"/>
                <a:gd name="T4" fmla="*/ 1 w 16"/>
                <a:gd name="T5" fmla="*/ 6 h 10"/>
                <a:gd name="T6" fmla="*/ 0 w 16"/>
                <a:gd name="T7" fmla="*/ 5 h 10"/>
                <a:gd name="T8" fmla="*/ 0 w 16"/>
                <a:gd name="T9" fmla="*/ 4 h 10"/>
                <a:gd name="T10" fmla="*/ 16 w 16"/>
                <a:gd name="T11" fmla="*/ 8 h 10"/>
                <a:gd name="T12" fmla="*/ 15 w 16"/>
                <a:gd name="T13" fmla="*/ 9 h 10"/>
                <a:gd name="T14" fmla="*/ 15 w 16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0">
                  <a:moveTo>
                    <a:pt x="15" y="10"/>
                  </a:moveTo>
                  <a:cubicBezTo>
                    <a:pt x="14" y="10"/>
                    <a:pt x="14" y="9"/>
                    <a:pt x="14" y="9"/>
                  </a:cubicBezTo>
                  <a:cubicBezTo>
                    <a:pt x="13" y="9"/>
                    <a:pt x="9" y="3"/>
                    <a:pt x="1" y="6"/>
                  </a:cubicBezTo>
                  <a:cubicBezTo>
                    <a:pt x="1" y="6"/>
                    <a:pt x="0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0" y="0"/>
                    <a:pt x="16" y="8"/>
                    <a:pt x="16" y="8"/>
                  </a:cubicBezTo>
                  <a:cubicBezTo>
                    <a:pt x="16" y="8"/>
                    <a:pt x="16" y="9"/>
                    <a:pt x="15" y="9"/>
                  </a:cubicBezTo>
                  <a:cubicBezTo>
                    <a:pt x="15" y="9"/>
                    <a:pt x="15" y="10"/>
                    <a:pt x="15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37">
              <a:extLst>
                <a:ext uri="{FF2B5EF4-FFF2-40B4-BE49-F238E27FC236}">
                  <a16:creationId xmlns:a16="http://schemas.microsoft.com/office/drawing/2014/main" id="{959F4F21-B661-4A83-8C2A-E0095AC891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5" y="2562"/>
              <a:ext cx="621" cy="353"/>
            </a:xfrm>
            <a:custGeom>
              <a:avLst/>
              <a:gdLst>
                <a:gd name="T0" fmla="*/ 174 w 180"/>
                <a:gd name="T1" fmla="*/ 88 h 102"/>
                <a:gd name="T2" fmla="*/ 171 w 180"/>
                <a:gd name="T3" fmla="*/ 88 h 102"/>
                <a:gd name="T4" fmla="*/ 165 w 180"/>
                <a:gd name="T5" fmla="*/ 83 h 102"/>
                <a:gd name="T6" fmla="*/ 161 w 180"/>
                <a:gd name="T7" fmla="*/ 73 h 102"/>
                <a:gd name="T8" fmla="*/ 162 w 180"/>
                <a:gd name="T9" fmla="*/ 74 h 102"/>
                <a:gd name="T10" fmla="*/ 166 w 180"/>
                <a:gd name="T11" fmla="*/ 79 h 102"/>
                <a:gd name="T12" fmla="*/ 169 w 180"/>
                <a:gd name="T13" fmla="*/ 81 h 102"/>
                <a:gd name="T14" fmla="*/ 172 w 180"/>
                <a:gd name="T15" fmla="*/ 81 h 102"/>
                <a:gd name="T16" fmla="*/ 170 w 180"/>
                <a:gd name="T17" fmla="*/ 70 h 102"/>
                <a:gd name="T18" fmla="*/ 157 w 180"/>
                <a:gd name="T19" fmla="*/ 65 h 102"/>
                <a:gd name="T20" fmla="*/ 131 w 180"/>
                <a:gd name="T21" fmla="*/ 54 h 102"/>
                <a:gd name="T22" fmla="*/ 42 w 180"/>
                <a:gd name="T23" fmla="*/ 9 h 102"/>
                <a:gd name="T24" fmla="*/ 30 w 180"/>
                <a:gd name="T25" fmla="*/ 0 h 102"/>
                <a:gd name="T26" fmla="*/ 0 w 180"/>
                <a:gd name="T27" fmla="*/ 14 h 102"/>
                <a:gd name="T28" fmla="*/ 7 w 180"/>
                <a:gd name="T29" fmla="*/ 21 h 102"/>
                <a:gd name="T30" fmla="*/ 74 w 180"/>
                <a:gd name="T31" fmla="*/ 59 h 102"/>
                <a:gd name="T32" fmla="*/ 124 w 180"/>
                <a:gd name="T33" fmla="*/ 70 h 102"/>
                <a:gd name="T34" fmla="*/ 131 w 180"/>
                <a:gd name="T35" fmla="*/ 75 h 102"/>
                <a:gd name="T36" fmla="*/ 141 w 180"/>
                <a:gd name="T37" fmla="*/ 94 h 102"/>
                <a:gd name="T38" fmla="*/ 157 w 180"/>
                <a:gd name="T39" fmla="*/ 101 h 102"/>
                <a:gd name="T40" fmla="*/ 170 w 180"/>
                <a:gd name="T41" fmla="*/ 98 h 102"/>
                <a:gd name="T42" fmla="*/ 178 w 180"/>
                <a:gd name="T43" fmla="*/ 93 h 102"/>
                <a:gd name="T44" fmla="*/ 180 w 180"/>
                <a:gd name="T45" fmla="*/ 91 h 102"/>
                <a:gd name="T46" fmla="*/ 174 w 180"/>
                <a:gd name="T47" fmla="*/ 8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0" h="102">
                  <a:moveTo>
                    <a:pt x="174" y="88"/>
                  </a:moveTo>
                  <a:cubicBezTo>
                    <a:pt x="171" y="88"/>
                    <a:pt x="171" y="88"/>
                    <a:pt x="171" y="88"/>
                  </a:cubicBezTo>
                  <a:cubicBezTo>
                    <a:pt x="168" y="88"/>
                    <a:pt x="166" y="86"/>
                    <a:pt x="165" y="83"/>
                  </a:cubicBezTo>
                  <a:cubicBezTo>
                    <a:pt x="161" y="73"/>
                    <a:pt x="161" y="73"/>
                    <a:pt x="161" y="73"/>
                  </a:cubicBezTo>
                  <a:cubicBezTo>
                    <a:pt x="162" y="74"/>
                    <a:pt x="162" y="74"/>
                    <a:pt x="162" y="74"/>
                  </a:cubicBezTo>
                  <a:cubicBezTo>
                    <a:pt x="166" y="79"/>
                    <a:pt x="166" y="79"/>
                    <a:pt x="166" y="79"/>
                  </a:cubicBezTo>
                  <a:cubicBezTo>
                    <a:pt x="166" y="80"/>
                    <a:pt x="168" y="81"/>
                    <a:pt x="169" y="81"/>
                  </a:cubicBezTo>
                  <a:cubicBezTo>
                    <a:pt x="172" y="81"/>
                    <a:pt x="172" y="81"/>
                    <a:pt x="172" y="81"/>
                  </a:cubicBezTo>
                  <a:cubicBezTo>
                    <a:pt x="170" y="70"/>
                    <a:pt x="170" y="70"/>
                    <a:pt x="170" y="70"/>
                  </a:cubicBezTo>
                  <a:cubicBezTo>
                    <a:pt x="157" y="65"/>
                    <a:pt x="157" y="65"/>
                    <a:pt x="157" y="65"/>
                  </a:cubicBezTo>
                  <a:cubicBezTo>
                    <a:pt x="131" y="54"/>
                    <a:pt x="131" y="54"/>
                    <a:pt x="131" y="54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25" y="40"/>
                    <a:pt x="49" y="53"/>
                    <a:pt x="74" y="59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31" y="75"/>
                    <a:pt x="131" y="75"/>
                    <a:pt x="131" y="75"/>
                  </a:cubicBezTo>
                  <a:cubicBezTo>
                    <a:pt x="141" y="94"/>
                    <a:pt x="141" y="94"/>
                    <a:pt x="141" y="94"/>
                  </a:cubicBezTo>
                  <a:cubicBezTo>
                    <a:pt x="144" y="100"/>
                    <a:pt x="150" y="102"/>
                    <a:pt x="157" y="101"/>
                  </a:cubicBezTo>
                  <a:cubicBezTo>
                    <a:pt x="170" y="98"/>
                    <a:pt x="170" y="98"/>
                    <a:pt x="170" y="98"/>
                  </a:cubicBezTo>
                  <a:cubicBezTo>
                    <a:pt x="173" y="98"/>
                    <a:pt x="176" y="96"/>
                    <a:pt x="178" y="93"/>
                  </a:cubicBezTo>
                  <a:cubicBezTo>
                    <a:pt x="180" y="91"/>
                    <a:pt x="180" y="91"/>
                    <a:pt x="180" y="91"/>
                  </a:cubicBezTo>
                  <a:lnTo>
                    <a:pt x="174" y="88"/>
                  </a:lnTo>
                  <a:close/>
                </a:path>
              </a:pathLst>
            </a:custGeom>
            <a:solidFill>
              <a:srgbClr val="725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38">
              <a:extLst>
                <a:ext uri="{FF2B5EF4-FFF2-40B4-BE49-F238E27FC236}">
                  <a16:creationId xmlns:a16="http://schemas.microsoft.com/office/drawing/2014/main" id="{D06B36A2-2DDA-4FB7-B3C3-142F391F0B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81" y="2870"/>
              <a:ext cx="280" cy="124"/>
            </a:xfrm>
            <a:custGeom>
              <a:avLst/>
              <a:gdLst>
                <a:gd name="T0" fmla="*/ 78 w 81"/>
                <a:gd name="T1" fmla="*/ 36 h 36"/>
                <a:gd name="T2" fmla="*/ 76 w 81"/>
                <a:gd name="T3" fmla="*/ 36 h 36"/>
                <a:gd name="T4" fmla="*/ 2 w 81"/>
                <a:gd name="T5" fmla="*/ 5 h 36"/>
                <a:gd name="T6" fmla="*/ 0 w 81"/>
                <a:gd name="T7" fmla="*/ 2 h 36"/>
                <a:gd name="T8" fmla="*/ 2 w 81"/>
                <a:gd name="T9" fmla="*/ 0 h 36"/>
                <a:gd name="T10" fmla="*/ 80 w 81"/>
                <a:gd name="T11" fmla="*/ 32 h 36"/>
                <a:gd name="T12" fmla="*/ 80 w 81"/>
                <a:gd name="T13" fmla="*/ 36 h 36"/>
                <a:gd name="T14" fmla="*/ 78 w 81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36">
                  <a:moveTo>
                    <a:pt x="78" y="36"/>
                  </a:moveTo>
                  <a:cubicBezTo>
                    <a:pt x="77" y="36"/>
                    <a:pt x="77" y="36"/>
                    <a:pt x="76" y="36"/>
                  </a:cubicBezTo>
                  <a:cubicBezTo>
                    <a:pt x="56" y="17"/>
                    <a:pt x="30" y="6"/>
                    <a:pt x="2" y="5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1" y="1"/>
                    <a:pt x="58" y="13"/>
                    <a:pt x="80" y="32"/>
                  </a:cubicBezTo>
                  <a:cubicBezTo>
                    <a:pt x="81" y="33"/>
                    <a:pt x="81" y="35"/>
                    <a:pt x="80" y="36"/>
                  </a:cubicBezTo>
                  <a:cubicBezTo>
                    <a:pt x="79" y="36"/>
                    <a:pt x="79" y="36"/>
                    <a:pt x="78" y="36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39">
              <a:extLst>
                <a:ext uri="{FF2B5EF4-FFF2-40B4-BE49-F238E27FC236}">
                  <a16:creationId xmlns:a16="http://schemas.microsoft.com/office/drawing/2014/main" id="{13D27668-FB96-4ADB-AADD-1D2B498965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9" y="3043"/>
              <a:ext cx="31" cy="34"/>
            </a:xfrm>
            <a:custGeom>
              <a:avLst/>
              <a:gdLst>
                <a:gd name="T0" fmla="*/ 6 w 9"/>
                <a:gd name="T1" fmla="*/ 10 h 10"/>
                <a:gd name="T2" fmla="*/ 4 w 9"/>
                <a:gd name="T3" fmla="*/ 9 h 10"/>
                <a:gd name="T4" fmla="*/ 1 w 9"/>
                <a:gd name="T5" fmla="*/ 4 h 10"/>
                <a:gd name="T6" fmla="*/ 1 w 9"/>
                <a:gd name="T7" fmla="*/ 1 h 10"/>
                <a:gd name="T8" fmla="*/ 4 w 9"/>
                <a:gd name="T9" fmla="*/ 1 h 10"/>
                <a:gd name="T10" fmla="*/ 8 w 9"/>
                <a:gd name="T11" fmla="*/ 7 h 10"/>
                <a:gd name="T12" fmla="*/ 7 w 9"/>
                <a:gd name="T13" fmla="*/ 10 h 10"/>
                <a:gd name="T14" fmla="*/ 6 w 9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6" y="10"/>
                  </a:moveTo>
                  <a:cubicBezTo>
                    <a:pt x="5" y="10"/>
                    <a:pt x="4" y="10"/>
                    <a:pt x="4" y="9"/>
                  </a:cubicBezTo>
                  <a:cubicBezTo>
                    <a:pt x="3" y="7"/>
                    <a:pt x="2" y="6"/>
                    <a:pt x="1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6" y="3"/>
                    <a:pt x="7" y="5"/>
                    <a:pt x="8" y="7"/>
                  </a:cubicBezTo>
                  <a:cubicBezTo>
                    <a:pt x="9" y="8"/>
                    <a:pt x="8" y="9"/>
                    <a:pt x="7" y="10"/>
                  </a:cubicBezTo>
                  <a:cubicBezTo>
                    <a:pt x="7" y="10"/>
                    <a:pt x="6" y="10"/>
                    <a:pt x="6" y="10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40">
              <a:extLst>
                <a:ext uri="{FF2B5EF4-FFF2-40B4-BE49-F238E27FC236}">
                  <a16:creationId xmlns:a16="http://schemas.microsoft.com/office/drawing/2014/main" id="{92B8EF1E-B120-48B2-B358-A8894B3BC5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37" y="3105"/>
              <a:ext cx="27" cy="45"/>
            </a:xfrm>
            <a:custGeom>
              <a:avLst/>
              <a:gdLst>
                <a:gd name="T0" fmla="*/ 6 w 8"/>
                <a:gd name="T1" fmla="*/ 13 h 13"/>
                <a:gd name="T2" fmla="*/ 3 w 8"/>
                <a:gd name="T3" fmla="*/ 12 h 13"/>
                <a:gd name="T4" fmla="*/ 0 w 8"/>
                <a:gd name="T5" fmla="*/ 4 h 13"/>
                <a:gd name="T6" fmla="*/ 1 w 8"/>
                <a:gd name="T7" fmla="*/ 1 h 13"/>
                <a:gd name="T8" fmla="*/ 4 w 8"/>
                <a:gd name="T9" fmla="*/ 2 h 13"/>
                <a:gd name="T10" fmla="*/ 8 w 8"/>
                <a:gd name="T11" fmla="*/ 10 h 13"/>
                <a:gd name="T12" fmla="*/ 7 w 8"/>
                <a:gd name="T13" fmla="*/ 13 h 13"/>
                <a:gd name="T14" fmla="*/ 6 w 8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3">
                  <a:moveTo>
                    <a:pt x="6" y="13"/>
                  </a:moveTo>
                  <a:cubicBezTo>
                    <a:pt x="5" y="13"/>
                    <a:pt x="4" y="13"/>
                    <a:pt x="3" y="12"/>
                  </a:cubicBezTo>
                  <a:cubicBezTo>
                    <a:pt x="2" y="9"/>
                    <a:pt x="1" y="7"/>
                    <a:pt x="0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1"/>
                    <a:pt x="4" y="2"/>
                  </a:cubicBezTo>
                  <a:cubicBezTo>
                    <a:pt x="6" y="5"/>
                    <a:pt x="7" y="7"/>
                    <a:pt x="8" y="10"/>
                  </a:cubicBezTo>
                  <a:cubicBezTo>
                    <a:pt x="8" y="11"/>
                    <a:pt x="8" y="13"/>
                    <a:pt x="7" y="13"/>
                  </a:cubicBezTo>
                  <a:cubicBezTo>
                    <a:pt x="6" y="13"/>
                    <a:pt x="6" y="13"/>
                    <a:pt x="6" y="13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1">
              <a:extLst>
                <a:ext uri="{FF2B5EF4-FFF2-40B4-BE49-F238E27FC236}">
                  <a16:creationId xmlns:a16="http://schemas.microsoft.com/office/drawing/2014/main" id="{CD8B6611-6E17-4CD9-824B-3CD1ED796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47" y="2790"/>
              <a:ext cx="259" cy="52"/>
            </a:xfrm>
            <a:custGeom>
              <a:avLst/>
              <a:gdLst>
                <a:gd name="T0" fmla="*/ 73 w 75"/>
                <a:gd name="T1" fmla="*/ 15 h 15"/>
                <a:gd name="T2" fmla="*/ 72 w 75"/>
                <a:gd name="T3" fmla="*/ 15 h 15"/>
                <a:gd name="T4" fmla="*/ 3 w 75"/>
                <a:gd name="T5" fmla="*/ 13 h 15"/>
                <a:gd name="T6" fmla="*/ 0 w 75"/>
                <a:gd name="T7" fmla="*/ 11 h 15"/>
                <a:gd name="T8" fmla="*/ 1 w 75"/>
                <a:gd name="T9" fmla="*/ 8 h 15"/>
                <a:gd name="T10" fmla="*/ 74 w 75"/>
                <a:gd name="T11" fmla="*/ 10 h 15"/>
                <a:gd name="T12" fmla="*/ 75 w 75"/>
                <a:gd name="T13" fmla="*/ 13 h 15"/>
                <a:gd name="T14" fmla="*/ 73 w 7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15">
                  <a:moveTo>
                    <a:pt x="73" y="15"/>
                  </a:moveTo>
                  <a:cubicBezTo>
                    <a:pt x="72" y="15"/>
                    <a:pt x="72" y="15"/>
                    <a:pt x="72" y="15"/>
                  </a:cubicBezTo>
                  <a:cubicBezTo>
                    <a:pt x="50" y="6"/>
                    <a:pt x="25" y="5"/>
                    <a:pt x="3" y="13"/>
                  </a:cubicBezTo>
                  <a:cubicBezTo>
                    <a:pt x="2" y="13"/>
                    <a:pt x="0" y="13"/>
                    <a:pt x="0" y="11"/>
                  </a:cubicBezTo>
                  <a:cubicBezTo>
                    <a:pt x="0" y="10"/>
                    <a:pt x="0" y="9"/>
                    <a:pt x="1" y="8"/>
                  </a:cubicBezTo>
                  <a:cubicBezTo>
                    <a:pt x="25" y="0"/>
                    <a:pt x="51" y="1"/>
                    <a:pt x="74" y="10"/>
                  </a:cubicBezTo>
                  <a:cubicBezTo>
                    <a:pt x="75" y="11"/>
                    <a:pt x="75" y="12"/>
                    <a:pt x="75" y="13"/>
                  </a:cubicBezTo>
                  <a:cubicBezTo>
                    <a:pt x="75" y="14"/>
                    <a:pt x="74" y="15"/>
                    <a:pt x="73" y="15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42">
              <a:extLst>
                <a:ext uri="{FF2B5EF4-FFF2-40B4-BE49-F238E27FC236}">
                  <a16:creationId xmlns:a16="http://schemas.microsoft.com/office/drawing/2014/main" id="{DEBDFE45-26AE-4846-A602-15608AFDE0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68" y="2870"/>
              <a:ext cx="65" cy="59"/>
            </a:xfrm>
            <a:custGeom>
              <a:avLst/>
              <a:gdLst>
                <a:gd name="T0" fmla="*/ 17 w 19"/>
                <a:gd name="T1" fmla="*/ 17 h 17"/>
                <a:gd name="T2" fmla="*/ 15 w 19"/>
                <a:gd name="T3" fmla="*/ 16 h 17"/>
                <a:gd name="T4" fmla="*/ 1 w 19"/>
                <a:gd name="T5" fmla="*/ 4 h 17"/>
                <a:gd name="T6" fmla="*/ 1 w 19"/>
                <a:gd name="T7" fmla="*/ 1 h 17"/>
                <a:gd name="T8" fmla="*/ 4 w 19"/>
                <a:gd name="T9" fmla="*/ 0 h 17"/>
                <a:gd name="T10" fmla="*/ 18 w 19"/>
                <a:gd name="T11" fmla="*/ 13 h 17"/>
                <a:gd name="T12" fmla="*/ 18 w 19"/>
                <a:gd name="T13" fmla="*/ 16 h 17"/>
                <a:gd name="T14" fmla="*/ 17 w 19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7">
                  <a:moveTo>
                    <a:pt x="17" y="17"/>
                  </a:moveTo>
                  <a:cubicBezTo>
                    <a:pt x="16" y="17"/>
                    <a:pt x="15" y="16"/>
                    <a:pt x="15" y="16"/>
                  </a:cubicBezTo>
                  <a:cubicBezTo>
                    <a:pt x="11" y="12"/>
                    <a:pt x="6" y="8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9" y="4"/>
                    <a:pt x="14" y="8"/>
                    <a:pt x="18" y="13"/>
                  </a:cubicBezTo>
                  <a:cubicBezTo>
                    <a:pt x="19" y="14"/>
                    <a:pt x="19" y="15"/>
                    <a:pt x="18" y="16"/>
                  </a:cubicBezTo>
                  <a:cubicBezTo>
                    <a:pt x="18" y="16"/>
                    <a:pt x="17" y="17"/>
                    <a:pt x="17" y="17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43">
              <a:extLst>
                <a:ext uri="{FF2B5EF4-FFF2-40B4-BE49-F238E27FC236}">
                  <a16:creationId xmlns:a16="http://schemas.microsoft.com/office/drawing/2014/main" id="{164541ED-594E-4BE6-92E8-274A478670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2" y="3008"/>
              <a:ext cx="31" cy="52"/>
            </a:xfrm>
            <a:custGeom>
              <a:avLst/>
              <a:gdLst>
                <a:gd name="T0" fmla="*/ 7 w 9"/>
                <a:gd name="T1" fmla="*/ 15 h 15"/>
                <a:gd name="T2" fmla="*/ 4 w 9"/>
                <a:gd name="T3" fmla="*/ 13 h 15"/>
                <a:gd name="T4" fmla="*/ 1 w 9"/>
                <a:gd name="T5" fmla="*/ 4 h 15"/>
                <a:gd name="T6" fmla="*/ 2 w 9"/>
                <a:gd name="T7" fmla="*/ 1 h 15"/>
                <a:gd name="T8" fmla="*/ 5 w 9"/>
                <a:gd name="T9" fmla="*/ 2 h 15"/>
                <a:gd name="T10" fmla="*/ 9 w 9"/>
                <a:gd name="T11" fmla="*/ 12 h 15"/>
                <a:gd name="T12" fmla="*/ 7 w 9"/>
                <a:gd name="T13" fmla="*/ 15 h 15"/>
                <a:gd name="T14" fmla="*/ 7 w 9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15"/>
                  </a:moveTo>
                  <a:cubicBezTo>
                    <a:pt x="6" y="15"/>
                    <a:pt x="5" y="14"/>
                    <a:pt x="4" y="13"/>
                  </a:cubicBezTo>
                  <a:cubicBezTo>
                    <a:pt x="3" y="10"/>
                    <a:pt x="2" y="7"/>
                    <a:pt x="1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3" y="0"/>
                    <a:pt x="4" y="1"/>
                    <a:pt x="5" y="2"/>
                  </a:cubicBezTo>
                  <a:cubicBezTo>
                    <a:pt x="6" y="5"/>
                    <a:pt x="8" y="9"/>
                    <a:pt x="9" y="12"/>
                  </a:cubicBezTo>
                  <a:cubicBezTo>
                    <a:pt x="9" y="13"/>
                    <a:pt x="9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44">
              <a:extLst>
                <a:ext uri="{FF2B5EF4-FFF2-40B4-BE49-F238E27FC236}">
                  <a16:creationId xmlns:a16="http://schemas.microsoft.com/office/drawing/2014/main" id="{2CAE2386-0563-4FEA-922D-480DD65E4B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8" y="2918"/>
              <a:ext cx="104" cy="56"/>
            </a:xfrm>
            <a:custGeom>
              <a:avLst/>
              <a:gdLst>
                <a:gd name="T0" fmla="*/ 27 w 30"/>
                <a:gd name="T1" fmla="*/ 16 h 16"/>
                <a:gd name="T2" fmla="*/ 26 w 30"/>
                <a:gd name="T3" fmla="*/ 15 h 16"/>
                <a:gd name="T4" fmla="*/ 2 w 30"/>
                <a:gd name="T5" fmla="*/ 5 h 16"/>
                <a:gd name="T6" fmla="*/ 1 w 30"/>
                <a:gd name="T7" fmla="*/ 2 h 16"/>
                <a:gd name="T8" fmla="*/ 3 w 30"/>
                <a:gd name="T9" fmla="*/ 0 h 16"/>
                <a:gd name="T10" fmla="*/ 28 w 30"/>
                <a:gd name="T11" fmla="*/ 11 h 16"/>
                <a:gd name="T12" fmla="*/ 29 w 30"/>
                <a:gd name="T13" fmla="*/ 14 h 16"/>
                <a:gd name="T14" fmla="*/ 27 w 30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16">
                  <a:moveTo>
                    <a:pt x="27" y="16"/>
                  </a:moveTo>
                  <a:cubicBezTo>
                    <a:pt x="26" y="16"/>
                    <a:pt x="26" y="15"/>
                    <a:pt x="26" y="15"/>
                  </a:cubicBezTo>
                  <a:cubicBezTo>
                    <a:pt x="18" y="11"/>
                    <a:pt x="11" y="7"/>
                    <a:pt x="2" y="5"/>
                  </a:cubicBezTo>
                  <a:cubicBezTo>
                    <a:pt x="1" y="5"/>
                    <a:pt x="0" y="3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12" y="3"/>
                    <a:pt x="21" y="6"/>
                    <a:pt x="28" y="11"/>
                  </a:cubicBezTo>
                  <a:cubicBezTo>
                    <a:pt x="29" y="12"/>
                    <a:pt x="30" y="13"/>
                    <a:pt x="29" y="14"/>
                  </a:cubicBezTo>
                  <a:cubicBezTo>
                    <a:pt x="28" y="15"/>
                    <a:pt x="28" y="16"/>
                    <a:pt x="27" y="16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45">
              <a:extLst>
                <a:ext uri="{FF2B5EF4-FFF2-40B4-BE49-F238E27FC236}">
                  <a16:creationId xmlns:a16="http://schemas.microsoft.com/office/drawing/2014/main" id="{B1B738C0-7C8E-4F29-8140-FCA667070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71" y="3043"/>
              <a:ext cx="42" cy="58"/>
            </a:xfrm>
            <a:custGeom>
              <a:avLst/>
              <a:gdLst>
                <a:gd name="T0" fmla="*/ 9 w 12"/>
                <a:gd name="T1" fmla="*/ 17 h 17"/>
                <a:gd name="T2" fmla="*/ 7 w 12"/>
                <a:gd name="T3" fmla="*/ 15 h 17"/>
                <a:gd name="T4" fmla="*/ 1 w 12"/>
                <a:gd name="T5" fmla="*/ 4 h 17"/>
                <a:gd name="T6" fmla="*/ 2 w 12"/>
                <a:gd name="T7" fmla="*/ 1 h 17"/>
                <a:gd name="T8" fmla="*/ 5 w 12"/>
                <a:gd name="T9" fmla="*/ 1 h 17"/>
                <a:gd name="T10" fmla="*/ 11 w 12"/>
                <a:gd name="T11" fmla="*/ 13 h 17"/>
                <a:gd name="T12" fmla="*/ 10 w 12"/>
                <a:gd name="T13" fmla="*/ 16 h 17"/>
                <a:gd name="T14" fmla="*/ 9 w 12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7">
                  <a:moveTo>
                    <a:pt x="9" y="17"/>
                  </a:moveTo>
                  <a:cubicBezTo>
                    <a:pt x="8" y="17"/>
                    <a:pt x="8" y="16"/>
                    <a:pt x="7" y="15"/>
                  </a:cubicBezTo>
                  <a:cubicBezTo>
                    <a:pt x="5" y="11"/>
                    <a:pt x="3" y="8"/>
                    <a:pt x="1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7" y="5"/>
                    <a:pt x="10" y="9"/>
                    <a:pt x="11" y="13"/>
                  </a:cubicBezTo>
                  <a:cubicBezTo>
                    <a:pt x="12" y="14"/>
                    <a:pt x="11" y="16"/>
                    <a:pt x="10" y="16"/>
                  </a:cubicBezTo>
                  <a:cubicBezTo>
                    <a:pt x="10" y="16"/>
                    <a:pt x="10" y="17"/>
                    <a:pt x="9" y="17"/>
                  </a:cubicBez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6">
              <a:extLst>
                <a:ext uri="{FF2B5EF4-FFF2-40B4-BE49-F238E27FC236}">
                  <a16:creationId xmlns:a16="http://schemas.microsoft.com/office/drawing/2014/main" id="{614AAF78-330F-4237-8B57-17E9F608C0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00" y="2124"/>
              <a:ext cx="1053" cy="1620"/>
            </a:xfrm>
            <a:custGeom>
              <a:avLst/>
              <a:gdLst>
                <a:gd name="T0" fmla="*/ 223 w 305"/>
                <a:gd name="T1" fmla="*/ 136 h 469"/>
                <a:gd name="T2" fmla="*/ 195 w 305"/>
                <a:gd name="T3" fmla="*/ 57 h 469"/>
                <a:gd name="T4" fmla="*/ 207 w 305"/>
                <a:gd name="T5" fmla="*/ 47 h 469"/>
                <a:gd name="T6" fmla="*/ 186 w 305"/>
                <a:gd name="T7" fmla="*/ 0 h 469"/>
                <a:gd name="T8" fmla="*/ 0 w 305"/>
                <a:gd name="T9" fmla="*/ 181 h 469"/>
                <a:gd name="T10" fmla="*/ 15 w 305"/>
                <a:gd name="T11" fmla="*/ 197 h 469"/>
                <a:gd name="T12" fmla="*/ 27 w 305"/>
                <a:gd name="T13" fmla="*/ 253 h 469"/>
                <a:gd name="T14" fmla="*/ 65 w 305"/>
                <a:gd name="T15" fmla="*/ 469 h 469"/>
                <a:gd name="T16" fmla="*/ 117 w 305"/>
                <a:gd name="T17" fmla="*/ 469 h 469"/>
                <a:gd name="T18" fmla="*/ 102 w 305"/>
                <a:gd name="T19" fmla="*/ 299 h 469"/>
                <a:gd name="T20" fmla="*/ 99 w 305"/>
                <a:gd name="T21" fmla="*/ 240 h 469"/>
                <a:gd name="T22" fmla="*/ 22 w 305"/>
                <a:gd name="T23" fmla="*/ 202 h 469"/>
                <a:gd name="T24" fmla="*/ 123 w 305"/>
                <a:gd name="T25" fmla="*/ 218 h 469"/>
                <a:gd name="T26" fmla="*/ 127 w 305"/>
                <a:gd name="T27" fmla="*/ 182 h 469"/>
                <a:gd name="T28" fmla="*/ 155 w 305"/>
                <a:gd name="T29" fmla="*/ 134 h 469"/>
                <a:gd name="T30" fmla="*/ 161 w 305"/>
                <a:gd name="T31" fmla="*/ 130 h 469"/>
                <a:gd name="T32" fmla="*/ 162 w 305"/>
                <a:gd name="T33" fmla="*/ 81 h 469"/>
                <a:gd name="T34" fmla="*/ 172 w 305"/>
                <a:gd name="T35" fmla="*/ 124 h 469"/>
                <a:gd name="T36" fmla="*/ 172 w 305"/>
                <a:gd name="T37" fmla="*/ 125 h 469"/>
                <a:gd name="T38" fmla="*/ 186 w 305"/>
                <a:gd name="T39" fmla="*/ 169 h 469"/>
                <a:gd name="T40" fmla="*/ 302 w 305"/>
                <a:gd name="T41" fmla="*/ 206 h 469"/>
                <a:gd name="T42" fmla="*/ 305 w 305"/>
                <a:gd name="T43" fmla="*/ 176 h 469"/>
                <a:gd name="T44" fmla="*/ 223 w 305"/>
                <a:gd name="T45" fmla="*/ 13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5" h="469">
                  <a:moveTo>
                    <a:pt x="223" y="136"/>
                  </a:moveTo>
                  <a:cubicBezTo>
                    <a:pt x="195" y="57"/>
                    <a:pt x="195" y="57"/>
                    <a:pt x="195" y="57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0" y="21"/>
                    <a:pt x="186" y="0"/>
                  </a:cubicBezTo>
                  <a:cubicBezTo>
                    <a:pt x="128" y="8"/>
                    <a:pt x="53" y="52"/>
                    <a:pt x="0" y="181"/>
                  </a:cubicBezTo>
                  <a:cubicBezTo>
                    <a:pt x="0" y="181"/>
                    <a:pt x="6" y="188"/>
                    <a:pt x="15" y="197"/>
                  </a:cubicBezTo>
                  <a:cubicBezTo>
                    <a:pt x="15" y="216"/>
                    <a:pt x="18" y="235"/>
                    <a:pt x="27" y="253"/>
                  </a:cubicBezTo>
                  <a:cubicBezTo>
                    <a:pt x="65" y="469"/>
                    <a:pt x="65" y="469"/>
                    <a:pt x="65" y="469"/>
                  </a:cubicBezTo>
                  <a:cubicBezTo>
                    <a:pt x="117" y="469"/>
                    <a:pt x="117" y="469"/>
                    <a:pt x="117" y="469"/>
                  </a:cubicBezTo>
                  <a:cubicBezTo>
                    <a:pt x="102" y="299"/>
                    <a:pt x="102" y="299"/>
                    <a:pt x="102" y="299"/>
                  </a:cubicBezTo>
                  <a:cubicBezTo>
                    <a:pt x="100" y="279"/>
                    <a:pt x="99" y="260"/>
                    <a:pt x="99" y="240"/>
                  </a:cubicBezTo>
                  <a:cubicBezTo>
                    <a:pt x="53" y="237"/>
                    <a:pt x="30" y="214"/>
                    <a:pt x="22" y="202"/>
                  </a:cubicBezTo>
                  <a:cubicBezTo>
                    <a:pt x="44" y="219"/>
                    <a:pt x="81" y="238"/>
                    <a:pt x="123" y="218"/>
                  </a:cubicBezTo>
                  <a:cubicBezTo>
                    <a:pt x="127" y="182"/>
                    <a:pt x="127" y="182"/>
                    <a:pt x="127" y="182"/>
                  </a:cubicBezTo>
                  <a:cubicBezTo>
                    <a:pt x="128" y="163"/>
                    <a:pt x="138" y="145"/>
                    <a:pt x="155" y="134"/>
                  </a:cubicBezTo>
                  <a:cubicBezTo>
                    <a:pt x="161" y="130"/>
                    <a:pt x="161" y="130"/>
                    <a:pt x="161" y="130"/>
                  </a:cubicBezTo>
                  <a:cubicBezTo>
                    <a:pt x="153" y="110"/>
                    <a:pt x="162" y="81"/>
                    <a:pt x="162" y="81"/>
                  </a:cubicBezTo>
                  <a:cubicBezTo>
                    <a:pt x="172" y="124"/>
                    <a:pt x="172" y="124"/>
                    <a:pt x="172" y="124"/>
                  </a:cubicBezTo>
                  <a:cubicBezTo>
                    <a:pt x="172" y="124"/>
                    <a:pt x="172" y="125"/>
                    <a:pt x="172" y="125"/>
                  </a:cubicBezTo>
                  <a:cubicBezTo>
                    <a:pt x="186" y="169"/>
                    <a:pt x="186" y="169"/>
                    <a:pt x="186" y="169"/>
                  </a:cubicBezTo>
                  <a:cubicBezTo>
                    <a:pt x="302" y="206"/>
                    <a:pt x="302" y="206"/>
                    <a:pt x="302" y="206"/>
                  </a:cubicBezTo>
                  <a:cubicBezTo>
                    <a:pt x="305" y="176"/>
                    <a:pt x="305" y="176"/>
                    <a:pt x="305" y="176"/>
                  </a:cubicBezTo>
                  <a:lnTo>
                    <a:pt x="223" y="136"/>
                  </a:ln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47">
              <a:extLst>
                <a:ext uri="{FF2B5EF4-FFF2-40B4-BE49-F238E27FC236}">
                  <a16:creationId xmlns:a16="http://schemas.microsoft.com/office/drawing/2014/main" id="{85FF8C24-B019-4432-800D-7D73773EE4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35" y="2213"/>
              <a:ext cx="59" cy="108"/>
            </a:xfrm>
            <a:custGeom>
              <a:avLst/>
              <a:gdLst>
                <a:gd name="T0" fmla="*/ 38 w 59"/>
                <a:gd name="T1" fmla="*/ 108 h 108"/>
                <a:gd name="T2" fmla="*/ 0 w 59"/>
                <a:gd name="T3" fmla="*/ 0 h 108"/>
                <a:gd name="T4" fmla="*/ 59 w 59"/>
                <a:gd name="T5" fmla="*/ 90 h 108"/>
                <a:gd name="T6" fmla="*/ 38 w 59"/>
                <a:gd name="T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" h="108">
                  <a:moveTo>
                    <a:pt x="38" y="108"/>
                  </a:moveTo>
                  <a:lnTo>
                    <a:pt x="0" y="0"/>
                  </a:lnTo>
                  <a:lnTo>
                    <a:pt x="59" y="90"/>
                  </a:lnTo>
                  <a:lnTo>
                    <a:pt x="38" y="10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Oval 48">
              <a:extLst>
                <a:ext uri="{FF2B5EF4-FFF2-40B4-BE49-F238E27FC236}">
                  <a16:creationId xmlns:a16="http://schemas.microsoft.com/office/drawing/2014/main" id="{F651052D-7568-4C8A-91AA-1ECAB87AE3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2787"/>
              <a:ext cx="21" cy="2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49">
              <a:extLst>
                <a:ext uri="{FF2B5EF4-FFF2-40B4-BE49-F238E27FC236}">
                  <a16:creationId xmlns:a16="http://schemas.microsoft.com/office/drawing/2014/main" id="{4570FD72-2081-40FF-BF63-B58290F034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5" y="3516"/>
              <a:ext cx="484" cy="387"/>
            </a:xfrm>
            <a:custGeom>
              <a:avLst/>
              <a:gdLst>
                <a:gd name="T0" fmla="*/ 345 w 484"/>
                <a:gd name="T1" fmla="*/ 387 h 387"/>
                <a:gd name="T2" fmla="*/ 142 w 484"/>
                <a:gd name="T3" fmla="*/ 387 h 387"/>
                <a:gd name="T4" fmla="*/ 0 w 484"/>
                <a:gd name="T5" fmla="*/ 214 h 387"/>
                <a:gd name="T6" fmla="*/ 0 w 484"/>
                <a:gd name="T7" fmla="*/ 0 h 387"/>
                <a:gd name="T8" fmla="*/ 484 w 484"/>
                <a:gd name="T9" fmla="*/ 0 h 387"/>
                <a:gd name="T10" fmla="*/ 484 w 484"/>
                <a:gd name="T11" fmla="*/ 225 h 387"/>
                <a:gd name="T12" fmla="*/ 345 w 484"/>
                <a:gd name="T13" fmla="*/ 38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4" h="387">
                  <a:moveTo>
                    <a:pt x="345" y="387"/>
                  </a:moveTo>
                  <a:lnTo>
                    <a:pt x="142" y="387"/>
                  </a:lnTo>
                  <a:lnTo>
                    <a:pt x="0" y="214"/>
                  </a:lnTo>
                  <a:lnTo>
                    <a:pt x="0" y="0"/>
                  </a:lnTo>
                  <a:lnTo>
                    <a:pt x="484" y="0"/>
                  </a:lnTo>
                  <a:lnTo>
                    <a:pt x="484" y="225"/>
                  </a:lnTo>
                  <a:lnTo>
                    <a:pt x="345" y="387"/>
                  </a:lnTo>
                  <a:close/>
                </a:path>
              </a:pathLst>
            </a:custGeom>
            <a:solidFill>
              <a:srgbClr val="49CD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50">
              <a:extLst>
                <a:ext uri="{FF2B5EF4-FFF2-40B4-BE49-F238E27FC236}">
                  <a16:creationId xmlns:a16="http://schemas.microsoft.com/office/drawing/2014/main" id="{3E6604F6-6192-4D87-95BC-653F29706F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3" y="2638"/>
              <a:ext cx="618" cy="1265"/>
            </a:xfrm>
            <a:custGeom>
              <a:avLst/>
              <a:gdLst>
                <a:gd name="T0" fmla="*/ 618 w 618"/>
                <a:gd name="T1" fmla="*/ 114 h 1265"/>
                <a:gd name="T2" fmla="*/ 263 w 618"/>
                <a:gd name="T3" fmla="*/ 114 h 1265"/>
                <a:gd name="T4" fmla="*/ 263 w 618"/>
                <a:gd name="T5" fmla="*/ 0 h 1265"/>
                <a:gd name="T6" fmla="*/ 125 w 618"/>
                <a:gd name="T7" fmla="*/ 59 h 1265"/>
                <a:gd name="T8" fmla="*/ 125 w 618"/>
                <a:gd name="T9" fmla="*/ 114 h 1265"/>
                <a:gd name="T10" fmla="*/ 0 w 618"/>
                <a:gd name="T11" fmla="*/ 114 h 1265"/>
                <a:gd name="T12" fmla="*/ 0 w 618"/>
                <a:gd name="T13" fmla="*/ 173 h 1265"/>
                <a:gd name="T14" fmla="*/ 24 w 618"/>
                <a:gd name="T15" fmla="*/ 173 h 1265"/>
                <a:gd name="T16" fmla="*/ 24 w 618"/>
                <a:gd name="T17" fmla="*/ 1265 h 1265"/>
                <a:gd name="T18" fmla="*/ 594 w 618"/>
                <a:gd name="T19" fmla="*/ 1265 h 1265"/>
                <a:gd name="T20" fmla="*/ 594 w 618"/>
                <a:gd name="T21" fmla="*/ 173 h 1265"/>
                <a:gd name="T22" fmla="*/ 618 w 618"/>
                <a:gd name="T23" fmla="*/ 173 h 1265"/>
                <a:gd name="T24" fmla="*/ 618 w 618"/>
                <a:gd name="T25" fmla="*/ 114 h 1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8" h="1265">
                  <a:moveTo>
                    <a:pt x="618" y="114"/>
                  </a:moveTo>
                  <a:lnTo>
                    <a:pt x="263" y="114"/>
                  </a:lnTo>
                  <a:lnTo>
                    <a:pt x="263" y="0"/>
                  </a:lnTo>
                  <a:lnTo>
                    <a:pt x="125" y="59"/>
                  </a:lnTo>
                  <a:lnTo>
                    <a:pt x="125" y="114"/>
                  </a:lnTo>
                  <a:lnTo>
                    <a:pt x="0" y="114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24" y="1265"/>
                  </a:lnTo>
                  <a:lnTo>
                    <a:pt x="594" y="1265"/>
                  </a:lnTo>
                  <a:lnTo>
                    <a:pt x="594" y="173"/>
                  </a:lnTo>
                  <a:lnTo>
                    <a:pt x="618" y="173"/>
                  </a:lnTo>
                  <a:lnTo>
                    <a:pt x="618" y="114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51">
              <a:extLst>
                <a:ext uri="{FF2B5EF4-FFF2-40B4-BE49-F238E27FC236}">
                  <a16:creationId xmlns:a16="http://schemas.microsoft.com/office/drawing/2014/main" id="{A950203A-5F78-434E-BE2E-704B89EA0A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5" y="762"/>
              <a:ext cx="570" cy="3141"/>
            </a:xfrm>
            <a:custGeom>
              <a:avLst/>
              <a:gdLst>
                <a:gd name="T0" fmla="*/ 491 w 570"/>
                <a:gd name="T1" fmla="*/ 488 h 3141"/>
                <a:gd name="T2" fmla="*/ 491 w 570"/>
                <a:gd name="T3" fmla="*/ 411 h 3141"/>
                <a:gd name="T4" fmla="*/ 356 w 570"/>
                <a:gd name="T5" fmla="*/ 411 h 3141"/>
                <a:gd name="T6" fmla="*/ 356 w 570"/>
                <a:gd name="T7" fmla="*/ 342 h 3141"/>
                <a:gd name="T8" fmla="*/ 290 w 570"/>
                <a:gd name="T9" fmla="*/ 256 h 3141"/>
                <a:gd name="T10" fmla="*/ 290 w 570"/>
                <a:gd name="T11" fmla="*/ 0 h 3141"/>
                <a:gd name="T12" fmla="*/ 270 w 570"/>
                <a:gd name="T13" fmla="*/ 0 h 3141"/>
                <a:gd name="T14" fmla="*/ 270 w 570"/>
                <a:gd name="T15" fmla="*/ 256 h 3141"/>
                <a:gd name="T16" fmla="*/ 204 w 570"/>
                <a:gd name="T17" fmla="*/ 342 h 3141"/>
                <a:gd name="T18" fmla="*/ 204 w 570"/>
                <a:gd name="T19" fmla="*/ 411 h 3141"/>
                <a:gd name="T20" fmla="*/ 73 w 570"/>
                <a:gd name="T21" fmla="*/ 411 h 3141"/>
                <a:gd name="T22" fmla="*/ 73 w 570"/>
                <a:gd name="T23" fmla="*/ 488 h 3141"/>
                <a:gd name="T24" fmla="*/ 0 w 570"/>
                <a:gd name="T25" fmla="*/ 488 h 3141"/>
                <a:gd name="T26" fmla="*/ 0 w 570"/>
                <a:gd name="T27" fmla="*/ 3141 h 3141"/>
                <a:gd name="T28" fmla="*/ 570 w 570"/>
                <a:gd name="T29" fmla="*/ 3141 h 3141"/>
                <a:gd name="T30" fmla="*/ 570 w 570"/>
                <a:gd name="T31" fmla="*/ 488 h 3141"/>
                <a:gd name="T32" fmla="*/ 491 w 570"/>
                <a:gd name="T33" fmla="*/ 488 h 3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0" h="3141">
                  <a:moveTo>
                    <a:pt x="491" y="488"/>
                  </a:moveTo>
                  <a:lnTo>
                    <a:pt x="491" y="411"/>
                  </a:lnTo>
                  <a:lnTo>
                    <a:pt x="356" y="411"/>
                  </a:lnTo>
                  <a:lnTo>
                    <a:pt x="356" y="342"/>
                  </a:lnTo>
                  <a:lnTo>
                    <a:pt x="290" y="256"/>
                  </a:lnTo>
                  <a:lnTo>
                    <a:pt x="290" y="0"/>
                  </a:lnTo>
                  <a:lnTo>
                    <a:pt x="270" y="0"/>
                  </a:lnTo>
                  <a:lnTo>
                    <a:pt x="270" y="256"/>
                  </a:lnTo>
                  <a:lnTo>
                    <a:pt x="204" y="342"/>
                  </a:lnTo>
                  <a:lnTo>
                    <a:pt x="204" y="411"/>
                  </a:lnTo>
                  <a:lnTo>
                    <a:pt x="73" y="411"/>
                  </a:lnTo>
                  <a:lnTo>
                    <a:pt x="73" y="488"/>
                  </a:lnTo>
                  <a:lnTo>
                    <a:pt x="0" y="488"/>
                  </a:lnTo>
                  <a:lnTo>
                    <a:pt x="0" y="3141"/>
                  </a:lnTo>
                  <a:lnTo>
                    <a:pt x="570" y="3141"/>
                  </a:lnTo>
                  <a:lnTo>
                    <a:pt x="570" y="488"/>
                  </a:lnTo>
                  <a:lnTo>
                    <a:pt x="491" y="488"/>
                  </a:lnTo>
                  <a:close/>
                </a:path>
              </a:pathLst>
            </a:cu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52">
              <a:extLst>
                <a:ext uri="{FF2B5EF4-FFF2-40B4-BE49-F238E27FC236}">
                  <a16:creationId xmlns:a16="http://schemas.microsoft.com/office/drawing/2014/main" id="{AE510ACD-2B26-4491-A763-26A6861271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8" y="1740"/>
              <a:ext cx="97" cy="163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Rectangle 53">
              <a:extLst>
                <a:ext uri="{FF2B5EF4-FFF2-40B4-BE49-F238E27FC236}">
                  <a16:creationId xmlns:a16="http://schemas.microsoft.com/office/drawing/2014/main" id="{D5D53AB8-2CDD-46D3-AB93-8690DEE6BF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7" y="1740"/>
              <a:ext cx="96" cy="163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Rectangle 54">
              <a:extLst>
                <a:ext uri="{FF2B5EF4-FFF2-40B4-BE49-F238E27FC236}">
                  <a16:creationId xmlns:a16="http://schemas.microsoft.com/office/drawing/2014/main" id="{C3F203E3-E284-40DA-BAB7-A2FD34505D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26" y="1740"/>
              <a:ext cx="100" cy="163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Rectangle 55">
              <a:extLst>
                <a:ext uri="{FF2B5EF4-FFF2-40B4-BE49-F238E27FC236}">
                  <a16:creationId xmlns:a16="http://schemas.microsoft.com/office/drawing/2014/main" id="{D03444BC-3FC1-4669-BA6C-AB9EA16DE3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8" y="1529"/>
              <a:ext cx="97" cy="163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56">
              <a:extLst>
                <a:ext uri="{FF2B5EF4-FFF2-40B4-BE49-F238E27FC236}">
                  <a16:creationId xmlns:a16="http://schemas.microsoft.com/office/drawing/2014/main" id="{98CB9A24-3938-443B-A762-7D0175FCC9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7" y="1529"/>
              <a:ext cx="96" cy="163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Rectangle 57">
              <a:extLst>
                <a:ext uri="{FF2B5EF4-FFF2-40B4-BE49-F238E27FC236}">
                  <a16:creationId xmlns:a16="http://schemas.microsoft.com/office/drawing/2014/main" id="{5EE98566-97F8-4377-B5F3-62816F018A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26" y="1529"/>
              <a:ext cx="100" cy="163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58">
              <a:extLst>
                <a:ext uri="{FF2B5EF4-FFF2-40B4-BE49-F238E27FC236}">
                  <a16:creationId xmlns:a16="http://schemas.microsoft.com/office/drawing/2014/main" id="{6F5BC3EE-BE43-4380-932A-F78E1DCA1ED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8" y="1319"/>
              <a:ext cx="97" cy="15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Rectangle 59">
              <a:extLst>
                <a:ext uri="{FF2B5EF4-FFF2-40B4-BE49-F238E27FC236}">
                  <a16:creationId xmlns:a16="http://schemas.microsoft.com/office/drawing/2014/main" id="{6DB969B2-F435-4C0A-8700-105507E74B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7" y="1319"/>
              <a:ext cx="96" cy="15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Rectangle 60">
              <a:extLst>
                <a:ext uri="{FF2B5EF4-FFF2-40B4-BE49-F238E27FC236}">
                  <a16:creationId xmlns:a16="http://schemas.microsoft.com/office/drawing/2014/main" id="{AABC22A2-4A97-41BC-B88F-42F14D78DA1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26" y="1319"/>
              <a:ext cx="100" cy="15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Rectangle 61">
              <a:extLst>
                <a:ext uri="{FF2B5EF4-FFF2-40B4-BE49-F238E27FC236}">
                  <a16:creationId xmlns:a16="http://schemas.microsoft.com/office/drawing/2014/main" id="{42DCACB0-9021-4959-B8D8-715371C78F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8" y="1954"/>
              <a:ext cx="97" cy="163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Rectangle 62">
              <a:extLst>
                <a:ext uri="{FF2B5EF4-FFF2-40B4-BE49-F238E27FC236}">
                  <a16:creationId xmlns:a16="http://schemas.microsoft.com/office/drawing/2014/main" id="{02269155-33D2-457F-A0E3-0B9D4E1FE2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7" y="1954"/>
              <a:ext cx="96" cy="163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Rectangle 63">
              <a:extLst>
                <a:ext uri="{FF2B5EF4-FFF2-40B4-BE49-F238E27FC236}">
                  <a16:creationId xmlns:a16="http://schemas.microsoft.com/office/drawing/2014/main" id="{2E3F9260-10BB-413E-9114-7267A5083A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26" y="1954"/>
              <a:ext cx="100" cy="163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Rectangle 64">
              <a:extLst>
                <a:ext uri="{FF2B5EF4-FFF2-40B4-BE49-F238E27FC236}">
                  <a16:creationId xmlns:a16="http://schemas.microsoft.com/office/drawing/2014/main" id="{03E39DA3-3724-4F6B-A67E-5CD806414E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8" y="2165"/>
              <a:ext cx="97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Rectangle 65">
              <a:extLst>
                <a:ext uri="{FF2B5EF4-FFF2-40B4-BE49-F238E27FC236}">
                  <a16:creationId xmlns:a16="http://schemas.microsoft.com/office/drawing/2014/main" id="{53A4BD7A-65BD-40D7-8A90-2622E871A6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7" y="2165"/>
              <a:ext cx="96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Rectangle 66">
              <a:extLst>
                <a:ext uri="{FF2B5EF4-FFF2-40B4-BE49-F238E27FC236}">
                  <a16:creationId xmlns:a16="http://schemas.microsoft.com/office/drawing/2014/main" id="{A588D394-85AD-4DE4-9E7A-520D45B927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26" y="2165"/>
              <a:ext cx="100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Rectangle 67">
              <a:extLst>
                <a:ext uri="{FF2B5EF4-FFF2-40B4-BE49-F238E27FC236}">
                  <a16:creationId xmlns:a16="http://schemas.microsoft.com/office/drawing/2014/main" id="{06CDE6FD-0274-4FCD-8A82-ED813694F15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8" y="2379"/>
              <a:ext cx="97" cy="15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Rectangle 68">
              <a:extLst>
                <a:ext uri="{FF2B5EF4-FFF2-40B4-BE49-F238E27FC236}">
                  <a16:creationId xmlns:a16="http://schemas.microsoft.com/office/drawing/2014/main" id="{6495CC52-A2D1-4757-B172-4EBD003DD18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7" y="2379"/>
              <a:ext cx="96" cy="15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Rectangle 69">
              <a:extLst>
                <a:ext uri="{FF2B5EF4-FFF2-40B4-BE49-F238E27FC236}">
                  <a16:creationId xmlns:a16="http://schemas.microsoft.com/office/drawing/2014/main" id="{40ADBA95-92FF-46C3-9732-B94115D068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26" y="2379"/>
              <a:ext cx="100" cy="15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Rectangle 70">
              <a:extLst>
                <a:ext uri="{FF2B5EF4-FFF2-40B4-BE49-F238E27FC236}">
                  <a16:creationId xmlns:a16="http://schemas.microsoft.com/office/drawing/2014/main" id="{1D9A114F-E628-4FDA-81AC-18FB4ADC4E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8" y="2590"/>
              <a:ext cx="97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Rectangle 71">
              <a:extLst>
                <a:ext uri="{FF2B5EF4-FFF2-40B4-BE49-F238E27FC236}">
                  <a16:creationId xmlns:a16="http://schemas.microsoft.com/office/drawing/2014/main" id="{4A09F1E7-F668-4114-A06B-0EA2CA5805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7" y="2590"/>
              <a:ext cx="96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Rectangle 72">
              <a:extLst>
                <a:ext uri="{FF2B5EF4-FFF2-40B4-BE49-F238E27FC236}">
                  <a16:creationId xmlns:a16="http://schemas.microsoft.com/office/drawing/2014/main" id="{B92C986B-B2D2-4B5B-92BD-BA689A203C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26" y="2590"/>
              <a:ext cx="100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Rectangle 73">
              <a:extLst>
                <a:ext uri="{FF2B5EF4-FFF2-40B4-BE49-F238E27FC236}">
                  <a16:creationId xmlns:a16="http://schemas.microsoft.com/office/drawing/2014/main" id="{4AE7C026-AB69-4AE8-A148-E3DC2FC171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8" y="2804"/>
              <a:ext cx="97" cy="15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Rectangle 74">
              <a:extLst>
                <a:ext uri="{FF2B5EF4-FFF2-40B4-BE49-F238E27FC236}">
                  <a16:creationId xmlns:a16="http://schemas.microsoft.com/office/drawing/2014/main" id="{A159F806-1930-417B-9B4B-E9F87178D8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7" y="2804"/>
              <a:ext cx="96" cy="15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Rectangle 75">
              <a:extLst>
                <a:ext uri="{FF2B5EF4-FFF2-40B4-BE49-F238E27FC236}">
                  <a16:creationId xmlns:a16="http://schemas.microsoft.com/office/drawing/2014/main" id="{A07AD558-C402-4F01-9918-42356C3F00D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26" y="2804"/>
              <a:ext cx="100" cy="15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Rectangle 76">
              <a:extLst>
                <a:ext uri="{FF2B5EF4-FFF2-40B4-BE49-F238E27FC236}">
                  <a16:creationId xmlns:a16="http://schemas.microsoft.com/office/drawing/2014/main" id="{E2F2D7B7-8C00-4551-BFF7-6FAA6F45BE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8" y="3015"/>
              <a:ext cx="97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Rectangle 77">
              <a:extLst>
                <a:ext uri="{FF2B5EF4-FFF2-40B4-BE49-F238E27FC236}">
                  <a16:creationId xmlns:a16="http://schemas.microsoft.com/office/drawing/2014/main" id="{448BE308-B236-4D62-97C1-6DF28DA062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7" y="3015"/>
              <a:ext cx="96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Rectangle 78">
              <a:extLst>
                <a:ext uri="{FF2B5EF4-FFF2-40B4-BE49-F238E27FC236}">
                  <a16:creationId xmlns:a16="http://schemas.microsoft.com/office/drawing/2014/main" id="{20E0DEAD-4632-48D8-A017-E3D0CBBC03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26" y="3015"/>
              <a:ext cx="100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Rectangle 79">
              <a:extLst>
                <a:ext uri="{FF2B5EF4-FFF2-40B4-BE49-F238E27FC236}">
                  <a16:creationId xmlns:a16="http://schemas.microsoft.com/office/drawing/2014/main" id="{4D0900CB-28C0-40F5-9DD5-8F4B56391C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8" y="3229"/>
              <a:ext cx="97" cy="15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Rectangle 80">
              <a:extLst>
                <a:ext uri="{FF2B5EF4-FFF2-40B4-BE49-F238E27FC236}">
                  <a16:creationId xmlns:a16="http://schemas.microsoft.com/office/drawing/2014/main" id="{5310D733-5DF1-4BE6-83CA-0AE2DEA00E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7" y="3229"/>
              <a:ext cx="96" cy="15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Rectangle 81">
              <a:extLst>
                <a:ext uri="{FF2B5EF4-FFF2-40B4-BE49-F238E27FC236}">
                  <a16:creationId xmlns:a16="http://schemas.microsoft.com/office/drawing/2014/main" id="{23AA0863-366B-475D-860F-74574D1455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26" y="3229"/>
              <a:ext cx="100" cy="159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Rectangle 82">
              <a:extLst>
                <a:ext uri="{FF2B5EF4-FFF2-40B4-BE49-F238E27FC236}">
                  <a16:creationId xmlns:a16="http://schemas.microsoft.com/office/drawing/2014/main" id="{89F94DA7-93A2-49D2-801F-79F85BD375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8" y="3440"/>
              <a:ext cx="97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Rectangle 83">
              <a:extLst>
                <a:ext uri="{FF2B5EF4-FFF2-40B4-BE49-F238E27FC236}">
                  <a16:creationId xmlns:a16="http://schemas.microsoft.com/office/drawing/2014/main" id="{6D762431-FEE0-421D-B0C8-39D62C4B86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7" y="3440"/>
              <a:ext cx="96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Rectangle 84">
              <a:extLst>
                <a:ext uri="{FF2B5EF4-FFF2-40B4-BE49-F238E27FC236}">
                  <a16:creationId xmlns:a16="http://schemas.microsoft.com/office/drawing/2014/main" id="{42152445-1363-488E-BB00-4C871FBB6B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26" y="3440"/>
              <a:ext cx="100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Rectangle 85">
              <a:extLst>
                <a:ext uri="{FF2B5EF4-FFF2-40B4-BE49-F238E27FC236}">
                  <a16:creationId xmlns:a16="http://schemas.microsoft.com/office/drawing/2014/main" id="{EC52DDC9-14C2-435E-8A5C-9F553FEC36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8" y="3651"/>
              <a:ext cx="97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Rectangle 86">
              <a:extLst>
                <a:ext uri="{FF2B5EF4-FFF2-40B4-BE49-F238E27FC236}">
                  <a16:creationId xmlns:a16="http://schemas.microsoft.com/office/drawing/2014/main" id="{25B54FB2-072C-4DF3-8CD6-01B7002D12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67" y="3651"/>
              <a:ext cx="96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Rectangle 87">
              <a:extLst>
                <a:ext uri="{FF2B5EF4-FFF2-40B4-BE49-F238E27FC236}">
                  <a16:creationId xmlns:a16="http://schemas.microsoft.com/office/drawing/2014/main" id="{3564A1BB-087A-4FD8-B869-518792ECD4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26" y="3651"/>
              <a:ext cx="100" cy="162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88">
              <a:extLst>
                <a:ext uri="{FF2B5EF4-FFF2-40B4-BE49-F238E27FC236}">
                  <a16:creationId xmlns:a16="http://schemas.microsoft.com/office/drawing/2014/main" id="{92ED0249-C97C-4A9C-9951-A1F461B8C1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58" y="3651"/>
              <a:ext cx="352" cy="252"/>
            </a:xfrm>
            <a:custGeom>
              <a:avLst/>
              <a:gdLst>
                <a:gd name="T0" fmla="*/ 102 w 102"/>
                <a:gd name="T1" fmla="*/ 73 h 73"/>
                <a:gd name="T2" fmla="*/ 0 w 102"/>
                <a:gd name="T3" fmla="*/ 73 h 73"/>
                <a:gd name="T4" fmla="*/ 0 w 102"/>
                <a:gd name="T5" fmla="*/ 52 h 73"/>
                <a:gd name="T6" fmla="*/ 51 w 102"/>
                <a:gd name="T7" fmla="*/ 0 h 73"/>
                <a:gd name="T8" fmla="*/ 51 w 102"/>
                <a:gd name="T9" fmla="*/ 0 h 73"/>
                <a:gd name="T10" fmla="*/ 102 w 102"/>
                <a:gd name="T11" fmla="*/ 52 h 73"/>
                <a:gd name="T12" fmla="*/ 102 w 102"/>
                <a:gd name="T1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73">
                  <a:moveTo>
                    <a:pt x="102" y="73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3"/>
                    <a:pt x="22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79" y="0"/>
                    <a:pt x="102" y="23"/>
                    <a:pt x="102" y="52"/>
                  </a:cubicBezTo>
                  <a:lnTo>
                    <a:pt x="102" y="73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89">
              <a:extLst>
                <a:ext uri="{FF2B5EF4-FFF2-40B4-BE49-F238E27FC236}">
                  <a16:creationId xmlns:a16="http://schemas.microsoft.com/office/drawing/2014/main" id="{C739C270-26AE-447D-AEC3-D577903B7C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20" y="3399"/>
              <a:ext cx="107" cy="193"/>
            </a:xfrm>
            <a:custGeom>
              <a:avLst/>
              <a:gdLst>
                <a:gd name="T0" fmla="*/ 16 w 31"/>
                <a:gd name="T1" fmla="*/ 0 h 56"/>
                <a:gd name="T2" fmla="*/ 16 w 31"/>
                <a:gd name="T3" fmla="*/ 0 h 56"/>
                <a:gd name="T4" fmla="*/ 31 w 31"/>
                <a:gd name="T5" fmla="*/ 16 h 56"/>
                <a:gd name="T6" fmla="*/ 31 w 31"/>
                <a:gd name="T7" fmla="*/ 56 h 56"/>
                <a:gd name="T8" fmla="*/ 0 w 31"/>
                <a:gd name="T9" fmla="*/ 56 h 56"/>
                <a:gd name="T10" fmla="*/ 0 w 31"/>
                <a:gd name="T11" fmla="*/ 16 h 56"/>
                <a:gd name="T12" fmla="*/ 16 w 31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6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31" y="7"/>
                    <a:pt x="31" y="1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90">
              <a:extLst>
                <a:ext uri="{FF2B5EF4-FFF2-40B4-BE49-F238E27FC236}">
                  <a16:creationId xmlns:a16="http://schemas.microsoft.com/office/drawing/2014/main" id="{002448DA-71EE-45E5-AFD9-7F4FC13F6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8" y="3399"/>
              <a:ext cx="107" cy="193"/>
            </a:xfrm>
            <a:custGeom>
              <a:avLst/>
              <a:gdLst>
                <a:gd name="T0" fmla="*/ 16 w 31"/>
                <a:gd name="T1" fmla="*/ 0 h 56"/>
                <a:gd name="T2" fmla="*/ 16 w 31"/>
                <a:gd name="T3" fmla="*/ 0 h 56"/>
                <a:gd name="T4" fmla="*/ 31 w 31"/>
                <a:gd name="T5" fmla="*/ 16 h 56"/>
                <a:gd name="T6" fmla="*/ 31 w 31"/>
                <a:gd name="T7" fmla="*/ 56 h 56"/>
                <a:gd name="T8" fmla="*/ 0 w 31"/>
                <a:gd name="T9" fmla="*/ 56 h 56"/>
                <a:gd name="T10" fmla="*/ 0 w 31"/>
                <a:gd name="T11" fmla="*/ 16 h 56"/>
                <a:gd name="T12" fmla="*/ 16 w 31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6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31" y="7"/>
                    <a:pt x="31" y="1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Freeform 91">
              <a:extLst>
                <a:ext uri="{FF2B5EF4-FFF2-40B4-BE49-F238E27FC236}">
                  <a16:creationId xmlns:a16="http://schemas.microsoft.com/office/drawing/2014/main" id="{0C0E1C26-D71E-4386-8481-49EEFBCA15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9" y="3399"/>
              <a:ext cx="107" cy="193"/>
            </a:xfrm>
            <a:custGeom>
              <a:avLst/>
              <a:gdLst>
                <a:gd name="T0" fmla="*/ 16 w 31"/>
                <a:gd name="T1" fmla="*/ 0 h 56"/>
                <a:gd name="T2" fmla="*/ 16 w 31"/>
                <a:gd name="T3" fmla="*/ 0 h 56"/>
                <a:gd name="T4" fmla="*/ 31 w 31"/>
                <a:gd name="T5" fmla="*/ 16 h 56"/>
                <a:gd name="T6" fmla="*/ 31 w 31"/>
                <a:gd name="T7" fmla="*/ 56 h 56"/>
                <a:gd name="T8" fmla="*/ 0 w 31"/>
                <a:gd name="T9" fmla="*/ 56 h 56"/>
                <a:gd name="T10" fmla="*/ 0 w 31"/>
                <a:gd name="T11" fmla="*/ 16 h 56"/>
                <a:gd name="T12" fmla="*/ 16 w 31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6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31" y="7"/>
                    <a:pt x="31" y="1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Freeform 92">
              <a:extLst>
                <a:ext uri="{FF2B5EF4-FFF2-40B4-BE49-F238E27FC236}">
                  <a16:creationId xmlns:a16="http://schemas.microsoft.com/office/drawing/2014/main" id="{514172FA-8249-489F-BCD4-BF9275C7CA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20" y="3129"/>
              <a:ext cx="107" cy="194"/>
            </a:xfrm>
            <a:custGeom>
              <a:avLst/>
              <a:gdLst>
                <a:gd name="T0" fmla="*/ 16 w 31"/>
                <a:gd name="T1" fmla="*/ 0 h 56"/>
                <a:gd name="T2" fmla="*/ 16 w 31"/>
                <a:gd name="T3" fmla="*/ 0 h 56"/>
                <a:gd name="T4" fmla="*/ 31 w 31"/>
                <a:gd name="T5" fmla="*/ 15 h 56"/>
                <a:gd name="T6" fmla="*/ 31 w 31"/>
                <a:gd name="T7" fmla="*/ 56 h 56"/>
                <a:gd name="T8" fmla="*/ 0 w 31"/>
                <a:gd name="T9" fmla="*/ 56 h 56"/>
                <a:gd name="T10" fmla="*/ 0 w 31"/>
                <a:gd name="T11" fmla="*/ 15 h 56"/>
                <a:gd name="T12" fmla="*/ 16 w 31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6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31" y="6"/>
                    <a:pt x="31" y="15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6" y="0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93">
              <a:extLst>
                <a:ext uri="{FF2B5EF4-FFF2-40B4-BE49-F238E27FC236}">
                  <a16:creationId xmlns:a16="http://schemas.microsoft.com/office/drawing/2014/main" id="{73359946-AB2E-4A9F-A10E-A4FCE701DE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8" y="3129"/>
              <a:ext cx="107" cy="194"/>
            </a:xfrm>
            <a:custGeom>
              <a:avLst/>
              <a:gdLst>
                <a:gd name="T0" fmla="*/ 16 w 31"/>
                <a:gd name="T1" fmla="*/ 0 h 56"/>
                <a:gd name="T2" fmla="*/ 16 w 31"/>
                <a:gd name="T3" fmla="*/ 0 h 56"/>
                <a:gd name="T4" fmla="*/ 31 w 31"/>
                <a:gd name="T5" fmla="*/ 15 h 56"/>
                <a:gd name="T6" fmla="*/ 31 w 31"/>
                <a:gd name="T7" fmla="*/ 56 h 56"/>
                <a:gd name="T8" fmla="*/ 0 w 31"/>
                <a:gd name="T9" fmla="*/ 56 h 56"/>
                <a:gd name="T10" fmla="*/ 0 w 31"/>
                <a:gd name="T11" fmla="*/ 15 h 56"/>
                <a:gd name="T12" fmla="*/ 16 w 31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6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31" y="6"/>
                    <a:pt x="31" y="15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6" y="0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Freeform 94">
              <a:extLst>
                <a:ext uri="{FF2B5EF4-FFF2-40B4-BE49-F238E27FC236}">
                  <a16:creationId xmlns:a16="http://schemas.microsoft.com/office/drawing/2014/main" id="{1092E001-A29E-4BB3-AD97-158451193E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9" y="3129"/>
              <a:ext cx="107" cy="194"/>
            </a:xfrm>
            <a:custGeom>
              <a:avLst/>
              <a:gdLst>
                <a:gd name="T0" fmla="*/ 16 w 31"/>
                <a:gd name="T1" fmla="*/ 0 h 56"/>
                <a:gd name="T2" fmla="*/ 16 w 31"/>
                <a:gd name="T3" fmla="*/ 0 h 56"/>
                <a:gd name="T4" fmla="*/ 31 w 31"/>
                <a:gd name="T5" fmla="*/ 15 h 56"/>
                <a:gd name="T6" fmla="*/ 31 w 31"/>
                <a:gd name="T7" fmla="*/ 56 h 56"/>
                <a:gd name="T8" fmla="*/ 0 w 31"/>
                <a:gd name="T9" fmla="*/ 56 h 56"/>
                <a:gd name="T10" fmla="*/ 0 w 31"/>
                <a:gd name="T11" fmla="*/ 15 h 56"/>
                <a:gd name="T12" fmla="*/ 16 w 31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6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31" y="6"/>
                    <a:pt x="31" y="15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6" y="0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Freeform 95">
              <a:extLst>
                <a:ext uri="{FF2B5EF4-FFF2-40B4-BE49-F238E27FC236}">
                  <a16:creationId xmlns:a16="http://schemas.microsoft.com/office/drawing/2014/main" id="{76F391FA-1900-42CF-94F6-69D9901593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20" y="2856"/>
              <a:ext cx="107" cy="194"/>
            </a:xfrm>
            <a:custGeom>
              <a:avLst/>
              <a:gdLst>
                <a:gd name="T0" fmla="*/ 16 w 31"/>
                <a:gd name="T1" fmla="*/ 0 h 56"/>
                <a:gd name="T2" fmla="*/ 16 w 31"/>
                <a:gd name="T3" fmla="*/ 0 h 56"/>
                <a:gd name="T4" fmla="*/ 31 w 31"/>
                <a:gd name="T5" fmla="*/ 16 h 56"/>
                <a:gd name="T6" fmla="*/ 31 w 31"/>
                <a:gd name="T7" fmla="*/ 56 h 56"/>
                <a:gd name="T8" fmla="*/ 0 w 31"/>
                <a:gd name="T9" fmla="*/ 56 h 56"/>
                <a:gd name="T10" fmla="*/ 0 w 31"/>
                <a:gd name="T11" fmla="*/ 16 h 56"/>
                <a:gd name="T12" fmla="*/ 16 w 31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6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31" y="7"/>
                    <a:pt x="31" y="1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Freeform 96">
              <a:extLst>
                <a:ext uri="{FF2B5EF4-FFF2-40B4-BE49-F238E27FC236}">
                  <a16:creationId xmlns:a16="http://schemas.microsoft.com/office/drawing/2014/main" id="{CE8E980B-68A3-430C-9FB3-2A838A3D60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8" y="2856"/>
              <a:ext cx="107" cy="194"/>
            </a:xfrm>
            <a:custGeom>
              <a:avLst/>
              <a:gdLst>
                <a:gd name="T0" fmla="*/ 16 w 31"/>
                <a:gd name="T1" fmla="*/ 0 h 56"/>
                <a:gd name="T2" fmla="*/ 16 w 31"/>
                <a:gd name="T3" fmla="*/ 0 h 56"/>
                <a:gd name="T4" fmla="*/ 31 w 31"/>
                <a:gd name="T5" fmla="*/ 16 h 56"/>
                <a:gd name="T6" fmla="*/ 31 w 31"/>
                <a:gd name="T7" fmla="*/ 56 h 56"/>
                <a:gd name="T8" fmla="*/ 0 w 31"/>
                <a:gd name="T9" fmla="*/ 56 h 56"/>
                <a:gd name="T10" fmla="*/ 0 w 31"/>
                <a:gd name="T11" fmla="*/ 16 h 56"/>
                <a:gd name="T12" fmla="*/ 16 w 31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6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31" y="7"/>
                    <a:pt x="31" y="1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Freeform 97">
              <a:extLst>
                <a:ext uri="{FF2B5EF4-FFF2-40B4-BE49-F238E27FC236}">
                  <a16:creationId xmlns:a16="http://schemas.microsoft.com/office/drawing/2014/main" id="{56708679-439F-4154-B81F-4F41EB5D13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9" y="2856"/>
              <a:ext cx="107" cy="194"/>
            </a:xfrm>
            <a:custGeom>
              <a:avLst/>
              <a:gdLst>
                <a:gd name="T0" fmla="*/ 16 w 31"/>
                <a:gd name="T1" fmla="*/ 0 h 56"/>
                <a:gd name="T2" fmla="*/ 16 w 31"/>
                <a:gd name="T3" fmla="*/ 0 h 56"/>
                <a:gd name="T4" fmla="*/ 31 w 31"/>
                <a:gd name="T5" fmla="*/ 16 h 56"/>
                <a:gd name="T6" fmla="*/ 31 w 31"/>
                <a:gd name="T7" fmla="*/ 56 h 56"/>
                <a:gd name="T8" fmla="*/ 0 w 31"/>
                <a:gd name="T9" fmla="*/ 56 h 56"/>
                <a:gd name="T10" fmla="*/ 0 w 31"/>
                <a:gd name="T11" fmla="*/ 16 h 56"/>
                <a:gd name="T12" fmla="*/ 16 w 31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6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31" y="7"/>
                    <a:pt x="31" y="1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Rectangle 98">
              <a:extLst>
                <a:ext uri="{FF2B5EF4-FFF2-40B4-BE49-F238E27FC236}">
                  <a16:creationId xmlns:a16="http://schemas.microsoft.com/office/drawing/2014/main" id="{F70B9C83-21CF-487A-89FF-038F488021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35" y="2106"/>
              <a:ext cx="566" cy="1797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Rectangle 99">
              <a:extLst>
                <a:ext uri="{FF2B5EF4-FFF2-40B4-BE49-F238E27FC236}">
                  <a16:creationId xmlns:a16="http://schemas.microsoft.com/office/drawing/2014/main" id="{E545EBBD-E133-48BB-8FB3-063FCC1F2D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35" y="2331"/>
              <a:ext cx="566" cy="117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Rectangle 100">
              <a:extLst>
                <a:ext uri="{FF2B5EF4-FFF2-40B4-BE49-F238E27FC236}">
                  <a16:creationId xmlns:a16="http://schemas.microsoft.com/office/drawing/2014/main" id="{80AC87DC-10E3-4B77-93CD-2CD9B52B13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35" y="2556"/>
              <a:ext cx="566" cy="11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Rectangle 101">
              <a:extLst>
                <a:ext uri="{FF2B5EF4-FFF2-40B4-BE49-F238E27FC236}">
                  <a16:creationId xmlns:a16="http://schemas.microsoft.com/office/drawing/2014/main" id="{CA9D74C4-CC9B-458B-BC44-D27595060A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35" y="2777"/>
              <a:ext cx="566" cy="117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Rectangle 102">
              <a:extLst>
                <a:ext uri="{FF2B5EF4-FFF2-40B4-BE49-F238E27FC236}">
                  <a16:creationId xmlns:a16="http://schemas.microsoft.com/office/drawing/2014/main" id="{53FADC8E-2258-496A-A2B1-158985CA28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35" y="3001"/>
              <a:ext cx="566" cy="11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Rectangle 103">
              <a:extLst>
                <a:ext uri="{FF2B5EF4-FFF2-40B4-BE49-F238E27FC236}">
                  <a16:creationId xmlns:a16="http://schemas.microsoft.com/office/drawing/2014/main" id="{869C5045-E342-4EA8-9E32-16037EB616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35" y="3222"/>
              <a:ext cx="566" cy="11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Rectangle 104">
              <a:extLst>
                <a:ext uri="{FF2B5EF4-FFF2-40B4-BE49-F238E27FC236}">
                  <a16:creationId xmlns:a16="http://schemas.microsoft.com/office/drawing/2014/main" id="{BDF10346-BE33-4661-A450-FF0415936E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35" y="3447"/>
              <a:ext cx="566" cy="117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Rectangle 105">
              <a:extLst>
                <a:ext uri="{FF2B5EF4-FFF2-40B4-BE49-F238E27FC236}">
                  <a16:creationId xmlns:a16="http://schemas.microsoft.com/office/drawing/2014/main" id="{BE0DBD18-870B-4F0F-A2F9-46E8D60640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35" y="3672"/>
              <a:ext cx="566" cy="117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Freeform 106">
              <a:extLst>
                <a:ext uri="{FF2B5EF4-FFF2-40B4-BE49-F238E27FC236}">
                  <a16:creationId xmlns:a16="http://schemas.microsoft.com/office/drawing/2014/main" id="{D016264A-89D8-456A-8E7A-DA022239DB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35" y="1916"/>
              <a:ext cx="566" cy="308"/>
            </a:xfrm>
            <a:custGeom>
              <a:avLst/>
              <a:gdLst>
                <a:gd name="T0" fmla="*/ 448 w 566"/>
                <a:gd name="T1" fmla="*/ 190 h 308"/>
                <a:gd name="T2" fmla="*/ 448 w 566"/>
                <a:gd name="T3" fmla="*/ 0 h 308"/>
                <a:gd name="T4" fmla="*/ 417 w 566"/>
                <a:gd name="T5" fmla="*/ 0 h 308"/>
                <a:gd name="T6" fmla="*/ 417 w 566"/>
                <a:gd name="T7" fmla="*/ 190 h 308"/>
                <a:gd name="T8" fmla="*/ 145 w 566"/>
                <a:gd name="T9" fmla="*/ 190 h 308"/>
                <a:gd name="T10" fmla="*/ 145 w 566"/>
                <a:gd name="T11" fmla="*/ 0 h 308"/>
                <a:gd name="T12" fmla="*/ 113 w 566"/>
                <a:gd name="T13" fmla="*/ 0 h 308"/>
                <a:gd name="T14" fmla="*/ 113 w 566"/>
                <a:gd name="T15" fmla="*/ 190 h 308"/>
                <a:gd name="T16" fmla="*/ 0 w 566"/>
                <a:gd name="T17" fmla="*/ 190 h 308"/>
                <a:gd name="T18" fmla="*/ 0 w 566"/>
                <a:gd name="T19" fmla="*/ 308 h 308"/>
                <a:gd name="T20" fmla="*/ 566 w 566"/>
                <a:gd name="T21" fmla="*/ 308 h 308"/>
                <a:gd name="T22" fmla="*/ 566 w 566"/>
                <a:gd name="T23" fmla="*/ 190 h 308"/>
                <a:gd name="T24" fmla="*/ 448 w 566"/>
                <a:gd name="T25" fmla="*/ 19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6" h="308">
                  <a:moveTo>
                    <a:pt x="448" y="190"/>
                  </a:moveTo>
                  <a:lnTo>
                    <a:pt x="448" y="0"/>
                  </a:lnTo>
                  <a:lnTo>
                    <a:pt x="417" y="0"/>
                  </a:lnTo>
                  <a:lnTo>
                    <a:pt x="417" y="190"/>
                  </a:lnTo>
                  <a:lnTo>
                    <a:pt x="145" y="190"/>
                  </a:lnTo>
                  <a:lnTo>
                    <a:pt x="145" y="0"/>
                  </a:lnTo>
                  <a:lnTo>
                    <a:pt x="113" y="0"/>
                  </a:lnTo>
                  <a:lnTo>
                    <a:pt x="113" y="190"/>
                  </a:lnTo>
                  <a:lnTo>
                    <a:pt x="0" y="190"/>
                  </a:lnTo>
                  <a:lnTo>
                    <a:pt x="0" y="308"/>
                  </a:lnTo>
                  <a:lnTo>
                    <a:pt x="566" y="308"/>
                  </a:lnTo>
                  <a:lnTo>
                    <a:pt x="566" y="190"/>
                  </a:lnTo>
                  <a:lnTo>
                    <a:pt x="448" y="19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Freeform 107">
              <a:extLst>
                <a:ext uri="{FF2B5EF4-FFF2-40B4-BE49-F238E27FC236}">
                  <a16:creationId xmlns:a16="http://schemas.microsoft.com/office/drawing/2014/main" id="{E1D85DFA-E7BC-492B-B27A-DBB3C7ED6C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64" y="3153"/>
              <a:ext cx="566" cy="750"/>
            </a:xfrm>
            <a:custGeom>
              <a:avLst/>
              <a:gdLst>
                <a:gd name="T0" fmla="*/ 442 w 566"/>
                <a:gd name="T1" fmla="*/ 62 h 750"/>
                <a:gd name="T2" fmla="*/ 124 w 566"/>
                <a:gd name="T3" fmla="*/ 62 h 750"/>
                <a:gd name="T4" fmla="*/ 0 w 566"/>
                <a:gd name="T5" fmla="*/ 128 h 750"/>
                <a:gd name="T6" fmla="*/ 183 w 566"/>
                <a:gd name="T7" fmla="*/ 750 h 750"/>
                <a:gd name="T8" fmla="*/ 386 w 566"/>
                <a:gd name="T9" fmla="*/ 591 h 750"/>
                <a:gd name="T10" fmla="*/ 566 w 566"/>
                <a:gd name="T11" fmla="*/ 750 h 750"/>
                <a:gd name="T12" fmla="*/ 442 w 566"/>
                <a:gd name="T13" fmla="*/ 128 h 750"/>
                <a:gd name="T14" fmla="*/ 58 w 566"/>
                <a:gd name="T15" fmla="*/ 532 h 750"/>
                <a:gd name="T16" fmla="*/ 124 w 566"/>
                <a:gd name="T17" fmla="*/ 432 h 750"/>
                <a:gd name="T18" fmla="*/ 124 w 566"/>
                <a:gd name="T19" fmla="*/ 404 h 750"/>
                <a:gd name="T20" fmla="*/ 58 w 566"/>
                <a:gd name="T21" fmla="*/ 304 h 750"/>
                <a:gd name="T22" fmla="*/ 124 w 566"/>
                <a:gd name="T23" fmla="*/ 404 h 750"/>
                <a:gd name="T24" fmla="*/ 58 w 566"/>
                <a:gd name="T25" fmla="*/ 277 h 750"/>
                <a:gd name="T26" fmla="*/ 124 w 566"/>
                <a:gd name="T27" fmla="*/ 176 h 750"/>
                <a:gd name="T28" fmla="*/ 221 w 566"/>
                <a:gd name="T29" fmla="*/ 532 h 750"/>
                <a:gd name="T30" fmla="*/ 155 w 566"/>
                <a:gd name="T31" fmla="*/ 432 h 750"/>
                <a:gd name="T32" fmla="*/ 221 w 566"/>
                <a:gd name="T33" fmla="*/ 532 h 750"/>
                <a:gd name="T34" fmla="*/ 155 w 566"/>
                <a:gd name="T35" fmla="*/ 404 h 750"/>
                <a:gd name="T36" fmla="*/ 221 w 566"/>
                <a:gd name="T37" fmla="*/ 304 h 750"/>
                <a:gd name="T38" fmla="*/ 221 w 566"/>
                <a:gd name="T39" fmla="*/ 277 h 750"/>
                <a:gd name="T40" fmla="*/ 155 w 566"/>
                <a:gd name="T41" fmla="*/ 176 h 750"/>
                <a:gd name="T42" fmla="*/ 221 w 566"/>
                <a:gd name="T43" fmla="*/ 277 h 750"/>
                <a:gd name="T44" fmla="*/ 252 w 566"/>
                <a:gd name="T45" fmla="*/ 532 h 750"/>
                <a:gd name="T46" fmla="*/ 317 w 566"/>
                <a:gd name="T47" fmla="*/ 432 h 750"/>
                <a:gd name="T48" fmla="*/ 317 w 566"/>
                <a:gd name="T49" fmla="*/ 404 h 750"/>
                <a:gd name="T50" fmla="*/ 252 w 566"/>
                <a:gd name="T51" fmla="*/ 304 h 750"/>
                <a:gd name="T52" fmla="*/ 317 w 566"/>
                <a:gd name="T53" fmla="*/ 404 h 750"/>
                <a:gd name="T54" fmla="*/ 252 w 566"/>
                <a:gd name="T55" fmla="*/ 277 h 750"/>
                <a:gd name="T56" fmla="*/ 317 w 566"/>
                <a:gd name="T57" fmla="*/ 176 h 750"/>
                <a:gd name="T58" fmla="*/ 411 w 566"/>
                <a:gd name="T59" fmla="*/ 532 h 750"/>
                <a:gd name="T60" fmla="*/ 345 w 566"/>
                <a:gd name="T61" fmla="*/ 432 h 750"/>
                <a:gd name="T62" fmla="*/ 411 w 566"/>
                <a:gd name="T63" fmla="*/ 532 h 750"/>
                <a:gd name="T64" fmla="*/ 345 w 566"/>
                <a:gd name="T65" fmla="*/ 404 h 750"/>
                <a:gd name="T66" fmla="*/ 411 w 566"/>
                <a:gd name="T67" fmla="*/ 304 h 750"/>
                <a:gd name="T68" fmla="*/ 411 w 566"/>
                <a:gd name="T69" fmla="*/ 277 h 750"/>
                <a:gd name="T70" fmla="*/ 345 w 566"/>
                <a:gd name="T71" fmla="*/ 176 h 750"/>
                <a:gd name="T72" fmla="*/ 411 w 566"/>
                <a:gd name="T73" fmla="*/ 277 h 750"/>
                <a:gd name="T74" fmla="*/ 442 w 566"/>
                <a:gd name="T75" fmla="*/ 532 h 750"/>
                <a:gd name="T76" fmla="*/ 507 w 566"/>
                <a:gd name="T77" fmla="*/ 432 h 750"/>
                <a:gd name="T78" fmla="*/ 507 w 566"/>
                <a:gd name="T79" fmla="*/ 404 h 750"/>
                <a:gd name="T80" fmla="*/ 442 w 566"/>
                <a:gd name="T81" fmla="*/ 304 h 750"/>
                <a:gd name="T82" fmla="*/ 507 w 566"/>
                <a:gd name="T83" fmla="*/ 404 h 750"/>
                <a:gd name="T84" fmla="*/ 442 w 566"/>
                <a:gd name="T85" fmla="*/ 277 h 750"/>
                <a:gd name="T86" fmla="*/ 507 w 566"/>
                <a:gd name="T87" fmla="*/ 176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66" h="750">
                  <a:moveTo>
                    <a:pt x="442" y="128"/>
                  </a:moveTo>
                  <a:lnTo>
                    <a:pt x="442" y="62"/>
                  </a:lnTo>
                  <a:lnTo>
                    <a:pt x="283" y="0"/>
                  </a:lnTo>
                  <a:lnTo>
                    <a:pt x="124" y="62"/>
                  </a:lnTo>
                  <a:lnTo>
                    <a:pt x="124" y="128"/>
                  </a:lnTo>
                  <a:lnTo>
                    <a:pt x="0" y="128"/>
                  </a:lnTo>
                  <a:lnTo>
                    <a:pt x="0" y="750"/>
                  </a:lnTo>
                  <a:lnTo>
                    <a:pt x="183" y="750"/>
                  </a:lnTo>
                  <a:lnTo>
                    <a:pt x="183" y="591"/>
                  </a:lnTo>
                  <a:lnTo>
                    <a:pt x="386" y="591"/>
                  </a:lnTo>
                  <a:lnTo>
                    <a:pt x="386" y="750"/>
                  </a:lnTo>
                  <a:lnTo>
                    <a:pt x="566" y="750"/>
                  </a:lnTo>
                  <a:lnTo>
                    <a:pt x="566" y="128"/>
                  </a:lnTo>
                  <a:lnTo>
                    <a:pt x="442" y="128"/>
                  </a:lnTo>
                  <a:close/>
                  <a:moveTo>
                    <a:pt x="124" y="532"/>
                  </a:moveTo>
                  <a:lnTo>
                    <a:pt x="58" y="532"/>
                  </a:lnTo>
                  <a:lnTo>
                    <a:pt x="58" y="432"/>
                  </a:lnTo>
                  <a:lnTo>
                    <a:pt x="124" y="432"/>
                  </a:lnTo>
                  <a:lnTo>
                    <a:pt x="124" y="532"/>
                  </a:lnTo>
                  <a:close/>
                  <a:moveTo>
                    <a:pt x="124" y="404"/>
                  </a:moveTo>
                  <a:lnTo>
                    <a:pt x="58" y="404"/>
                  </a:lnTo>
                  <a:lnTo>
                    <a:pt x="58" y="304"/>
                  </a:lnTo>
                  <a:lnTo>
                    <a:pt x="124" y="304"/>
                  </a:lnTo>
                  <a:lnTo>
                    <a:pt x="124" y="404"/>
                  </a:lnTo>
                  <a:close/>
                  <a:moveTo>
                    <a:pt x="124" y="277"/>
                  </a:moveTo>
                  <a:lnTo>
                    <a:pt x="58" y="277"/>
                  </a:lnTo>
                  <a:lnTo>
                    <a:pt x="58" y="176"/>
                  </a:lnTo>
                  <a:lnTo>
                    <a:pt x="124" y="176"/>
                  </a:lnTo>
                  <a:lnTo>
                    <a:pt x="124" y="277"/>
                  </a:lnTo>
                  <a:close/>
                  <a:moveTo>
                    <a:pt x="221" y="532"/>
                  </a:moveTo>
                  <a:lnTo>
                    <a:pt x="155" y="532"/>
                  </a:lnTo>
                  <a:lnTo>
                    <a:pt x="155" y="432"/>
                  </a:lnTo>
                  <a:lnTo>
                    <a:pt x="221" y="432"/>
                  </a:lnTo>
                  <a:lnTo>
                    <a:pt x="221" y="532"/>
                  </a:lnTo>
                  <a:close/>
                  <a:moveTo>
                    <a:pt x="221" y="404"/>
                  </a:moveTo>
                  <a:lnTo>
                    <a:pt x="155" y="404"/>
                  </a:lnTo>
                  <a:lnTo>
                    <a:pt x="155" y="304"/>
                  </a:lnTo>
                  <a:lnTo>
                    <a:pt x="221" y="304"/>
                  </a:lnTo>
                  <a:lnTo>
                    <a:pt x="221" y="404"/>
                  </a:lnTo>
                  <a:close/>
                  <a:moveTo>
                    <a:pt x="221" y="277"/>
                  </a:moveTo>
                  <a:lnTo>
                    <a:pt x="155" y="277"/>
                  </a:lnTo>
                  <a:lnTo>
                    <a:pt x="155" y="176"/>
                  </a:lnTo>
                  <a:lnTo>
                    <a:pt x="221" y="176"/>
                  </a:lnTo>
                  <a:lnTo>
                    <a:pt x="221" y="277"/>
                  </a:lnTo>
                  <a:close/>
                  <a:moveTo>
                    <a:pt x="317" y="532"/>
                  </a:moveTo>
                  <a:lnTo>
                    <a:pt x="252" y="532"/>
                  </a:lnTo>
                  <a:lnTo>
                    <a:pt x="252" y="432"/>
                  </a:lnTo>
                  <a:lnTo>
                    <a:pt x="317" y="432"/>
                  </a:lnTo>
                  <a:lnTo>
                    <a:pt x="317" y="532"/>
                  </a:lnTo>
                  <a:close/>
                  <a:moveTo>
                    <a:pt x="317" y="404"/>
                  </a:moveTo>
                  <a:lnTo>
                    <a:pt x="252" y="404"/>
                  </a:lnTo>
                  <a:lnTo>
                    <a:pt x="252" y="304"/>
                  </a:lnTo>
                  <a:lnTo>
                    <a:pt x="317" y="304"/>
                  </a:lnTo>
                  <a:lnTo>
                    <a:pt x="317" y="404"/>
                  </a:lnTo>
                  <a:close/>
                  <a:moveTo>
                    <a:pt x="317" y="277"/>
                  </a:moveTo>
                  <a:lnTo>
                    <a:pt x="252" y="277"/>
                  </a:lnTo>
                  <a:lnTo>
                    <a:pt x="252" y="176"/>
                  </a:lnTo>
                  <a:lnTo>
                    <a:pt x="317" y="176"/>
                  </a:lnTo>
                  <a:lnTo>
                    <a:pt x="317" y="277"/>
                  </a:lnTo>
                  <a:close/>
                  <a:moveTo>
                    <a:pt x="411" y="532"/>
                  </a:moveTo>
                  <a:lnTo>
                    <a:pt x="345" y="532"/>
                  </a:lnTo>
                  <a:lnTo>
                    <a:pt x="345" y="432"/>
                  </a:lnTo>
                  <a:lnTo>
                    <a:pt x="411" y="432"/>
                  </a:lnTo>
                  <a:lnTo>
                    <a:pt x="411" y="532"/>
                  </a:lnTo>
                  <a:close/>
                  <a:moveTo>
                    <a:pt x="411" y="404"/>
                  </a:moveTo>
                  <a:lnTo>
                    <a:pt x="345" y="404"/>
                  </a:lnTo>
                  <a:lnTo>
                    <a:pt x="345" y="304"/>
                  </a:lnTo>
                  <a:lnTo>
                    <a:pt x="411" y="304"/>
                  </a:lnTo>
                  <a:lnTo>
                    <a:pt x="411" y="404"/>
                  </a:lnTo>
                  <a:close/>
                  <a:moveTo>
                    <a:pt x="411" y="277"/>
                  </a:moveTo>
                  <a:lnTo>
                    <a:pt x="345" y="277"/>
                  </a:lnTo>
                  <a:lnTo>
                    <a:pt x="345" y="176"/>
                  </a:lnTo>
                  <a:lnTo>
                    <a:pt x="411" y="176"/>
                  </a:lnTo>
                  <a:lnTo>
                    <a:pt x="411" y="277"/>
                  </a:lnTo>
                  <a:close/>
                  <a:moveTo>
                    <a:pt x="507" y="532"/>
                  </a:moveTo>
                  <a:lnTo>
                    <a:pt x="442" y="532"/>
                  </a:lnTo>
                  <a:lnTo>
                    <a:pt x="442" y="432"/>
                  </a:lnTo>
                  <a:lnTo>
                    <a:pt x="507" y="432"/>
                  </a:lnTo>
                  <a:lnTo>
                    <a:pt x="507" y="532"/>
                  </a:lnTo>
                  <a:close/>
                  <a:moveTo>
                    <a:pt x="507" y="404"/>
                  </a:moveTo>
                  <a:lnTo>
                    <a:pt x="442" y="404"/>
                  </a:lnTo>
                  <a:lnTo>
                    <a:pt x="442" y="304"/>
                  </a:lnTo>
                  <a:lnTo>
                    <a:pt x="507" y="304"/>
                  </a:lnTo>
                  <a:lnTo>
                    <a:pt x="507" y="404"/>
                  </a:lnTo>
                  <a:close/>
                  <a:moveTo>
                    <a:pt x="507" y="277"/>
                  </a:moveTo>
                  <a:lnTo>
                    <a:pt x="442" y="277"/>
                  </a:lnTo>
                  <a:lnTo>
                    <a:pt x="442" y="176"/>
                  </a:lnTo>
                  <a:lnTo>
                    <a:pt x="507" y="176"/>
                  </a:lnTo>
                  <a:lnTo>
                    <a:pt x="507" y="277"/>
                  </a:lnTo>
                  <a:close/>
                </a:path>
              </a:pathLst>
            </a:custGeom>
            <a:solidFill>
              <a:srgbClr val="459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58" name="Footer Placeholder 357">
            <a:extLst>
              <a:ext uri="{FF2B5EF4-FFF2-40B4-BE49-F238E27FC236}">
                <a16:creationId xmlns:a16="http://schemas.microsoft.com/office/drawing/2014/main" id="{F652F473-0621-47E5-8370-8E326BB478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74054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84200" y="43053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92" name="MS logo gray - EMF">
            <a:extLst>
              <a:ext uri="{FF2B5EF4-FFF2-40B4-BE49-F238E27FC236}">
                <a16:creationId xmlns:a16="http://schemas.microsoft.com/office/drawing/2014/main" id="{D4FA9053-A170-4BCC-8D9A-D8F925B6C3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1" cy="29260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35E8C2-8EAA-40CF-831B-FB03978AADD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Microsoft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69B20A-47BA-4F10-8661-EA5907A15A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B1EABAD-8D14-4076-ADC5-6522B7ADD19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0060F6-C6F4-494B-9DCF-F817BF908829}"/>
              </a:ext>
            </a:extLst>
          </p:cNvPr>
          <p:cNvSpPr txBox="1"/>
          <p:nvPr userDrawn="1"/>
        </p:nvSpPr>
        <p:spPr>
          <a:xfrm>
            <a:off x="577805" y="3607491"/>
            <a:ext cx="6606761" cy="274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Board of Directors Retreat  </a:t>
            </a: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·  March 12-13, 2018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38888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712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0F860-355B-4D01-9AE4-8C4FD8211D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D9F200-47AD-4F7A-929E-BE0C2BE61D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EC2D45-E05F-4CE2-B862-B54F1B883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0E7E46-0B1E-4328-BCCB-A263DFDBFBEF}" type="datetimeFigureOut">
              <a:rPr lang="en-US" smtClean="0"/>
              <a:t>12/12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BD4ABE-A1BB-4F9B-8CEA-1CE6B87A8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31DCE8-5A0B-4E44-948E-9434E37F9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23DDC-9353-4CA9-B4AC-F1FA05FCD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4818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lan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9180574" y="6248511"/>
            <a:ext cx="2742188" cy="364224"/>
          </a:xfrm>
          <a:prstGeom prst="rect">
            <a:avLst/>
          </a:prstGeom>
        </p:spPr>
        <p:txBody>
          <a:bodyPr vert="horz" lIns="91440" tIns="45720" rIns="146304" bIns="45720" rtlCol="0" anchor="ctr"/>
          <a:lstStyle>
            <a:lvl1pPr marL="0" algn="r" defTabSz="914367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474540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6" name="MS logo white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5841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7" name="MS logo gray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28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quare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5"/>
            <a:ext cx="4840694" cy="1799462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2" y="3877277"/>
            <a:ext cx="4840694" cy="717249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137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3418" y="-2839"/>
            <a:ext cx="6856854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DB6948D-C442-4939-AF35-BD4876F6DD64}"/>
              </a:ext>
            </a:extLst>
          </p:cNvPr>
          <p:cNvSpPr/>
          <p:nvPr userDrawn="1"/>
        </p:nvSpPr>
        <p:spPr bwMode="auto">
          <a:xfrm>
            <a:off x="0" y="6504167"/>
            <a:ext cx="2130950" cy="3538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5796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uilding, standing, person, man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1" y="0"/>
            <a:ext cx="8205112" cy="6858000"/>
          </a:xfrm>
          <a:prstGeom prst="rect">
            <a:avLst/>
          </a:prstGeom>
          <a:gradFill flip="none" rotWithShape="1">
            <a:gsLst>
              <a:gs pos="22000">
                <a:srgbClr val="000000">
                  <a:alpha val="49000"/>
                </a:srgbClr>
              </a:gs>
              <a:gs pos="89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648455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773828"/>
            <a:ext cx="6276530" cy="543185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235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981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person, floor, building&#10;&#10;Description generated with very high confidence">
            <a:extLst>
              <a:ext uri="{FF2B5EF4-FFF2-40B4-BE49-F238E27FC236}">
                <a16:creationId xmlns:a16="http://schemas.microsoft.com/office/drawing/2014/main" id="{56AEA8EA-FFF8-4D86-BD1F-20DCCEB0E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2" y="0"/>
            <a:ext cx="6912430" cy="6858000"/>
          </a:xfrm>
          <a:prstGeom prst="rect">
            <a:avLst/>
          </a:prstGeom>
          <a:gradFill flip="none" rotWithShape="1">
            <a:gsLst>
              <a:gs pos="22000">
                <a:srgbClr val="000000">
                  <a:alpha val="47000"/>
                </a:srgbClr>
              </a:gs>
              <a:gs pos="89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648455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773828"/>
            <a:ext cx="6276530" cy="543185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235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288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9720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quare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5"/>
            <a:ext cx="4840694" cy="1799462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2" y="3877277"/>
            <a:ext cx="4840694" cy="717249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137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3418" y="-2839"/>
            <a:ext cx="68568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9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16056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598978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36891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665700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3681327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91069"/>
            <a:ext cx="4795873" cy="1484704"/>
          </a:xfrm>
        </p:spPr>
        <p:txBody>
          <a:bodyPr wrap="square" anchor="t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0705857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110786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16056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F868F54-4260-4F19-B09E-DFA8316028C5}"/>
              </a:ext>
            </a:extLst>
          </p:cNvPr>
          <p:cNvSpPr/>
          <p:nvPr userDrawn="1"/>
        </p:nvSpPr>
        <p:spPr bwMode="auto">
          <a:xfrm>
            <a:off x="79513" y="6568489"/>
            <a:ext cx="1948070" cy="2895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8100153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815843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366783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-1"/>
            <a:ext cx="12192000" cy="685800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 then send to back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4722813" y="2095671"/>
            <a:ext cx="2743200" cy="914400"/>
          </a:xfrm>
        </p:spPr>
        <p:txBody>
          <a:bodyPr>
            <a:normAutofit/>
          </a:bodyPr>
          <a:lstStyle>
            <a:lvl1pPr marL="0" marR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lang="en-US" sz="5998" b="0" kern="1200" spc="0" baseline="0">
                <a:latin typeface="+mj-lt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4400" b="1" kern="1200" spc="0" baseline="0">
                <a:solidFill>
                  <a:schemeClr val="bg1"/>
                </a:solidFill>
                <a:latin typeface="+mn-lt"/>
                <a:ea typeface="Segoe UI Semibold" panose="020B0702040204020203" pitchFamily="34" charset="0"/>
                <a:cs typeface="Segoe UI Semibold" panose="020B0702040204020203" pitchFamily="34" charset="0"/>
              </a:rPr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6476018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975">
          <p15:clr>
            <a:srgbClr val="5ACBF0"/>
          </p15:clr>
        </p15:guide>
        <p15:guide id="2" pos="3551">
          <p15:clr>
            <a:srgbClr val="5ACBF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82124419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56853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7806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724610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4941840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449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3302732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2542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1922270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1"/>
              </a:buClr>
              <a:buSzPct val="90000"/>
              <a:buFont typeface="Arial" pitchFamily="34" charset="0"/>
              <a:buNone/>
              <a:defRPr sz="2745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1pPr>
            <a:lvl2pPr marL="284789" indent="0">
              <a:buClr>
                <a:schemeClr val="tx1"/>
              </a:buClr>
              <a:buSzPct val="90000"/>
              <a:buFont typeface="Arial" pitchFamily="34" charset="0"/>
              <a:buNone/>
              <a:defRPr sz="2353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2pPr>
            <a:lvl3pPr marL="560241" indent="0">
              <a:buClr>
                <a:schemeClr val="tx1"/>
              </a:buClr>
              <a:buSzPct val="90000"/>
              <a:buFont typeface="Arial" pitchFamily="34" charset="0"/>
              <a:buNone/>
              <a:defRPr sz="1961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3pPr>
            <a:lvl4pPr marL="845031" indent="0">
              <a:buClr>
                <a:schemeClr val="tx1"/>
              </a:buClr>
              <a:buSzPct val="90000"/>
              <a:buFont typeface="Arial" pitchFamily="34" charset="0"/>
              <a:buNone/>
              <a:defRPr sz="1765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4pPr>
            <a:lvl5pPr marL="1069128" indent="0">
              <a:buClr>
                <a:schemeClr val="tx1"/>
              </a:buClr>
              <a:buSzPct val="90000"/>
              <a:buFont typeface="Arial" pitchFamily="34" charset="0"/>
              <a:buNone/>
              <a:defRPr sz="1568"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 i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4004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FD1A4C1-7FDF-430E-9F15-0E3EE56D62F7}"/>
              </a:ext>
            </a:extLst>
          </p:cNvPr>
          <p:cNvSpPr/>
          <p:nvPr userDrawn="1"/>
        </p:nvSpPr>
        <p:spPr bwMode="auto">
          <a:xfrm>
            <a:off x="79513" y="6615486"/>
            <a:ext cx="1908313" cy="16697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934396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618511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80" y="599440"/>
            <a:ext cx="11551920" cy="812800"/>
          </a:xfrm>
          <a:prstGeom prst="rect">
            <a:avLst/>
          </a:prstGeom>
        </p:spPr>
        <p:txBody>
          <a:bodyPr lIns="90980" tIns="45491" rIns="90980" bIns="45491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16914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519251" y="228602"/>
            <a:ext cx="11151917" cy="6516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010" y="6185678"/>
            <a:ext cx="1920568" cy="706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613527"/>
      </p:ext>
    </p:extLst>
  </p:cSld>
  <p:clrMapOvr>
    <a:masterClrMapping/>
  </p:clrMapOvr>
  <p:transition spd="med">
    <p:push dir="r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506171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blu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>
            <a:lvl1pPr algn="ctr">
              <a:defRPr lang="en-US" sz="2400" b="0" kern="1200" cap="all" spc="8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Segoe UI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5329033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6" name="MS logo white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83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7" name="MS logo gray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45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uilding, standing, person, man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1" y="0"/>
            <a:ext cx="8205112" cy="6858000"/>
          </a:xfrm>
          <a:prstGeom prst="rect">
            <a:avLst/>
          </a:prstGeom>
          <a:gradFill flip="none" rotWithShape="1">
            <a:gsLst>
              <a:gs pos="22000">
                <a:srgbClr val="000000">
                  <a:alpha val="49000"/>
                </a:srgbClr>
              </a:gs>
              <a:gs pos="89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648455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773828"/>
            <a:ext cx="6276530" cy="543185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235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12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person, floor, building&#10;&#10;Description generated with very high confidence">
            <a:extLst>
              <a:ext uri="{FF2B5EF4-FFF2-40B4-BE49-F238E27FC236}">
                <a16:creationId xmlns:a16="http://schemas.microsoft.com/office/drawing/2014/main" id="{56AEA8EA-FFF8-4D86-BD1F-20DCCEB0E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2" y="0"/>
            <a:ext cx="6912430" cy="6858000"/>
          </a:xfrm>
          <a:prstGeom prst="rect">
            <a:avLst/>
          </a:prstGeom>
          <a:gradFill flip="none" rotWithShape="1">
            <a:gsLst>
              <a:gs pos="22000">
                <a:srgbClr val="000000">
                  <a:alpha val="47000"/>
                </a:srgbClr>
              </a:gs>
              <a:gs pos="89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648455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773828"/>
            <a:ext cx="6276530" cy="543185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235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028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563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4877310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quare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5"/>
            <a:ext cx="4840694" cy="1799462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2" y="3877277"/>
            <a:ext cx="4840694" cy="717249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137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632" y="6111775"/>
            <a:ext cx="1423303" cy="3048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3418" y="-2839"/>
            <a:ext cx="68568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0083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16056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0907775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0550678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8410118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9527441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91069"/>
            <a:ext cx="4795873" cy="1484704"/>
          </a:xfrm>
        </p:spPr>
        <p:txBody>
          <a:bodyPr wrap="square" anchor="t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825152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1922823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838970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86947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-1"/>
            <a:ext cx="12192000" cy="685800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 then send to back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4722813" y="2095671"/>
            <a:ext cx="2743200" cy="914400"/>
          </a:xfrm>
        </p:spPr>
        <p:txBody>
          <a:bodyPr>
            <a:normAutofit/>
          </a:bodyPr>
          <a:lstStyle>
            <a:lvl1pPr marL="0" marR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lang="en-US" sz="5998" b="0" kern="1200" spc="0" baseline="0">
                <a:latin typeface="+mj-lt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4400" b="1" kern="1200" spc="0" baseline="0">
                <a:solidFill>
                  <a:schemeClr val="bg1"/>
                </a:solidFill>
                <a:latin typeface="+mn-lt"/>
                <a:ea typeface="Segoe UI Semibold" panose="020B0702040204020203" pitchFamily="34" charset="0"/>
                <a:cs typeface="Segoe UI Semibold" panose="020B0702040204020203" pitchFamily="34" charset="0"/>
              </a:rPr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5942060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975">
          <p15:clr>
            <a:srgbClr val="5ACBF0"/>
          </p15:clr>
        </p15:guide>
        <p15:guide id="2" pos="3551">
          <p15:clr>
            <a:srgbClr val="5ACBF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34" Type="http://schemas.openxmlformats.org/officeDocument/2006/relationships/image" Target="../media/image11.emf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slideLayout" Target="../slideLayouts/slideLayout54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slideLayout" Target="../slideLayouts/slideLayout57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slideLayout" Target="../slideLayouts/slideLayout56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Relationship Id="rId30" Type="http://schemas.openxmlformats.org/officeDocument/2006/relationships/slideLayout" Target="../slideLayouts/slideLayout55.xml"/><Relationship Id="rId8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26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07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Relationship Id="rId27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102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1635589"/>
          </a:xfrm>
          <a:prstGeom prst="rect">
            <a:avLst/>
          </a:prstGeom>
        </p:spPr>
        <p:txBody>
          <a:bodyPr vert="horz" wrap="square" lIns="182880" tIns="91440" rIns="91440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51DFE00-A343-42E8-B9E6-153F1CD7B866}"/>
              </a:ext>
            </a:extLst>
          </p:cNvPr>
          <p:cNvSpPr/>
          <p:nvPr userDrawn="1"/>
        </p:nvSpPr>
        <p:spPr bwMode="auto">
          <a:xfrm>
            <a:off x="79513" y="6568489"/>
            <a:ext cx="1948070" cy="2895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3324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</p:sldLayoutIdLst>
  <p:transition>
    <p:fade/>
  </p:transition>
  <p:hf sldNum="0"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3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5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25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702" r:id="rId27"/>
    <p:sldLayoutId id="2147483703" r:id="rId28"/>
    <p:sldLayoutId id="2147483704" r:id="rId29"/>
    <p:sldLayoutId id="2147483705" r:id="rId30"/>
    <p:sldLayoutId id="2147483706" r:id="rId31"/>
    <p:sldLayoutId id="2147483707" r:id="rId32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1635589"/>
          </a:xfrm>
          <a:prstGeom prst="rect">
            <a:avLst/>
          </a:prstGeom>
        </p:spPr>
        <p:txBody>
          <a:bodyPr vert="horz" wrap="square" lIns="182880" tIns="91440" rIns="91440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402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63" r:id="rId27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3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5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1635589"/>
          </a:xfrm>
          <a:prstGeom prst="rect">
            <a:avLst/>
          </a:prstGeom>
        </p:spPr>
        <p:txBody>
          <a:bodyPr vert="horz" wrap="square" lIns="182880" tIns="91440" rIns="91440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378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61" r:id="rId26"/>
    <p:sldLayoutId id="2147483762" r:id="rId27"/>
  </p:sldLayoutIdLst>
  <p:transition>
    <p:fade/>
  </p:transition>
  <p:hf sldNum="0"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3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5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image" Target="../media/image18.jpg"/><Relationship Id="rId7" Type="http://schemas.openxmlformats.org/officeDocument/2006/relationships/image" Target="../media/image2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0.png"/><Relationship Id="rId5" Type="http://schemas.microsoft.com/office/2007/relationships/hdphoto" Target="../media/hdphoto1.wdp"/><Relationship Id="rId10" Type="http://schemas.openxmlformats.org/officeDocument/2006/relationships/image" Target="../media/image24.emf"/><Relationship Id="rId4" Type="http://schemas.openxmlformats.org/officeDocument/2006/relationships/image" Target="../media/image19.png"/><Relationship Id="rId9" Type="http://schemas.openxmlformats.org/officeDocument/2006/relationships/image" Target="../media/image2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5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8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27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tiff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Placeholder 5">
            <a:extLst>
              <a:ext uri="{FF2B5EF4-FFF2-40B4-BE49-F238E27FC236}">
                <a16:creationId xmlns:a16="http://schemas.microsoft.com/office/drawing/2014/main" id="{9FBBD5BB-2EAF-4FD8-AB56-DB9ED45D0D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058" t="15184" r="2708" b="13588"/>
          <a:stretch/>
        </p:blipFill>
        <p:spPr>
          <a:xfrm>
            <a:off x="223520" y="3462706"/>
            <a:ext cx="2961679" cy="3233886"/>
          </a:xfrm>
          <a:prstGeom prst="rect">
            <a:avLst/>
          </a:prstGeom>
        </p:spPr>
      </p:pic>
      <p:pic>
        <p:nvPicPr>
          <p:cNvPr id="654" name="Picture 653">
            <a:extLst>
              <a:ext uri="{FF2B5EF4-FFF2-40B4-BE49-F238E27FC236}">
                <a16:creationId xmlns:a16="http://schemas.microsoft.com/office/drawing/2014/main" id="{1F149A7E-85B3-41AE-94F7-7613863DE80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</a:extLst>
          </a:blip>
          <a:srcRect l="49449" t="10344" r="14859" b="26948"/>
          <a:stretch/>
        </p:blipFill>
        <p:spPr>
          <a:xfrm>
            <a:off x="8956372" y="3341675"/>
            <a:ext cx="3003980" cy="3516325"/>
          </a:xfrm>
          <a:prstGeom prst="rect">
            <a:avLst/>
          </a:prstGeom>
        </p:spPr>
      </p:pic>
      <p:grpSp>
        <p:nvGrpSpPr>
          <p:cNvPr id="656" name="Group 655">
            <a:extLst>
              <a:ext uri="{FF2B5EF4-FFF2-40B4-BE49-F238E27FC236}">
                <a16:creationId xmlns:a16="http://schemas.microsoft.com/office/drawing/2014/main" id="{6162C7B5-9EE7-43E7-BE33-107D1746268C}"/>
              </a:ext>
            </a:extLst>
          </p:cNvPr>
          <p:cNvGrpSpPr/>
          <p:nvPr/>
        </p:nvGrpSpPr>
        <p:grpSpPr>
          <a:xfrm>
            <a:off x="9672622" y="3508565"/>
            <a:ext cx="1764704" cy="3303715"/>
            <a:chOff x="-3533247" y="131381"/>
            <a:chExt cx="3421951" cy="6406261"/>
          </a:xfrm>
        </p:grpSpPr>
        <p:pic>
          <p:nvPicPr>
            <p:cNvPr id="657" name="Picture 656">
              <a:extLst>
                <a:ext uri="{FF2B5EF4-FFF2-40B4-BE49-F238E27FC236}">
                  <a16:creationId xmlns:a16="http://schemas.microsoft.com/office/drawing/2014/main" id="{6296169A-FFC2-494C-98A0-0BD7950E3E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33659"/>
            <a:stretch/>
          </p:blipFill>
          <p:spPr>
            <a:xfrm>
              <a:off x="-3533247" y="1897379"/>
              <a:ext cx="3421951" cy="4640263"/>
            </a:xfrm>
            <a:prstGeom prst="rect">
              <a:avLst/>
            </a:prstGeom>
          </p:spPr>
        </p:pic>
        <p:pic>
          <p:nvPicPr>
            <p:cNvPr id="658" name="Picture 657">
              <a:extLst>
                <a:ext uri="{FF2B5EF4-FFF2-40B4-BE49-F238E27FC236}">
                  <a16:creationId xmlns:a16="http://schemas.microsoft.com/office/drawing/2014/main" id="{61902933-FC0A-45EC-80C3-2C2DE03724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38016"/>
            <a:stretch/>
          </p:blipFill>
          <p:spPr>
            <a:xfrm>
              <a:off x="-3533247" y="131381"/>
              <a:ext cx="3421951" cy="4335462"/>
            </a:xfrm>
            <a:prstGeom prst="rect">
              <a:avLst/>
            </a:prstGeom>
          </p:spPr>
        </p:pic>
        <p:pic>
          <p:nvPicPr>
            <p:cNvPr id="659" name="Picture 658">
              <a:extLst>
                <a:ext uri="{FF2B5EF4-FFF2-40B4-BE49-F238E27FC236}">
                  <a16:creationId xmlns:a16="http://schemas.microsoft.com/office/drawing/2014/main" id="{CB156781-2EFD-4F5A-B3CD-FBDAF8B3E7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447" t="592" r="476" b="592"/>
            <a:stretch/>
          </p:blipFill>
          <p:spPr>
            <a:xfrm>
              <a:off x="-3402639" y="578306"/>
              <a:ext cx="3122905" cy="5485916"/>
            </a:xfrm>
            <a:prstGeom prst="rect">
              <a:avLst/>
            </a:prstGeom>
          </p:spPr>
        </p:pic>
      </p:grpSp>
      <p:pic>
        <p:nvPicPr>
          <p:cNvPr id="12" name="Picture 11" descr="A picture containing wall, clock, object&#10;&#10;Description generated with high confidence">
            <a:extLst>
              <a:ext uri="{FF2B5EF4-FFF2-40B4-BE49-F238E27FC236}">
                <a16:creationId xmlns:a16="http://schemas.microsoft.com/office/drawing/2014/main" id="{6706C691-26E2-4558-956E-697EA5CCB78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-247" r="50696" b="4309"/>
          <a:stretch/>
        </p:blipFill>
        <p:spPr>
          <a:xfrm>
            <a:off x="6060629" y="3456934"/>
            <a:ext cx="2907062" cy="3137207"/>
          </a:xfrm>
          <a:prstGeom prst="rect">
            <a:avLst/>
          </a:prstGeom>
        </p:spPr>
      </p:pic>
      <p:grpSp>
        <p:nvGrpSpPr>
          <p:cNvPr id="104" name="Group 103">
            <a:extLst>
              <a:ext uri="{FF2B5EF4-FFF2-40B4-BE49-F238E27FC236}">
                <a16:creationId xmlns:a16="http://schemas.microsoft.com/office/drawing/2014/main" id="{6A230E98-D85C-4F84-B0FE-B5453E95DC89}"/>
              </a:ext>
            </a:extLst>
          </p:cNvPr>
          <p:cNvGrpSpPr/>
          <p:nvPr/>
        </p:nvGrpSpPr>
        <p:grpSpPr>
          <a:xfrm>
            <a:off x="3182450" y="3456935"/>
            <a:ext cx="2986855" cy="3259410"/>
            <a:chOff x="-13472" y="-5"/>
            <a:chExt cx="4164880" cy="3347791"/>
          </a:xfrm>
        </p:grpSpPr>
        <p:pic>
          <p:nvPicPr>
            <p:cNvPr id="95" name="Picture Placeholder 7">
              <a:extLst>
                <a:ext uri="{FF2B5EF4-FFF2-40B4-BE49-F238E27FC236}">
                  <a16:creationId xmlns:a16="http://schemas.microsoft.com/office/drawing/2014/main" id="{3EEAC1EF-C615-4BEE-AEBD-F25610A89B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7728" t="27876" r="51118" b="40740"/>
            <a:stretch/>
          </p:blipFill>
          <p:spPr>
            <a:xfrm flipH="1">
              <a:off x="-12924" y="-2"/>
              <a:ext cx="4154193" cy="3347788"/>
            </a:xfrm>
            <a:prstGeom prst="rect">
              <a:avLst/>
            </a:prstGeom>
          </p:spPr>
        </p:pic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2699630A-A53F-444F-9999-941F45A48FA1}"/>
                </a:ext>
              </a:extLst>
            </p:cNvPr>
            <p:cNvSpPr/>
            <p:nvPr/>
          </p:nvSpPr>
          <p:spPr bwMode="auto">
            <a:xfrm rot="10800000">
              <a:off x="-13472" y="-5"/>
              <a:ext cx="4164880" cy="3347791"/>
            </a:xfrm>
            <a:prstGeom prst="rect">
              <a:avLst/>
            </a:prstGeom>
            <a:gradFill>
              <a:gsLst>
                <a:gs pos="42000">
                  <a:srgbClr val="0D0D0D">
                    <a:alpha val="59000"/>
                  </a:srgbClr>
                </a:gs>
                <a:gs pos="0">
                  <a:srgbClr val="000000">
                    <a:alpha val="80000"/>
                  </a:srgbClr>
                </a:gs>
                <a:gs pos="98000">
                  <a:schemeClr val="tx1">
                    <a:lumMod val="50000"/>
                    <a:alpha val="0"/>
                  </a:scheme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0F641D6-A332-4322-9474-0D432873E65A}"/>
              </a:ext>
            </a:extLst>
          </p:cNvPr>
          <p:cNvGrpSpPr/>
          <p:nvPr/>
        </p:nvGrpSpPr>
        <p:grpSpPr>
          <a:xfrm>
            <a:off x="3146882" y="3790280"/>
            <a:ext cx="3074953" cy="1802800"/>
            <a:chOff x="-4470976" y="2599829"/>
            <a:chExt cx="4134955" cy="2424263"/>
          </a:xfrm>
        </p:grpSpPr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BEFEE6F7-2F7B-4CB4-A89A-233DAC88655D}"/>
                </a:ext>
              </a:extLst>
            </p:cNvPr>
            <p:cNvSpPr/>
            <p:nvPr/>
          </p:nvSpPr>
          <p:spPr bwMode="auto">
            <a:xfrm>
              <a:off x="-4122457" y="2612710"/>
              <a:ext cx="1330124" cy="1111928"/>
            </a:xfrm>
            <a:custGeom>
              <a:avLst/>
              <a:gdLst>
                <a:gd name="connsiteX0" fmla="*/ 0 w 3480816"/>
                <a:gd name="connsiteY0" fmla="*/ 0 h 1139952"/>
                <a:gd name="connsiteX1" fmla="*/ 877824 w 3480816"/>
                <a:gd name="connsiteY1" fmla="*/ 481584 h 1139952"/>
                <a:gd name="connsiteX2" fmla="*/ 1237488 w 3480816"/>
                <a:gd name="connsiteY2" fmla="*/ 627888 h 1139952"/>
                <a:gd name="connsiteX3" fmla="*/ 2688336 w 3480816"/>
                <a:gd name="connsiteY3" fmla="*/ 1139952 h 1139952"/>
                <a:gd name="connsiteX4" fmla="*/ 3133344 w 3480816"/>
                <a:gd name="connsiteY4" fmla="*/ 1115568 h 1139952"/>
                <a:gd name="connsiteX5" fmla="*/ 3480816 w 3480816"/>
                <a:gd name="connsiteY5" fmla="*/ 1127760 h 1139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80816" h="1139952">
                  <a:moveTo>
                    <a:pt x="0" y="0"/>
                  </a:moveTo>
                  <a:lnTo>
                    <a:pt x="877824" y="481584"/>
                  </a:lnTo>
                  <a:lnTo>
                    <a:pt x="1237488" y="627888"/>
                  </a:lnTo>
                  <a:lnTo>
                    <a:pt x="2688336" y="1139952"/>
                  </a:lnTo>
                  <a:lnTo>
                    <a:pt x="3133344" y="1115568"/>
                  </a:lnTo>
                  <a:lnTo>
                    <a:pt x="3480816" y="1127760"/>
                  </a:lnTo>
                </a:path>
              </a:pathLst>
            </a:custGeom>
            <a:noFill/>
            <a:ln w="9525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754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28B0AF92-23DA-4EB5-884D-0FD230322058}"/>
                </a:ext>
              </a:extLst>
            </p:cNvPr>
            <p:cNvSpPr/>
            <p:nvPr/>
          </p:nvSpPr>
          <p:spPr bwMode="auto">
            <a:xfrm>
              <a:off x="-4140641" y="2599829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190485AE-A978-4715-BC1F-AB7D6E5625A7}"/>
                </a:ext>
              </a:extLst>
            </p:cNvPr>
            <p:cNvSpPr/>
            <p:nvPr/>
          </p:nvSpPr>
          <p:spPr bwMode="auto">
            <a:xfrm>
              <a:off x="-3811916" y="3061023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2EA0847E-3750-4F42-8234-B9BAA8179946}"/>
                </a:ext>
              </a:extLst>
            </p:cNvPr>
            <p:cNvSpPr/>
            <p:nvPr/>
          </p:nvSpPr>
          <p:spPr bwMode="auto">
            <a:xfrm>
              <a:off x="-3672538" y="3205765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5D0AB990-1EF3-4484-9A56-8DA7CBAE72B1}"/>
                </a:ext>
              </a:extLst>
            </p:cNvPr>
            <p:cNvSpPr/>
            <p:nvPr/>
          </p:nvSpPr>
          <p:spPr bwMode="auto">
            <a:xfrm>
              <a:off x="-3106069" y="3693840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24003CA9-CDD7-41BD-90F9-392FD3282721}"/>
                </a:ext>
              </a:extLst>
            </p:cNvPr>
            <p:cNvSpPr/>
            <p:nvPr/>
          </p:nvSpPr>
          <p:spPr bwMode="auto">
            <a:xfrm>
              <a:off x="-2931204" y="3669812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11B7B90E-F9EE-4CF3-AA60-A8FA17C54CB4}"/>
                </a:ext>
              </a:extLst>
            </p:cNvPr>
            <p:cNvSpPr/>
            <p:nvPr/>
          </p:nvSpPr>
          <p:spPr bwMode="auto">
            <a:xfrm>
              <a:off x="-2812054" y="3686331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FAD1B456-5756-4787-8F7F-AFBC579BEECA}"/>
                </a:ext>
              </a:extLst>
            </p:cNvPr>
            <p:cNvSpPr/>
            <p:nvPr/>
          </p:nvSpPr>
          <p:spPr bwMode="auto">
            <a:xfrm>
              <a:off x="-3627954" y="3395218"/>
              <a:ext cx="1096238" cy="867838"/>
            </a:xfrm>
            <a:custGeom>
              <a:avLst/>
              <a:gdLst>
                <a:gd name="connsiteX0" fmla="*/ 0 w 3332480"/>
                <a:gd name="connsiteY0" fmla="*/ 124460 h 861060"/>
                <a:gd name="connsiteX1" fmla="*/ 358140 w 3332480"/>
                <a:gd name="connsiteY1" fmla="*/ 0 h 861060"/>
                <a:gd name="connsiteX2" fmla="*/ 734060 w 3332480"/>
                <a:gd name="connsiteY2" fmla="*/ 525780 h 861060"/>
                <a:gd name="connsiteX3" fmla="*/ 1122680 w 3332480"/>
                <a:gd name="connsiteY3" fmla="*/ 665480 h 861060"/>
                <a:gd name="connsiteX4" fmla="*/ 1531620 w 3332480"/>
                <a:gd name="connsiteY4" fmla="*/ 576580 h 861060"/>
                <a:gd name="connsiteX5" fmla="*/ 2794000 w 3332480"/>
                <a:gd name="connsiteY5" fmla="*/ 861060 h 861060"/>
                <a:gd name="connsiteX6" fmla="*/ 3332480 w 3332480"/>
                <a:gd name="connsiteY6" fmla="*/ 739140 h 861060"/>
                <a:gd name="connsiteX7" fmla="*/ 3332480 w 3332480"/>
                <a:gd name="connsiteY7" fmla="*/ 744220 h 86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2480" h="861060">
                  <a:moveTo>
                    <a:pt x="0" y="124460"/>
                  </a:moveTo>
                  <a:lnTo>
                    <a:pt x="358140" y="0"/>
                  </a:lnTo>
                  <a:lnTo>
                    <a:pt x="734060" y="525780"/>
                  </a:lnTo>
                  <a:lnTo>
                    <a:pt x="1122680" y="665480"/>
                  </a:lnTo>
                  <a:lnTo>
                    <a:pt x="1531620" y="576580"/>
                  </a:lnTo>
                  <a:lnTo>
                    <a:pt x="2794000" y="861060"/>
                  </a:lnTo>
                  <a:lnTo>
                    <a:pt x="3332480" y="739140"/>
                  </a:lnTo>
                  <a:lnTo>
                    <a:pt x="3332480" y="744220"/>
                  </a:lnTo>
                </a:path>
              </a:pathLst>
            </a:custGeom>
            <a:noFill/>
            <a:ln w="9525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754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B4026F0B-439A-4B01-BD21-429FE2428226}"/>
                </a:ext>
              </a:extLst>
            </p:cNvPr>
            <p:cNvSpPr/>
            <p:nvPr/>
          </p:nvSpPr>
          <p:spPr bwMode="auto">
            <a:xfrm>
              <a:off x="-3650409" y="3486901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C1833092-1ACF-4907-B47D-3E72B25EC0B5}"/>
                </a:ext>
              </a:extLst>
            </p:cNvPr>
            <p:cNvSpPr/>
            <p:nvPr/>
          </p:nvSpPr>
          <p:spPr bwMode="auto">
            <a:xfrm>
              <a:off x="-3535768" y="3378135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3BBA481C-BB38-414A-84E4-B54A663F4066}"/>
                </a:ext>
              </a:extLst>
            </p:cNvPr>
            <p:cNvSpPr/>
            <p:nvPr/>
          </p:nvSpPr>
          <p:spPr bwMode="auto">
            <a:xfrm>
              <a:off x="-3408644" y="3905234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A913B6CC-669D-4A21-A9B1-D79B16D21BF5}"/>
                </a:ext>
              </a:extLst>
            </p:cNvPr>
            <p:cNvSpPr/>
            <p:nvPr/>
          </p:nvSpPr>
          <p:spPr bwMode="auto">
            <a:xfrm>
              <a:off x="-3284484" y="4033321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8137988B-076B-413F-ACD3-45C05DDDBB85}"/>
                </a:ext>
              </a:extLst>
            </p:cNvPr>
            <p:cNvSpPr/>
            <p:nvPr/>
          </p:nvSpPr>
          <p:spPr bwMode="auto">
            <a:xfrm>
              <a:off x="-3156677" y="3952669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81B7F822-9A3E-469C-9C3D-4077FC1AF904}"/>
                </a:ext>
              </a:extLst>
            </p:cNvPr>
            <p:cNvSpPr/>
            <p:nvPr/>
          </p:nvSpPr>
          <p:spPr bwMode="auto">
            <a:xfrm>
              <a:off x="-2735608" y="4230951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A98B940E-578D-4B57-9E0D-686FCCE2602D}"/>
                </a:ext>
              </a:extLst>
            </p:cNvPr>
            <p:cNvSpPr/>
            <p:nvPr/>
          </p:nvSpPr>
          <p:spPr bwMode="auto">
            <a:xfrm>
              <a:off x="-2559152" y="4110370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D0B1D8AC-E949-4A53-AAAC-D28AA5AF1378}"/>
                </a:ext>
              </a:extLst>
            </p:cNvPr>
            <p:cNvSpPr/>
            <p:nvPr/>
          </p:nvSpPr>
          <p:spPr bwMode="auto">
            <a:xfrm>
              <a:off x="-2931202" y="3221842"/>
              <a:ext cx="858943" cy="294399"/>
            </a:xfrm>
            <a:custGeom>
              <a:avLst/>
              <a:gdLst>
                <a:gd name="connsiteX0" fmla="*/ 0 w 2611120"/>
                <a:gd name="connsiteY0" fmla="*/ 0 h 292100"/>
                <a:gd name="connsiteX1" fmla="*/ 767080 w 2611120"/>
                <a:gd name="connsiteY1" fmla="*/ 73660 h 292100"/>
                <a:gd name="connsiteX2" fmla="*/ 1132840 w 2611120"/>
                <a:gd name="connsiteY2" fmla="*/ 233680 h 292100"/>
                <a:gd name="connsiteX3" fmla="*/ 1503680 w 2611120"/>
                <a:gd name="connsiteY3" fmla="*/ 292100 h 292100"/>
                <a:gd name="connsiteX4" fmla="*/ 1874520 w 2611120"/>
                <a:gd name="connsiteY4" fmla="*/ 248920 h 292100"/>
                <a:gd name="connsiteX5" fmla="*/ 2611120 w 2611120"/>
                <a:gd name="connsiteY5" fmla="*/ 25146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11120" h="292100">
                  <a:moveTo>
                    <a:pt x="0" y="0"/>
                  </a:moveTo>
                  <a:lnTo>
                    <a:pt x="767080" y="73660"/>
                  </a:lnTo>
                  <a:lnTo>
                    <a:pt x="1132840" y="233680"/>
                  </a:lnTo>
                  <a:lnTo>
                    <a:pt x="1503680" y="292100"/>
                  </a:lnTo>
                  <a:lnTo>
                    <a:pt x="1874520" y="248920"/>
                  </a:lnTo>
                  <a:lnTo>
                    <a:pt x="2611120" y="251460"/>
                  </a:lnTo>
                </a:path>
              </a:pathLst>
            </a:custGeom>
            <a:noFill/>
            <a:ln w="9525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754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2F1CF54E-AF2E-4719-8BC8-88117D5EEC93}"/>
                </a:ext>
              </a:extLst>
            </p:cNvPr>
            <p:cNvSpPr/>
            <p:nvPr/>
          </p:nvSpPr>
          <p:spPr bwMode="auto">
            <a:xfrm>
              <a:off x="-2945280" y="3197707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59094181-4E66-4945-8ABD-34AECCCE16BF}"/>
                </a:ext>
              </a:extLst>
            </p:cNvPr>
            <p:cNvSpPr/>
            <p:nvPr/>
          </p:nvSpPr>
          <p:spPr bwMode="auto">
            <a:xfrm>
              <a:off x="-2692889" y="3273734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0062BD07-1A15-4793-8D7B-BFEE42988865}"/>
                </a:ext>
              </a:extLst>
            </p:cNvPr>
            <p:cNvSpPr/>
            <p:nvPr/>
          </p:nvSpPr>
          <p:spPr bwMode="auto">
            <a:xfrm>
              <a:off x="-2577472" y="3419024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C80FEC09-EFFC-41C8-B8A4-B33D8F1BC656}"/>
                </a:ext>
              </a:extLst>
            </p:cNvPr>
            <p:cNvSpPr/>
            <p:nvPr/>
          </p:nvSpPr>
          <p:spPr bwMode="auto">
            <a:xfrm>
              <a:off x="-2454467" y="3487926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0309B10D-7432-451B-865F-EB044EA3EFC1}"/>
                </a:ext>
              </a:extLst>
            </p:cNvPr>
            <p:cNvSpPr/>
            <p:nvPr/>
          </p:nvSpPr>
          <p:spPr bwMode="auto">
            <a:xfrm>
              <a:off x="-2332918" y="3438790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5114A456-94C4-4D3E-A48C-0B79394C132A}"/>
                </a:ext>
              </a:extLst>
            </p:cNvPr>
            <p:cNvSpPr/>
            <p:nvPr/>
          </p:nvSpPr>
          <p:spPr bwMode="auto">
            <a:xfrm>
              <a:off x="-2094685" y="3441964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0AB83E3B-37C3-4793-885A-73AC452CA7C8}"/>
                </a:ext>
              </a:extLst>
            </p:cNvPr>
            <p:cNvSpPr/>
            <p:nvPr/>
          </p:nvSpPr>
          <p:spPr bwMode="auto">
            <a:xfrm>
              <a:off x="-2985003" y="3364544"/>
              <a:ext cx="235625" cy="145920"/>
            </a:xfrm>
            <a:custGeom>
              <a:avLst/>
              <a:gdLst>
                <a:gd name="connsiteX0" fmla="*/ 0 w 716280"/>
                <a:gd name="connsiteY0" fmla="*/ 0 h 144780"/>
                <a:gd name="connsiteX1" fmla="*/ 345440 w 716280"/>
                <a:gd name="connsiteY1" fmla="*/ 63500 h 144780"/>
                <a:gd name="connsiteX2" fmla="*/ 716280 w 716280"/>
                <a:gd name="connsiteY2" fmla="*/ 144780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6280" h="144780">
                  <a:moveTo>
                    <a:pt x="0" y="0"/>
                  </a:moveTo>
                  <a:lnTo>
                    <a:pt x="345440" y="63500"/>
                  </a:lnTo>
                  <a:lnTo>
                    <a:pt x="716280" y="144780"/>
                  </a:lnTo>
                </a:path>
              </a:pathLst>
            </a:custGeom>
            <a:noFill/>
            <a:ln w="9525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754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28D25102-8AC9-41BA-AC04-19F44E89EC30}"/>
                </a:ext>
              </a:extLst>
            </p:cNvPr>
            <p:cNvSpPr/>
            <p:nvPr/>
          </p:nvSpPr>
          <p:spPr bwMode="auto">
            <a:xfrm>
              <a:off x="-2995942" y="3346165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07792D66-5F63-4027-A771-CD029C14E3F2}"/>
                </a:ext>
              </a:extLst>
            </p:cNvPr>
            <p:cNvSpPr/>
            <p:nvPr/>
          </p:nvSpPr>
          <p:spPr bwMode="auto">
            <a:xfrm>
              <a:off x="-2891319" y="3407026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0" name="Oval 179">
              <a:extLst>
                <a:ext uri="{FF2B5EF4-FFF2-40B4-BE49-F238E27FC236}">
                  <a16:creationId xmlns:a16="http://schemas.microsoft.com/office/drawing/2014/main" id="{52B1279A-ED86-45AE-8608-6B6567D5D67E}"/>
                </a:ext>
              </a:extLst>
            </p:cNvPr>
            <p:cNvSpPr/>
            <p:nvPr/>
          </p:nvSpPr>
          <p:spPr bwMode="auto">
            <a:xfrm>
              <a:off x="-2762553" y="3491142"/>
              <a:ext cx="64008" cy="64008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24095C18-A489-450B-AAB0-9D85EBD62767}"/>
                </a:ext>
              </a:extLst>
            </p:cNvPr>
            <p:cNvSpPr/>
            <p:nvPr/>
          </p:nvSpPr>
          <p:spPr bwMode="auto">
            <a:xfrm>
              <a:off x="-1973470" y="3739089"/>
              <a:ext cx="652563" cy="1059835"/>
            </a:xfrm>
            <a:custGeom>
              <a:avLst/>
              <a:gdLst>
                <a:gd name="connsiteX0" fmla="*/ 0 w 1983740"/>
                <a:gd name="connsiteY0" fmla="*/ 0 h 1051560"/>
                <a:gd name="connsiteX1" fmla="*/ 1107440 w 1983740"/>
                <a:gd name="connsiteY1" fmla="*/ 424180 h 1051560"/>
                <a:gd name="connsiteX2" fmla="*/ 1983740 w 1983740"/>
                <a:gd name="connsiteY2" fmla="*/ 1051560 h 1051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3740" h="1051560">
                  <a:moveTo>
                    <a:pt x="0" y="0"/>
                  </a:moveTo>
                  <a:lnTo>
                    <a:pt x="1107440" y="424180"/>
                  </a:lnTo>
                  <a:lnTo>
                    <a:pt x="1983740" y="1051560"/>
                  </a:lnTo>
                </a:path>
              </a:pathLst>
            </a:custGeom>
            <a:noFill/>
            <a:ln w="9525">
              <a:solidFill>
                <a:schemeClr val="accent1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754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B0EC78D2-DF51-4A33-9B0C-92F1DA6D0867}"/>
                </a:ext>
              </a:extLst>
            </p:cNvPr>
            <p:cNvSpPr/>
            <p:nvPr/>
          </p:nvSpPr>
          <p:spPr bwMode="auto">
            <a:xfrm>
              <a:off x="-1994461" y="3720151"/>
              <a:ext cx="64008" cy="6400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317ECCEA-DC1E-46D3-95AA-A0A84F90986A}"/>
                </a:ext>
              </a:extLst>
            </p:cNvPr>
            <p:cNvSpPr/>
            <p:nvPr/>
          </p:nvSpPr>
          <p:spPr bwMode="auto">
            <a:xfrm>
              <a:off x="-1642637" y="4131860"/>
              <a:ext cx="64008" cy="6400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2BF6F120-5A1C-4E9D-AF65-A3EBBEADE425}"/>
                </a:ext>
              </a:extLst>
            </p:cNvPr>
            <p:cNvSpPr/>
            <p:nvPr/>
          </p:nvSpPr>
          <p:spPr bwMode="auto">
            <a:xfrm>
              <a:off x="-1553534" y="4314877"/>
              <a:ext cx="64008" cy="64008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DAACFBC6-3668-4D9C-B9D8-0FB770649E4C}"/>
                </a:ext>
              </a:extLst>
            </p:cNvPr>
            <p:cNvSpPr txBox="1"/>
            <p:nvPr/>
          </p:nvSpPr>
          <p:spPr>
            <a:xfrm>
              <a:off x="-3871706" y="2797499"/>
              <a:ext cx="1430728" cy="519822"/>
            </a:xfrm>
            <a:prstGeom prst="rect">
              <a:avLst/>
            </a:prstGeom>
            <a:noFill/>
          </p:spPr>
          <p:txBody>
            <a:bodyPr wrap="square" lIns="179259" tIns="143407" rIns="179259" bIns="143407" rtlCol="0">
              <a:spAutoFit/>
            </a:bodyPr>
            <a:lstStyle/>
            <a:p>
              <a:pPr marL="0" marR="0" lvl="0" indent="0" algn="l" defTabSz="107545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5439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witchboard</a:t>
              </a:r>
            </a:p>
          </p:txBody>
        </p: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48192BBA-64F5-4B15-BF83-B4A672B7E03E}"/>
                </a:ext>
              </a:extLst>
            </p:cNvPr>
            <p:cNvSpPr txBox="1"/>
            <p:nvPr/>
          </p:nvSpPr>
          <p:spPr>
            <a:xfrm>
              <a:off x="-2882395" y="3431246"/>
              <a:ext cx="1352716" cy="650191"/>
            </a:xfrm>
            <a:prstGeom prst="rect">
              <a:avLst/>
            </a:prstGeom>
            <a:noFill/>
          </p:spPr>
          <p:txBody>
            <a:bodyPr wrap="square" lIns="179259" tIns="143407" rIns="179259" bIns="143407" rtlCol="0">
              <a:spAutoFit/>
            </a:bodyPr>
            <a:lstStyle/>
            <a:p>
              <a:pPr marL="0" marR="0" lvl="0" indent="0" algn="l" defTabSz="107545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5439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witchboard cellular</a:t>
              </a: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7F997E0B-772A-4A52-B6B3-B1AA8042DF4E}"/>
                </a:ext>
              </a:extLst>
            </p:cNvPr>
            <p:cNvSpPr txBox="1"/>
            <p:nvPr/>
          </p:nvSpPr>
          <p:spPr>
            <a:xfrm>
              <a:off x="-2704722" y="2920786"/>
              <a:ext cx="1638854" cy="650191"/>
            </a:xfrm>
            <a:prstGeom prst="rect">
              <a:avLst/>
            </a:prstGeom>
            <a:noFill/>
          </p:spPr>
          <p:txBody>
            <a:bodyPr wrap="square" lIns="179259" tIns="143407" rIns="179259" bIns="143407" rtlCol="0">
              <a:spAutoFit/>
            </a:bodyPr>
            <a:lstStyle/>
            <a:p>
              <a:pPr marL="0" marR="0" lvl="0" indent="0" algn="l" defTabSz="107545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5439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eeting </a:t>
              </a:r>
              <a:b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5439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</a:b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5439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peech</a:t>
              </a: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EA4FA2A6-56F8-48B9-8A9A-DA627C032B37}"/>
                </a:ext>
              </a:extLst>
            </p:cNvPr>
            <p:cNvSpPr txBox="1"/>
            <p:nvPr/>
          </p:nvSpPr>
          <p:spPr>
            <a:xfrm>
              <a:off x="-1615554" y="4023761"/>
              <a:ext cx="1279533" cy="650191"/>
            </a:xfrm>
            <a:prstGeom prst="rect">
              <a:avLst/>
            </a:prstGeom>
            <a:noFill/>
          </p:spPr>
          <p:txBody>
            <a:bodyPr wrap="square" lIns="179259" tIns="143407" rIns="179259" bIns="143407" rtlCol="0">
              <a:spAutoFit/>
            </a:bodyPr>
            <a:lstStyle/>
            <a:p>
              <a:pPr marL="0" marR="0" lvl="0" indent="0" algn="l" defTabSz="107545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5439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IBM Switchboard</a:t>
              </a: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A7F209C1-F30A-40EF-88E8-A72C677BF312}"/>
                </a:ext>
              </a:extLst>
            </p:cNvPr>
            <p:cNvSpPr txBox="1"/>
            <p:nvPr/>
          </p:nvSpPr>
          <p:spPr>
            <a:xfrm>
              <a:off x="-4470976" y="3445498"/>
              <a:ext cx="1107855" cy="650191"/>
            </a:xfrm>
            <a:prstGeom prst="rect">
              <a:avLst/>
            </a:prstGeom>
            <a:noFill/>
          </p:spPr>
          <p:txBody>
            <a:bodyPr wrap="square" lIns="179259" tIns="143407" rIns="179259" bIns="143407" rtlCol="0">
              <a:spAutoFit/>
            </a:bodyPr>
            <a:lstStyle/>
            <a:p>
              <a:pPr marL="0" marR="0" lvl="0" indent="0" algn="r" defTabSz="107545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5439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roadcast speech</a:t>
              </a: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6F702919-F3C8-47E9-85AC-884A6C94BB70}"/>
                </a:ext>
              </a:extLst>
            </p:cNvPr>
            <p:cNvSpPr/>
            <p:nvPr/>
          </p:nvSpPr>
          <p:spPr bwMode="auto">
            <a:xfrm>
              <a:off x="-1385847" y="4757602"/>
              <a:ext cx="91440" cy="9420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51663049-A325-4CC8-893C-CF3375449616}"/>
                </a:ext>
              </a:extLst>
            </p:cNvPr>
            <p:cNvSpPr/>
            <p:nvPr/>
          </p:nvSpPr>
          <p:spPr bwMode="auto">
            <a:xfrm>
              <a:off x="-1372131" y="4772700"/>
              <a:ext cx="64008" cy="6400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5439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F02D8E74-1538-45DE-88FF-2375AA355901}"/>
                </a:ext>
              </a:extLst>
            </p:cNvPr>
            <p:cNvGrpSpPr/>
            <p:nvPr/>
          </p:nvGrpSpPr>
          <p:grpSpPr>
            <a:xfrm>
              <a:off x="-1883823" y="4836867"/>
              <a:ext cx="872075" cy="187225"/>
              <a:chOff x="9867075" y="2947995"/>
              <a:chExt cx="1315753" cy="282477"/>
            </a:xfrm>
          </p:grpSpPr>
          <p:pic>
            <p:nvPicPr>
              <p:cNvPr id="193" name="Picture 192">
                <a:extLst>
                  <a:ext uri="{FF2B5EF4-FFF2-40B4-BE49-F238E27FC236}">
                    <a16:creationId xmlns:a16="http://schemas.microsoft.com/office/drawing/2014/main" id="{56275443-9148-48F8-A648-C0D2401624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 bwMode="black">
              <a:xfrm>
                <a:off x="9867075" y="2947995"/>
                <a:ext cx="282476" cy="282477"/>
              </a:xfrm>
              <a:prstGeom prst="rect">
                <a:avLst/>
              </a:prstGeom>
            </p:spPr>
          </p:pic>
          <p:sp>
            <p:nvSpPr>
              <p:cNvPr id="194" name="Freeform 12">
                <a:extLst>
                  <a:ext uri="{FF2B5EF4-FFF2-40B4-BE49-F238E27FC236}">
                    <a16:creationId xmlns:a16="http://schemas.microsoft.com/office/drawing/2014/main" id="{2272BA36-278A-484F-AD51-44665B248527}"/>
                  </a:ext>
                </a:extLst>
              </p:cNvPr>
              <p:cNvSpPr>
                <a:spLocks noEditPoints="1"/>
              </p:cNvSpPr>
              <p:nvPr/>
            </p:nvSpPr>
            <p:spPr bwMode="black">
              <a:xfrm>
                <a:off x="10232072" y="2991726"/>
                <a:ext cx="950756" cy="186063"/>
              </a:xfrm>
              <a:custGeom>
                <a:avLst/>
                <a:gdLst>
                  <a:gd name="T0" fmla="*/ 218 w 1139"/>
                  <a:gd name="T1" fmla="*/ 217 h 220"/>
                  <a:gd name="T2" fmla="*/ 185 w 1139"/>
                  <a:gd name="T3" fmla="*/ 52 h 220"/>
                  <a:gd name="T4" fmla="*/ 120 w 1139"/>
                  <a:gd name="T5" fmla="*/ 217 h 220"/>
                  <a:gd name="T6" fmla="*/ 32 w 1139"/>
                  <a:gd name="T7" fmla="*/ 52 h 220"/>
                  <a:gd name="T8" fmla="*/ 33 w 1139"/>
                  <a:gd name="T9" fmla="*/ 93 h 220"/>
                  <a:gd name="T10" fmla="*/ 0 w 1139"/>
                  <a:gd name="T11" fmla="*/ 15 h 220"/>
                  <a:gd name="T12" fmla="*/ 109 w 1139"/>
                  <a:gd name="T13" fmla="*/ 168 h 220"/>
                  <a:gd name="T14" fmla="*/ 171 w 1139"/>
                  <a:gd name="T15" fmla="*/ 15 h 220"/>
                  <a:gd name="T16" fmla="*/ 285 w 1139"/>
                  <a:gd name="T17" fmla="*/ 72 h 220"/>
                  <a:gd name="T18" fmla="*/ 269 w 1139"/>
                  <a:gd name="T19" fmla="*/ 11 h 220"/>
                  <a:gd name="T20" fmla="*/ 254 w 1139"/>
                  <a:gd name="T21" fmla="*/ 45 h 220"/>
                  <a:gd name="T22" fmla="*/ 289 w 1139"/>
                  <a:gd name="T23" fmla="*/ 31 h 220"/>
                  <a:gd name="T24" fmla="*/ 405 w 1139"/>
                  <a:gd name="T25" fmla="*/ 71 h 220"/>
                  <a:gd name="T26" fmla="*/ 318 w 1139"/>
                  <a:gd name="T27" fmla="*/ 107 h 220"/>
                  <a:gd name="T28" fmla="*/ 343 w 1139"/>
                  <a:gd name="T29" fmla="*/ 211 h 220"/>
                  <a:gd name="T30" fmla="*/ 422 w 1139"/>
                  <a:gd name="T31" fmla="*/ 210 h 220"/>
                  <a:gd name="T32" fmla="*/ 404 w 1139"/>
                  <a:gd name="T33" fmla="*/ 189 h 220"/>
                  <a:gd name="T34" fmla="*/ 344 w 1139"/>
                  <a:gd name="T35" fmla="*/ 145 h 220"/>
                  <a:gd name="T36" fmla="*/ 420 w 1139"/>
                  <a:gd name="T37" fmla="*/ 108 h 220"/>
                  <a:gd name="T38" fmla="*/ 421 w 1139"/>
                  <a:gd name="T39" fmla="*/ 76 h 220"/>
                  <a:gd name="T40" fmla="*/ 495 w 1139"/>
                  <a:gd name="T41" fmla="*/ 78 h 220"/>
                  <a:gd name="T42" fmla="*/ 481 w 1139"/>
                  <a:gd name="T43" fmla="*/ 72 h 220"/>
                  <a:gd name="T44" fmla="*/ 481 w 1139"/>
                  <a:gd name="T45" fmla="*/ 217 h 220"/>
                  <a:gd name="T46" fmla="*/ 512 w 1139"/>
                  <a:gd name="T47" fmla="*/ 100 h 220"/>
                  <a:gd name="T48" fmla="*/ 531 w 1139"/>
                  <a:gd name="T49" fmla="*/ 106 h 220"/>
                  <a:gd name="T50" fmla="*/ 517 w 1139"/>
                  <a:gd name="T51" fmla="*/ 70 h 220"/>
                  <a:gd name="T52" fmla="*/ 661 w 1139"/>
                  <a:gd name="T53" fmla="*/ 199 h 220"/>
                  <a:gd name="T54" fmla="*/ 533 w 1139"/>
                  <a:gd name="T55" fmla="*/ 146 h 220"/>
                  <a:gd name="T56" fmla="*/ 663 w 1139"/>
                  <a:gd name="T57" fmla="*/ 89 h 220"/>
                  <a:gd name="T58" fmla="*/ 608 w 1139"/>
                  <a:gd name="T59" fmla="*/ 97 h 220"/>
                  <a:gd name="T60" fmla="*/ 579 w 1139"/>
                  <a:gd name="T61" fmla="*/ 180 h 220"/>
                  <a:gd name="T62" fmla="*/ 646 w 1139"/>
                  <a:gd name="T63" fmla="*/ 144 h 220"/>
                  <a:gd name="T64" fmla="*/ 732 w 1139"/>
                  <a:gd name="T65" fmla="*/ 110 h 220"/>
                  <a:gd name="T66" fmla="*/ 770 w 1139"/>
                  <a:gd name="T67" fmla="*/ 98 h 220"/>
                  <a:gd name="T68" fmla="*/ 786 w 1139"/>
                  <a:gd name="T69" fmla="*/ 75 h 220"/>
                  <a:gd name="T70" fmla="*/ 753 w 1139"/>
                  <a:gd name="T71" fmla="*/ 69 h 220"/>
                  <a:gd name="T72" fmla="*/ 701 w 1139"/>
                  <a:gd name="T73" fmla="*/ 131 h 220"/>
                  <a:gd name="T74" fmla="*/ 750 w 1139"/>
                  <a:gd name="T75" fmla="*/ 164 h 220"/>
                  <a:gd name="T76" fmla="*/ 738 w 1139"/>
                  <a:gd name="T77" fmla="*/ 193 h 220"/>
                  <a:gd name="T78" fmla="*/ 698 w 1139"/>
                  <a:gd name="T79" fmla="*/ 179 h 220"/>
                  <a:gd name="T80" fmla="*/ 717 w 1139"/>
                  <a:gd name="T81" fmla="*/ 218 h 220"/>
                  <a:gd name="T82" fmla="*/ 794 w 1139"/>
                  <a:gd name="T83" fmla="*/ 175 h 220"/>
                  <a:gd name="T84" fmla="*/ 938 w 1139"/>
                  <a:gd name="T85" fmla="*/ 89 h 220"/>
                  <a:gd name="T86" fmla="*/ 882 w 1139"/>
                  <a:gd name="T87" fmla="*/ 220 h 220"/>
                  <a:gd name="T88" fmla="*/ 829 w 1139"/>
                  <a:gd name="T89" fmla="*/ 89 h 220"/>
                  <a:gd name="T90" fmla="*/ 922 w 1139"/>
                  <a:gd name="T91" fmla="*/ 144 h 220"/>
                  <a:gd name="T92" fmla="*/ 855 w 1139"/>
                  <a:gd name="T93" fmla="*/ 109 h 220"/>
                  <a:gd name="T94" fmla="*/ 884 w 1139"/>
                  <a:gd name="T95" fmla="*/ 192 h 220"/>
                  <a:gd name="T96" fmla="*/ 1139 w 1139"/>
                  <a:gd name="T97" fmla="*/ 100 h 220"/>
                  <a:gd name="T98" fmla="*/ 1104 w 1139"/>
                  <a:gd name="T99" fmla="*/ 29 h 220"/>
                  <a:gd name="T100" fmla="*/ 1070 w 1139"/>
                  <a:gd name="T101" fmla="*/ 40 h 220"/>
                  <a:gd name="T102" fmla="*/ 1019 w 1139"/>
                  <a:gd name="T103" fmla="*/ 54 h 220"/>
                  <a:gd name="T104" fmla="*/ 1055 w 1139"/>
                  <a:gd name="T105" fmla="*/ 32 h 220"/>
                  <a:gd name="T106" fmla="*/ 1056 w 1139"/>
                  <a:gd name="T107" fmla="*/ 3 h 220"/>
                  <a:gd name="T108" fmla="*/ 991 w 1139"/>
                  <a:gd name="T109" fmla="*/ 25 h 220"/>
                  <a:gd name="T110" fmla="*/ 961 w 1139"/>
                  <a:gd name="T111" fmla="*/ 72 h 220"/>
                  <a:gd name="T112" fmla="*/ 985 w 1139"/>
                  <a:gd name="T113" fmla="*/ 217 h 220"/>
                  <a:gd name="T114" fmla="*/ 1070 w 1139"/>
                  <a:gd name="T115" fmla="*/ 100 h 220"/>
                  <a:gd name="T116" fmla="*/ 1127 w 1139"/>
                  <a:gd name="T117" fmla="*/ 219 h 220"/>
                  <a:gd name="T118" fmla="*/ 1139 w 1139"/>
                  <a:gd name="T119" fmla="*/ 187 h 220"/>
                  <a:gd name="T120" fmla="*/ 1123 w 1139"/>
                  <a:gd name="T121" fmla="*/ 192 h 220"/>
                  <a:gd name="T122" fmla="*/ 1104 w 1139"/>
                  <a:gd name="T123" fmla="*/ 10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39" h="220">
                    <a:moveTo>
                      <a:pt x="171" y="15"/>
                    </a:moveTo>
                    <a:cubicBezTo>
                      <a:pt x="218" y="15"/>
                      <a:pt x="218" y="15"/>
                      <a:pt x="218" y="15"/>
                    </a:cubicBezTo>
                    <a:cubicBezTo>
                      <a:pt x="218" y="217"/>
                      <a:pt x="218" y="217"/>
                      <a:pt x="218" y="217"/>
                    </a:cubicBezTo>
                    <a:cubicBezTo>
                      <a:pt x="184" y="217"/>
                      <a:pt x="184" y="217"/>
                      <a:pt x="184" y="217"/>
                    </a:cubicBezTo>
                    <a:cubicBezTo>
                      <a:pt x="184" y="89"/>
                      <a:pt x="184" y="89"/>
                      <a:pt x="184" y="89"/>
                    </a:cubicBezTo>
                    <a:cubicBezTo>
                      <a:pt x="184" y="80"/>
                      <a:pt x="184" y="67"/>
                      <a:pt x="185" y="52"/>
                    </a:cubicBezTo>
                    <a:cubicBezTo>
                      <a:pt x="185" y="52"/>
                      <a:pt x="185" y="52"/>
                      <a:pt x="185" y="52"/>
                    </a:cubicBezTo>
                    <a:cubicBezTo>
                      <a:pt x="183" y="58"/>
                      <a:pt x="182" y="65"/>
                      <a:pt x="180" y="68"/>
                    </a:cubicBezTo>
                    <a:cubicBezTo>
                      <a:pt x="120" y="217"/>
                      <a:pt x="120" y="217"/>
                      <a:pt x="120" y="217"/>
                    </a:cubicBezTo>
                    <a:cubicBezTo>
                      <a:pt x="97" y="217"/>
                      <a:pt x="97" y="217"/>
                      <a:pt x="97" y="217"/>
                    </a:cubicBezTo>
                    <a:cubicBezTo>
                      <a:pt x="37" y="70"/>
                      <a:pt x="37" y="70"/>
                      <a:pt x="37" y="70"/>
                    </a:cubicBezTo>
                    <a:cubicBezTo>
                      <a:pt x="36" y="66"/>
                      <a:pt x="34" y="60"/>
                      <a:pt x="32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2" y="56"/>
                      <a:pt x="32" y="60"/>
                      <a:pt x="32" y="65"/>
                    </a:cubicBezTo>
                    <a:cubicBezTo>
                      <a:pt x="33" y="76"/>
                      <a:pt x="33" y="85"/>
                      <a:pt x="33" y="93"/>
                    </a:cubicBezTo>
                    <a:cubicBezTo>
                      <a:pt x="33" y="217"/>
                      <a:pt x="33" y="217"/>
                      <a:pt x="33" y="217"/>
                    </a:cubicBezTo>
                    <a:cubicBezTo>
                      <a:pt x="0" y="217"/>
                      <a:pt x="0" y="217"/>
                      <a:pt x="0" y="217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50" y="15"/>
                      <a:pt x="50" y="15"/>
                      <a:pt x="50" y="15"/>
                    </a:cubicBezTo>
                    <a:cubicBezTo>
                      <a:pt x="100" y="142"/>
                      <a:pt x="100" y="142"/>
                      <a:pt x="100" y="142"/>
                    </a:cubicBezTo>
                    <a:cubicBezTo>
                      <a:pt x="105" y="153"/>
                      <a:pt x="108" y="162"/>
                      <a:pt x="109" y="168"/>
                    </a:cubicBezTo>
                    <a:cubicBezTo>
                      <a:pt x="110" y="168"/>
                      <a:pt x="110" y="168"/>
                      <a:pt x="110" y="168"/>
                    </a:cubicBezTo>
                    <a:cubicBezTo>
                      <a:pt x="119" y="142"/>
                      <a:pt x="119" y="142"/>
                      <a:pt x="119" y="142"/>
                    </a:cubicBezTo>
                    <a:lnTo>
                      <a:pt x="171" y="15"/>
                    </a:lnTo>
                    <a:close/>
                    <a:moveTo>
                      <a:pt x="251" y="217"/>
                    </a:moveTo>
                    <a:cubicBezTo>
                      <a:pt x="285" y="217"/>
                      <a:pt x="285" y="217"/>
                      <a:pt x="285" y="217"/>
                    </a:cubicBezTo>
                    <a:cubicBezTo>
                      <a:pt x="285" y="72"/>
                      <a:pt x="285" y="72"/>
                      <a:pt x="285" y="72"/>
                    </a:cubicBezTo>
                    <a:cubicBezTo>
                      <a:pt x="251" y="72"/>
                      <a:pt x="251" y="72"/>
                      <a:pt x="251" y="72"/>
                    </a:cubicBezTo>
                    <a:lnTo>
                      <a:pt x="251" y="217"/>
                    </a:lnTo>
                    <a:close/>
                    <a:moveTo>
                      <a:pt x="269" y="11"/>
                    </a:moveTo>
                    <a:cubicBezTo>
                      <a:pt x="263" y="11"/>
                      <a:pt x="258" y="13"/>
                      <a:pt x="254" y="17"/>
                    </a:cubicBezTo>
                    <a:cubicBezTo>
                      <a:pt x="250" y="20"/>
                      <a:pt x="248" y="25"/>
                      <a:pt x="248" y="31"/>
                    </a:cubicBezTo>
                    <a:cubicBezTo>
                      <a:pt x="248" y="36"/>
                      <a:pt x="250" y="41"/>
                      <a:pt x="254" y="45"/>
                    </a:cubicBezTo>
                    <a:cubicBezTo>
                      <a:pt x="258" y="48"/>
                      <a:pt x="263" y="50"/>
                      <a:pt x="269" y="50"/>
                    </a:cubicBezTo>
                    <a:cubicBezTo>
                      <a:pt x="274" y="50"/>
                      <a:pt x="279" y="48"/>
                      <a:pt x="283" y="45"/>
                    </a:cubicBezTo>
                    <a:cubicBezTo>
                      <a:pt x="287" y="41"/>
                      <a:pt x="289" y="36"/>
                      <a:pt x="289" y="31"/>
                    </a:cubicBezTo>
                    <a:cubicBezTo>
                      <a:pt x="289" y="25"/>
                      <a:pt x="287" y="21"/>
                      <a:pt x="283" y="17"/>
                    </a:cubicBezTo>
                    <a:cubicBezTo>
                      <a:pt x="279" y="13"/>
                      <a:pt x="274" y="11"/>
                      <a:pt x="269" y="11"/>
                    </a:cubicBezTo>
                    <a:close/>
                    <a:moveTo>
                      <a:pt x="405" y="71"/>
                    </a:moveTo>
                    <a:cubicBezTo>
                      <a:pt x="399" y="69"/>
                      <a:pt x="393" y="69"/>
                      <a:pt x="386" y="69"/>
                    </a:cubicBezTo>
                    <a:cubicBezTo>
                      <a:pt x="371" y="69"/>
                      <a:pt x="357" y="72"/>
                      <a:pt x="345" y="79"/>
                    </a:cubicBezTo>
                    <a:cubicBezTo>
                      <a:pt x="333" y="85"/>
                      <a:pt x="324" y="95"/>
                      <a:pt x="318" y="107"/>
                    </a:cubicBezTo>
                    <a:cubicBezTo>
                      <a:pt x="312" y="119"/>
                      <a:pt x="309" y="133"/>
                      <a:pt x="309" y="148"/>
                    </a:cubicBezTo>
                    <a:cubicBezTo>
                      <a:pt x="309" y="162"/>
                      <a:pt x="312" y="174"/>
                      <a:pt x="318" y="185"/>
                    </a:cubicBezTo>
                    <a:cubicBezTo>
                      <a:pt x="324" y="196"/>
                      <a:pt x="332" y="205"/>
                      <a:pt x="343" y="211"/>
                    </a:cubicBezTo>
                    <a:cubicBezTo>
                      <a:pt x="354" y="217"/>
                      <a:pt x="366" y="220"/>
                      <a:pt x="380" y="220"/>
                    </a:cubicBezTo>
                    <a:cubicBezTo>
                      <a:pt x="396" y="220"/>
                      <a:pt x="410" y="217"/>
                      <a:pt x="421" y="211"/>
                    </a:cubicBezTo>
                    <a:cubicBezTo>
                      <a:pt x="422" y="210"/>
                      <a:pt x="422" y="210"/>
                      <a:pt x="422" y="210"/>
                    </a:cubicBezTo>
                    <a:cubicBezTo>
                      <a:pt x="422" y="179"/>
                      <a:pt x="422" y="179"/>
                      <a:pt x="422" y="179"/>
                    </a:cubicBezTo>
                    <a:cubicBezTo>
                      <a:pt x="420" y="180"/>
                      <a:pt x="420" y="180"/>
                      <a:pt x="420" y="180"/>
                    </a:cubicBezTo>
                    <a:cubicBezTo>
                      <a:pt x="415" y="184"/>
                      <a:pt x="410" y="187"/>
                      <a:pt x="404" y="189"/>
                    </a:cubicBezTo>
                    <a:cubicBezTo>
                      <a:pt x="398" y="191"/>
                      <a:pt x="392" y="192"/>
                      <a:pt x="387" y="192"/>
                    </a:cubicBezTo>
                    <a:cubicBezTo>
                      <a:pt x="374" y="192"/>
                      <a:pt x="363" y="188"/>
                      <a:pt x="355" y="180"/>
                    </a:cubicBezTo>
                    <a:cubicBezTo>
                      <a:pt x="348" y="171"/>
                      <a:pt x="344" y="160"/>
                      <a:pt x="344" y="145"/>
                    </a:cubicBezTo>
                    <a:cubicBezTo>
                      <a:pt x="344" y="131"/>
                      <a:pt x="348" y="119"/>
                      <a:pt x="356" y="110"/>
                    </a:cubicBezTo>
                    <a:cubicBezTo>
                      <a:pt x="364" y="101"/>
                      <a:pt x="375" y="97"/>
                      <a:pt x="388" y="97"/>
                    </a:cubicBezTo>
                    <a:cubicBezTo>
                      <a:pt x="399" y="97"/>
                      <a:pt x="410" y="101"/>
                      <a:pt x="420" y="108"/>
                    </a:cubicBezTo>
                    <a:cubicBezTo>
                      <a:pt x="422" y="109"/>
                      <a:pt x="422" y="109"/>
                      <a:pt x="422" y="109"/>
                    </a:cubicBezTo>
                    <a:cubicBezTo>
                      <a:pt x="422" y="76"/>
                      <a:pt x="422" y="76"/>
                      <a:pt x="422" y="76"/>
                    </a:cubicBezTo>
                    <a:cubicBezTo>
                      <a:pt x="421" y="76"/>
                      <a:pt x="421" y="76"/>
                      <a:pt x="421" y="76"/>
                    </a:cubicBezTo>
                    <a:cubicBezTo>
                      <a:pt x="417" y="74"/>
                      <a:pt x="412" y="72"/>
                      <a:pt x="405" y="71"/>
                    </a:cubicBezTo>
                    <a:close/>
                    <a:moveTo>
                      <a:pt x="517" y="70"/>
                    </a:moveTo>
                    <a:cubicBezTo>
                      <a:pt x="509" y="70"/>
                      <a:pt x="501" y="72"/>
                      <a:pt x="495" y="78"/>
                    </a:cubicBezTo>
                    <a:cubicBezTo>
                      <a:pt x="489" y="83"/>
                      <a:pt x="485" y="89"/>
                      <a:pt x="482" y="97"/>
                    </a:cubicBezTo>
                    <a:cubicBezTo>
                      <a:pt x="481" y="97"/>
                      <a:pt x="481" y="97"/>
                      <a:pt x="481" y="97"/>
                    </a:cubicBezTo>
                    <a:cubicBezTo>
                      <a:pt x="481" y="72"/>
                      <a:pt x="481" y="72"/>
                      <a:pt x="481" y="72"/>
                    </a:cubicBezTo>
                    <a:cubicBezTo>
                      <a:pt x="447" y="72"/>
                      <a:pt x="447" y="72"/>
                      <a:pt x="447" y="72"/>
                    </a:cubicBezTo>
                    <a:cubicBezTo>
                      <a:pt x="447" y="217"/>
                      <a:pt x="447" y="217"/>
                      <a:pt x="447" y="217"/>
                    </a:cubicBezTo>
                    <a:cubicBezTo>
                      <a:pt x="481" y="217"/>
                      <a:pt x="481" y="217"/>
                      <a:pt x="481" y="217"/>
                    </a:cubicBezTo>
                    <a:cubicBezTo>
                      <a:pt x="481" y="143"/>
                      <a:pt x="481" y="143"/>
                      <a:pt x="481" y="143"/>
                    </a:cubicBezTo>
                    <a:cubicBezTo>
                      <a:pt x="481" y="130"/>
                      <a:pt x="484" y="120"/>
                      <a:pt x="490" y="112"/>
                    </a:cubicBezTo>
                    <a:cubicBezTo>
                      <a:pt x="495" y="104"/>
                      <a:pt x="503" y="100"/>
                      <a:pt x="512" y="100"/>
                    </a:cubicBezTo>
                    <a:cubicBezTo>
                      <a:pt x="515" y="100"/>
                      <a:pt x="518" y="101"/>
                      <a:pt x="522" y="102"/>
                    </a:cubicBezTo>
                    <a:cubicBezTo>
                      <a:pt x="526" y="103"/>
                      <a:pt x="528" y="104"/>
                      <a:pt x="530" y="105"/>
                    </a:cubicBezTo>
                    <a:cubicBezTo>
                      <a:pt x="531" y="106"/>
                      <a:pt x="531" y="106"/>
                      <a:pt x="531" y="106"/>
                    </a:cubicBezTo>
                    <a:cubicBezTo>
                      <a:pt x="531" y="72"/>
                      <a:pt x="531" y="72"/>
                      <a:pt x="531" y="72"/>
                    </a:cubicBezTo>
                    <a:cubicBezTo>
                      <a:pt x="531" y="72"/>
                      <a:pt x="531" y="72"/>
                      <a:pt x="531" y="72"/>
                    </a:cubicBezTo>
                    <a:cubicBezTo>
                      <a:pt x="528" y="70"/>
                      <a:pt x="523" y="70"/>
                      <a:pt x="517" y="70"/>
                    </a:cubicBezTo>
                    <a:close/>
                    <a:moveTo>
                      <a:pt x="663" y="89"/>
                    </a:moveTo>
                    <a:cubicBezTo>
                      <a:pt x="675" y="102"/>
                      <a:pt x="682" y="120"/>
                      <a:pt x="682" y="143"/>
                    </a:cubicBezTo>
                    <a:cubicBezTo>
                      <a:pt x="682" y="166"/>
                      <a:pt x="675" y="185"/>
                      <a:pt x="661" y="199"/>
                    </a:cubicBezTo>
                    <a:cubicBezTo>
                      <a:pt x="648" y="213"/>
                      <a:pt x="629" y="220"/>
                      <a:pt x="606" y="220"/>
                    </a:cubicBezTo>
                    <a:cubicBezTo>
                      <a:pt x="584" y="220"/>
                      <a:pt x="566" y="213"/>
                      <a:pt x="553" y="200"/>
                    </a:cubicBezTo>
                    <a:cubicBezTo>
                      <a:pt x="540" y="187"/>
                      <a:pt x="533" y="169"/>
                      <a:pt x="533" y="146"/>
                    </a:cubicBezTo>
                    <a:cubicBezTo>
                      <a:pt x="533" y="122"/>
                      <a:pt x="540" y="103"/>
                      <a:pt x="553" y="89"/>
                    </a:cubicBezTo>
                    <a:cubicBezTo>
                      <a:pt x="567" y="76"/>
                      <a:pt x="586" y="69"/>
                      <a:pt x="610" y="69"/>
                    </a:cubicBezTo>
                    <a:cubicBezTo>
                      <a:pt x="632" y="69"/>
                      <a:pt x="650" y="75"/>
                      <a:pt x="663" y="89"/>
                    </a:cubicBezTo>
                    <a:close/>
                    <a:moveTo>
                      <a:pt x="646" y="144"/>
                    </a:moveTo>
                    <a:cubicBezTo>
                      <a:pt x="646" y="129"/>
                      <a:pt x="643" y="117"/>
                      <a:pt x="636" y="109"/>
                    </a:cubicBezTo>
                    <a:cubicBezTo>
                      <a:pt x="629" y="101"/>
                      <a:pt x="620" y="97"/>
                      <a:pt x="608" y="97"/>
                    </a:cubicBezTo>
                    <a:cubicBezTo>
                      <a:pt x="596" y="97"/>
                      <a:pt x="586" y="101"/>
                      <a:pt x="579" y="109"/>
                    </a:cubicBezTo>
                    <a:cubicBezTo>
                      <a:pt x="572" y="118"/>
                      <a:pt x="568" y="130"/>
                      <a:pt x="568" y="145"/>
                    </a:cubicBezTo>
                    <a:cubicBezTo>
                      <a:pt x="568" y="160"/>
                      <a:pt x="572" y="172"/>
                      <a:pt x="579" y="180"/>
                    </a:cubicBezTo>
                    <a:cubicBezTo>
                      <a:pt x="586" y="188"/>
                      <a:pt x="596" y="192"/>
                      <a:pt x="608" y="192"/>
                    </a:cubicBezTo>
                    <a:cubicBezTo>
                      <a:pt x="621" y="192"/>
                      <a:pt x="630" y="188"/>
                      <a:pt x="637" y="180"/>
                    </a:cubicBezTo>
                    <a:cubicBezTo>
                      <a:pt x="643" y="172"/>
                      <a:pt x="646" y="160"/>
                      <a:pt x="646" y="144"/>
                    </a:cubicBezTo>
                    <a:close/>
                    <a:moveTo>
                      <a:pt x="757" y="132"/>
                    </a:moveTo>
                    <a:cubicBezTo>
                      <a:pt x="746" y="128"/>
                      <a:pt x="739" y="124"/>
                      <a:pt x="737" y="121"/>
                    </a:cubicBezTo>
                    <a:cubicBezTo>
                      <a:pt x="734" y="119"/>
                      <a:pt x="732" y="115"/>
                      <a:pt x="732" y="110"/>
                    </a:cubicBezTo>
                    <a:cubicBezTo>
                      <a:pt x="732" y="106"/>
                      <a:pt x="734" y="103"/>
                      <a:pt x="738" y="100"/>
                    </a:cubicBezTo>
                    <a:cubicBezTo>
                      <a:pt x="741" y="97"/>
                      <a:pt x="746" y="96"/>
                      <a:pt x="752" y="96"/>
                    </a:cubicBezTo>
                    <a:cubicBezTo>
                      <a:pt x="758" y="96"/>
                      <a:pt x="764" y="97"/>
                      <a:pt x="770" y="98"/>
                    </a:cubicBezTo>
                    <a:cubicBezTo>
                      <a:pt x="776" y="100"/>
                      <a:pt x="781" y="103"/>
                      <a:pt x="785" y="105"/>
                    </a:cubicBezTo>
                    <a:cubicBezTo>
                      <a:pt x="786" y="106"/>
                      <a:pt x="786" y="106"/>
                      <a:pt x="786" y="106"/>
                    </a:cubicBezTo>
                    <a:cubicBezTo>
                      <a:pt x="786" y="75"/>
                      <a:pt x="786" y="75"/>
                      <a:pt x="786" y="75"/>
                    </a:cubicBezTo>
                    <a:cubicBezTo>
                      <a:pt x="786" y="75"/>
                      <a:pt x="786" y="75"/>
                      <a:pt x="786" y="75"/>
                    </a:cubicBezTo>
                    <a:cubicBezTo>
                      <a:pt x="782" y="73"/>
                      <a:pt x="777" y="72"/>
                      <a:pt x="770" y="70"/>
                    </a:cubicBezTo>
                    <a:cubicBezTo>
                      <a:pt x="764" y="69"/>
                      <a:pt x="758" y="69"/>
                      <a:pt x="753" y="69"/>
                    </a:cubicBezTo>
                    <a:cubicBezTo>
                      <a:pt x="737" y="69"/>
                      <a:pt x="724" y="73"/>
                      <a:pt x="714" y="81"/>
                    </a:cubicBezTo>
                    <a:cubicBezTo>
                      <a:pt x="703" y="89"/>
                      <a:pt x="698" y="100"/>
                      <a:pt x="698" y="113"/>
                    </a:cubicBezTo>
                    <a:cubicBezTo>
                      <a:pt x="698" y="120"/>
                      <a:pt x="699" y="126"/>
                      <a:pt x="701" y="131"/>
                    </a:cubicBezTo>
                    <a:cubicBezTo>
                      <a:pt x="704" y="136"/>
                      <a:pt x="707" y="141"/>
                      <a:pt x="712" y="144"/>
                    </a:cubicBezTo>
                    <a:cubicBezTo>
                      <a:pt x="716" y="148"/>
                      <a:pt x="723" y="152"/>
                      <a:pt x="733" y="156"/>
                    </a:cubicBezTo>
                    <a:cubicBezTo>
                      <a:pt x="740" y="159"/>
                      <a:pt x="746" y="162"/>
                      <a:pt x="750" y="164"/>
                    </a:cubicBezTo>
                    <a:cubicBezTo>
                      <a:pt x="754" y="166"/>
                      <a:pt x="756" y="168"/>
                      <a:pt x="758" y="171"/>
                    </a:cubicBezTo>
                    <a:cubicBezTo>
                      <a:pt x="759" y="173"/>
                      <a:pt x="760" y="175"/>
                      <a:pt x="760" y="179"/>
                    </a:cubicBezTo>
                    <a:cubicBezTo>
                      <a:pt x="760" y="188"/>
                      <a:pt x="753" y="193"/>
                      <a:pt x="738" y="193"/>
                    </a:cubicBezTo>
                    <a:cubicBezTo>
                      <a:pt x="732" y="193"/>
                      <a:pt x="726" y="192"/>
                      <a:pt x="719" y="190"/>
                    </a:cubicBezTo>
                    <a:cubicBezTo>
                      <a:pt x="712" y="187"/>
                      <a:pt x="705" y="184"/>
                      <a:pt x="700" y="180"/>
                    </a:cubicBezTo>
                    <a:cubicBezTo>
                      <a:pt x="698" y="179"/>
                      <a:pt x="698" y="179"/>
                      <a:pt x="698" y="179"/>
                    </a:cubicBezTo>
                    <a:cubicBezTo>
                      <a:pt x="698" y="212"/>
                      <a:pt x="698" y="212"/>
                      <a:pt x="698" y="212"/>
                    </a:cubicBezTo>
                    <a:cubicBezTo>
                      <a:pt x="699" y="212"/>
                      <a:pt x="699" y="212"/>
                      <a:pt x="699" y="212"/>
                    </a:cubicBezTo>
                    <a:cubicBezTo>
                      <a:pt x="703" y="215"/>
                      <a:pt x="710" y="216"/>
                      <a:pt x="717" y="218"/>
                    </a:cubicBezTo>
                    <a:cubicBezTo>
                      <a:pt x="724" y="219"/>
                      <a:pt x="731" y="220"/>
                      <a:pt x="736" y="220"/>
                    </a:cubicBezTo>
                    <a:cubicBezTo>
                      <a:pt x="754" y="220"/>
                      <a:pt x="768" y="216"/>
                      <a:pt x="778" y="208"/>
                    </a:cubicBezTo>
                    <a:cubicBezTo>
                      <a:pt x="789" y="199"/>
                      <a:pt x="794" y="188"/>
                      <a:pt x="794" y="175"/>
                    </a:cubicBezTo>
                    <a:cubicBezTo>
                      <a:pt x="794" y="165"/>
                      <a:pt x="791" y="157"/>
                      <a:pt x="786" y="150"/>
                    </a:cubicBezTo>
                    <a:cubicBezTo>
                      <a:pt x="780" y="143"/>
                      <a:pt x="770" y="137"/>
                      <a:pt x="757" y="132"/>
                    </a:cubicBezTo>
                    <a:close/>
                    <a:moveTo>
                      <a:pt x="938" y="89"/>
                    </a:moveTo>
                    <a:cubicBezTo>
                      <a:pt x="951" y="102"/>
                      <a:pt x="957" y="120"/>
                      <a:pt x="957" y="143"/>
                    </a:cubicBezTo>
                    <a:cubicBezTo>
                      <a:pt x="957" y="166"/>
                      <a:pt x="951" y="185"/>
                      <a:pt x="937" y="199"/>
                    </a:cubicBezTo>
                    <a:cubicBezTo>
                      <a:pt x="924" y="213"/>
                      <a:pt x="905" y="220"/>
                      <a:pt x="882" y="220"/>
                    </a:cubicBezTo>
                    <a:cubicBezTo>
                      <a:pt x="860" y="220"/>
                      <a:pt x="842" y="213"/>
                      <a:pt x="829" y="200"/>
                    </a:cubicBezTo>
                    <a:cubicBezTo>
                      <a:pt x="816" y="187"/>
                      <a:pt x="809" y="169"/>
                      <a:pt x="809" y="146"/>
                    </a:cubicBezTo>
                    <a:cubicBezTo>
                      <a:pt x="809" y="122"/>
                      <a:pt x="816" y="103"/>
                      <a:pt x="829" y="89"/>
                    </a:cubicBezTo>
                    <a:cubicBezTo>
                      <a:pt x="843" y="76"/>
                      <a:pt x="862" y="69"/>
                      <a:pt x="885" y="69"/>
                    </a:cubicBezTo>
                    <a:cubicBezTo>
                      <a:pt x="908" y="69"/>
                      <a:pt x="926" y="75"/>
                      <a:pt x="938" y="89"/>
                    </a:cubicBezTo>
                    <a:close/>
                    <a:moveTo>
                      <a:pt x="922" y="144"/>
                    </a:moveTo>
                    <a:cubicBezTo>
                      <a:pt x="922" y="129"/>
                      <a:pt x="919" y="117"/>
                      <a:pt x="912" y="109"/>
                    </a:cubicBezTo>
                    <a:cubicBezTo>
                      <a:pt x="905" y="101"/>
                      <a:pt x="896" y="97"/>
                      <a:pt x="884" y="97"/>
                    </a:cubicBezTo>
                    <a:cubicBezTo>
                      <a:pt x="871" y="97"/>
                      <a:pt x="862" y="101"/>
                      <a:pt x="855" y="109"/>
                    </a:cubicBezTo>
                    <a:cubicBezTo>
                      <a:pt x="848" y="118"/>
                      <a:pt x="844" y="130"/>
                      <a:pt x="844" y="145"/>
                    </a:cubicBezTo>
                    <a:cubicBezTo>
                      <a:pt x="844" y="160"/>
                      <a:pt x="848" y="172"/>
                      <a:pt x="855" y="180"/>
                    </a:cubicBezTo>
                    <a:cubicBezTo>
                      <a:pt x="862" y="188"/>
                      <a:pt x="871" y="192"/>
                      <a:pt x="884" y="192"/>
                    </a:cubicBezTo>
                    <a:cubicBezTo>
                      <a:pt x="896" y="192"/>
                      <a:pt x="906" y="188"/>
                      <a:pt x="912" y="180"/>
                    </a:cubicBezTo>
                    <a:cubicBezTo>
                      <a:pt x="919" y="172"/>
                      <a:pt x="922" y="160"/>
                      <a:pt x="922" y="144"/>
                    </a:cubicBezTo>
                    <a:close/>
                    <a:moveTo>
                      <a:pt x="1139" y="100"/>
                    </a:moveTo>
                    <a:cubicBezTo>
                      <a:pt x="1139" y="72"/>
                      <a:pt x="1139" y="72"/>
                      <a:pt x="1139" y="72"/>
                    </a:cubicBezTo>
                    <a:cubicBezTo>
                      <a:pt x="1104" y="72"/>
                      <a:pt x="1104" y="72"/>
                      <a:pt x="1104" y="72"/>
                    </a:cubicBezTo>
                    <a:cubicBezTo>
                      <a:pt x="1104" y="29"/>
                      <a:pt x="1104" y="29"/>
                      <a:pt x="1104" y="29"/>
                    </a:cubicBezTo>
                    <a:cubicBezTo>
                      <a:pt x="1103" y="29"/>
                      <a:pt x="1103" y="29"/>
                      <a:pt x="1103" y="29"/>
                    </a:cubicBezTo>
                    <a:cubicBezTo>
                      <a:pt x="1071" y="39"/>
                      <a:pt x="1071" y="39"/>
                      <a:pt x="1071" y="39"/>
                    </a:cubicBezTo>
                    <a:cubicBezTo>
                      <a:pt x="1070" y="40"/>
                      <a:pt x="1070" y="40"/>
                      <a:pt x="1070" y="40"/>
                    </a:cubicBezTo>
                    <a:cubicBezTo>
                      <a:pt x="1070" y="72"/>
                      <a:pt x="1070" y="72"/>
                      <a:pt x="1070" y="72"/>
                    </a:cubicBezTo>
                    <a:cubicBezTo>
                      <a:pt x="1019" y="72"/>
                      <a:pt x="1019" y="72"/>
                      <a:pt x="1019" y="72"/>
                    </a:cubicBezTo>
                    <a:cubicBezTo>
                      <a:pt x="1019" y="54"/>
                      <a:pt x="1019" y="54"/>
                      <a:pt x="1019" y="54"/>
                    </a:cubicBezTo>
                    <a:cubicBezTo>
                      <a:pt x="1019" y="46"/>
                      <a:pt x="1021" y="39"/>
                      <a:pt x="1025" y="35"/>
                    </a:cubicBezTo>
                    <a:cubicBezTo>
                      <a:pt x="1028" y="30"/>
                      <a:pt x="1034" y="28"/>
                      <a:pt x="1040" y="28"/>
                    </a:cubicBezTo>
                    <a:cubicBezTo>
                      <a:pt x="1045" y="28"/>
                      <a:pt x="1050" y="29"/>
                      <a:pt x="1055" y="32"/>
                    </a:cubicBezTo>
                    <a:cubicBezTo>
                      <a:pt x="1057" y="32"/>
                      <a:pt x="1057" y="32"/>
                      <a:pt x="1057" y="32"/>
                    </a:cubicBezTo>
                    <a:cubicBezTo>
                      <a:pt x="1057" y="3"/>
                      <a:pt x="1057" y="3"/>
                      <a:pt x="1057" y="3"/>
                    </a:cubicBezTo>
                    <a:cubicBezTo>
                      <a:pt x="1056" y="3"/>
                      <a:pt x="1056" y="3"/>
                      <a:pt x="1056" y="3"/>
                    </a:cubicBezTo>
                    <a:cubicBezTo>
                      <a:pt x="1051" y="1"/>
                      <a:pt x="1045" y="0"/>
                      <a:pt x="1037" y="0"/>
                    </a:cubicBezTo>
                    <a:cubicBezTo>
                      <a:pt x="1027" y="0"/>
                      <a:pt x="1018" y="3"/>
                      <a:pt x="1010" y="7"/>
                    </a:cubicBezTo>
                    <a:cubicBezTo>
                      <a:pt x="1002" y="11"/>
                      <a:pt x="996" y="17"/>
                      <a:pt x="991" y="25"/>
                    </a:cubicBezTo>
                    <a:cubicBezTo>
                      <a:pt x="987" y="33"/>
                      <a:pt x="985" y="42"/>
                      <a:pt x="985" y="52"/>
                    </a:cubicBezTo>
                    <a:cubicBezTo>
                      <a:pt x="985" y="72"/>
                      <a:pt x="985" y="72"/>
                      <a:pt x="985" y="72"/>
                    </a:cubicBezTo>
                    <a:cubicBezTo>
                      <a:pt x="961" y="72"/>
                      <a:pt x="961" y="72"/>
                      <a:pt x="961" y="72"/>
                    </a:cubicBezTo>
                    <a:cubicBezTo>
                      <a:pt x="961" y="100"/>
                      <a:pt x="961" y="100"/>
                      <a:pt x="961" y="100"/>
                    </a:cubicBezTo>
                    <a:cubicBezTo>
                      <a:pt x="985" y="100"/>
                      <a:pt x="985" y="100"/>
                      <a:pt x="985" y="100"/>
                    </a:cubicBezTo>
                    <a:cubicBezTo>
                      <a:pt x="985" y="217"/>
                      <a:pt x="985" y="217"/>
                      <a:pt x="985" y="217"/>
                    </a:cubicBezTo>
                    <a:cubicBezTo>
                      <a:pt x="1019" y="217"/>
                      <a:pt x="1019" y="217"/>
                      <a:pt x="1019" y="217"/>
                    </a:cubicBezTo>
                    <a:cubicBezTo>
                      <a:pt x="1019" y="100"/>
                      <a:pt x="1019" y="100"/>
                      <a:pt x="1019" y="100"/>
                    </a:cubicBezTo>
                    <a:cubicBezTo>
                      <a:pt x="1070" y="100"/>
                      <a:pt x="1070" y="100"/>
                      <a:pt x="1070" y="100"/>
                    </a:cubicBezTo>
                    <a:cubicBezTo>
                      <a:pt x="1070" y="174"/>
                      <a:pt x="1070" y="174"/>
                      <a:pt x="1070" y="174"/>
                    </a:cubicBezTo>
                    <a:cubicBezTo>
                      <a:pt x="1070" y="205"/>
                      <a:pt x="1084" y="220"/>
                      <a:pt x="1113" y="220"/>
                    </a:cubicBezTo>
                    <a:cubicBezTo>
                      <a:pt x="1118" y="220"/>
                      <a:pt x="1122" y="220"/>
                      <a:pt x="1127" y="219"/>
                    </a:cubicBezTo>
                    <a:cubicBezTo>
                      <a:pt x="1133" y="217"/>
                      <a:pt x="1136" y="216"/>
                      <a:pt x="1138" y="215"/>
                    </a:cubicBezTo>
                    <a:cubicBezTo>
                      <a:pt x="1139" y="215"/>
                      <a:pt x="1139" y="215"/>
                      <a:pt x="1139" y="215"/>
                    </a:cubicBezTo>
                    <a:cubicBezTo>
                      <a:pt x="1139" y="187"/>
                      <a:pt x="1139" y="187"/>
                      <a:pt x="1139" y="187"/>
                    </a:cubicBezTo>
                    <a:cubicBezTo>
                      <a:pt x="1137" y="188"/>
                      <a:pt x="1137" y="188"/>
                      <a:pt x="1137" y="188"/>
                    </a:cubicBezTo>
                    <a:cubicBezTo>
                      <a:pt x="1135" y="189"/>
                      <a:pt x="1133" y="190"/>
                      <a:pt x="1130" y="191"/>
                    </a:cubicBezTo>
                    <a:cubicBezTo>
                      <a:pt x="1127" y="192"/>
                      <a:pt x="1125" y="192"/>
                      <a:pt x="1123" y="192"/>
                    </a:cubicBezTo>
                    <a:cubicBezTo>
                      <a:pt x="1117" y="192"/>
                      <a:pt x="1112" y="190"/>
                      <a:pt x="1109" y="187"/>
                    </a:cubicBezTo>
                    <a:cubicBezTo>
                      <a:pt x="1106" y="183"/>
                      <a:pt x="1104" y="177"/>
                      <a:pt x="1104" y="168"/>
                    </a:cubicBezTo>
                    <a:cubicBezTo>
                      <a:pt x="1104" y="100"/>
                      <a:pt x="1104" y="100"/>
                      <a:pt x="1104" y="100"/>
                    </a:cubicBezTo>
                    <a:lnTo>
                      <a:pt x="1139" y="10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A79A0C06-686A-4730-9D9E-C828775B9A87}"/>
              </a:ext>
            </a:extLst>
          </p:cNvPr>
          <p:cNvSpPr/>
          <p:nvPr/>
        </p:nvSpPr>
        <p:spPr bwMode="auto">
          <a:xfrm>
            <a:off x="366011" y="4587240"/>
            <a:ext cx="1478029" cy="1206015"/>
          </a:xfrm>
          <a:prstGeom prst="rect">
            <a:avLst/>
          </a:prstGeom>
          <a:noFill/>
          <a:ln w="254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254DDF0-EAA3-4AC6-A128-F5B4F8D1CC57}"/>
              </a:ext>
            </a:extLst>
          </p:cNvPr>
          <p:cNvGrpSpPr/>
          <p:nvPr/>
        </p:nvGrpSpPr>
        <p:grpSpPr>
          <a:xfrm>
            <a:off x="3075955" y="5951622"/>
            <a:ext cx="3073385" cy="446799"/>
            <a:chOff x="210989" y="5921138"/>
            <a:chExt cx="3903148" cy="567427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2E3BC62C-2C2F-4751-ABE8-23DA56A65210}"/>
                </a:ext>
              </a:extLst>
            </p:cNvPr>
            <p:cNvCxnSpPr>
              <a:cxnSpLocks/>
            </p:cNvCxnSpPr>
            <p:nvPr/>
          </p:nvCxnSpPr>
          <p:spPr>
            <a:xfrm>
              <a:off x="632760" y="5925021"/>
              <a:ext cx="3065762" cy="0"/>
            </a:xfrm>
            <a:prstGeom prst="line">
              <a:avLst/>
            </a:prstGeom>
            <a:ln w="9525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323CCA45-2501-4C45-9A27-0D7781BC1F81}"/>
                </a:ext>
              </a:extLst>
            </p:cNvPr>
            <p:cNvCxnSpPr>
              <a:cxnSpLocks/>
            </p:cNvCxnSpPr>
            <p:nvPr/>
          </p:nvCxnSpPr>
          <p:spPr>
            <a:xfrm>
              <a:off x="632760" y="5921138"/>
              <a:ext cx="0" cy="163062"/>
            </a:xfrm>
            <a:prstGeom prst="line">
              <a:avLst/>
            </a:prstGeom>
            <a:ln w="9525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C0239DF1-94DC-46C6-A711-5FDC6B8AA179}"/>
                </a:ext>
              </a:extLst>
            </p:cNvPr>
            <p:cNvCxnSpPr>
              <a:cxnSpLocks/>
            </p:cNvCxnSpPr>
            <p:nvPr/>
          </p:nvCxnSpPr>
          <p:spPr>
            <a:xfrm>
              <a:off x="1397422" y="5921138"/>
              <a:ext cx="0" cy="163062"/>
            </a:xfrm>
            <a:prstGeom prst="line">
              <a:avLst/>
            </a:prstGeom>
            <a:ln w="9525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FCF3A427-C448-455B-81B9-916766CB6264}"/>
                </a:ext>
              </a:extLst>
            </p:cNvPr>
            <p:cNvCxnSpPr>
              <a:cxnSpLocks/>
            </p:cNvCxnSpPr>
            <p:nvPr/>
          </p:nvCxnSpPr>
          <p:spPr>
            <a:xfrm>
              <a:off x="2162084" y="5921138"/>
              <a:ext cx="0" cy="163062"/>
            </a:xfrm>
            <a:prstGeom prst="line">
              <a:avLst/>
            </a:prstGeom>
            <a:ln w="9525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86EAB253-4FF5-4505-B604-19A971E37606}"/>
                </a:ext>
              </a:extLst>
            </p:cNvPr>
            <p:cNvCxnSpPr>
              <a:cxnSpLocks/>
            </p:cNvCxnSpPr>
            <p:nvPr/>
          </p:nvCxnSpPr>
          <p:spPr>
            <a:xfrm>
              <a:off x="2926746" y="5921138"/>
              <a:ext cx="0" cy="163062"/>
            </a:xfrm>
            <a:prstGeom prst="line">
              <a:avLst/>
            </a:prstGeom>
            <a:ln w="9525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398FA2BB-9910-4D16-82B1-E14C476CCF25}"/>
                </a:ext>
              </a:extLst>
            </p:cNvPr>
            <p:cNvCxnSpPr>
              <a:cxnSpLocks/>
            </p:cNvCxnSpPr>
            <p:nvPr/>
          </p:nvCxnSpPr>
          <p:spPr>
            <a:xfrm>
              <a:off x="3691413" y="5921138"/>
              <a:ext cx="0" cy="163062"/>
            </a:xfrm>
            <a:prstGeom prst="line">
              <a:avLst/>
            </a:prstGeom>
            <a:ln w="9525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724D27AF-BB85-4FF1-AAF4-5399E4507528}"/>
                </a:ext>
              </a:extLst>
            </p:cNvPr>
            <p:cNvSpPr txBox="1"/>
            <p:nvPr/>
          </p:nvSpPr>
          <p:spPr>
            <a:xfrm>
              <a:off x="210989" y="6000158"/>
              <a:ext cx="847833" cy="488407"/>
            </a:xfrm>
            <a:prstGeom prst="rect">
              <a:avLst/>
            </a:prstGeom>
            <a:noFill/>
          </p:spPr>
          <p:txBody>
            <a:bodyPr wrap="square" lIns="179259" tIns="143407" rIns="179259" bIns="143407" rtlCol="0">
              <a:spAutoFit/>
            </a:bodyPr>
            <a:lstStyle/>
            <a:p>
              <a:pPr marL="0" marR="0" lvl="0" indent="0" algn="ctr" defTabSz="107545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86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5439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1993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C4E12B74-FF8B-4DAD-84C8-8BE7B346796C}"/>
                </a:ext>
              </a:extLst>
            </p:cNvPr>
            <p:cNvSpPr txBox="1"/>
            <p:nvPr/>
          </p:nvSpPr>
          <p:spPr>
            <a:xfrm>
              <a:off x="3266304" y="6000158"/>
              <a:ext cx="847833" cy="488406"/>
            </a:xfrm>
            <a:prstGeom prst="rect">
              <a:avLst/>
            </a:prstGeom>
            <a:noFill/>
          </p:spPr>
          <p:txBody>
            <a:bodyPr wrap="square" lIns="179259" tIns="143407" rIns="179259" bIns="143407" rtlCol="0">
              <a:spAutoFit/>
            </a:bodyPr>
            <a:lstStyle/>
            <a:p>
              <a:pPr marL="0" marR="0" lvl="0" indent="0" algn="ctr" defTabSz="107545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86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5439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2017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2BD2D230-75A2-49B4-9DA5-418D5B57FA8E}"/>
                </a:ext>
              </a:extLst>
            </p:cNvPr>
            <p:cNvSpPr txBox="1"/>
            <p:nvPr/>
          </p:nvSpPr>
          <p:spPr>
            <a:xfrm>
              <a:off x="921244" y="6000158"/>
              <a:ext cx="955703" cy="488406"/>
            </a:xfrm>
            <a:prstGeom prst="rect">
              <a:avLst/>
            </a:prstGeom>
            <a:noFill/>
          </p:spPr>
          <p:txBody>
            <a:bodyPr wrap="square" lIns="179259" tIns="143407" rIns="179259" bIns="143407" rtlCol="0">
              <a:spAutoFit/>
            </a:bodyPr>
            <a:lstStyle/>
            <a:p>
              <a:pPr marL="0" marR="0" lvl="0" indent="0" algn="ctr" defTabSz="107545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86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5439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2000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2E91680A-2775-4423-8E01-7ABC93F00FB4}"/>
                </a:ext>
              </a:extLst>
            </p:cNvPr>
            <p:cNvSpPr txBox="1"/>
            <p:nvPr/>
          </p:nvSpPr>
          <p:spPr>
            <a:xfrm>
              <a:off x="1688447" y="6000158"/>
              <a:ext cx="955703" cy="488406"/>
            </a:xfrm>
            <a:prstGeom prst="rect">
              <a:avLst/>
            </a:prstGeom>
            <a:noFill/>
          </p:spPr>
          <p:txBody>
            <a:bodyPr wrap="square" lIns="179259" tIns="143407" rIns="179259" bIns="143407" rtlCol="0">
              <a:spAutoFit/>
            </a:bodyPr>
            <a:lstStyle/>
            <a:p>
              <a:pPr marL="0" marR="0" lvl="0" indent="0" algn="ctr" defTabSz="107545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86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5439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2006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14543DB8-34C5-408E-AB25-10810F23077D}"/>
                </a:ext>
              </a:extLst>
            </p:cNvPr>
            <p:cNvSpPr txBox="1"/>
            <p:nvPr/>
          </p:nvSpPr>
          <p:spPr>
            <a:xfrm>
              <a:off x="2448180" y="6000158"/>
              <a:ext cx="955703" cy="488406"/>
            </a:xfrm>
            <a:prstGeom prst="rect">
              <a:avLst/>
            </a:prstGeom>
            <a:noFill/>
          </p:spPr>
          <p:txBody>
            <a:bodyPr wrap="square" lIns="179259" tIns="143407" rIns="179259" bIns="143407" rtlCol="0">
              <a:spAutoFit/>
            </a:bodyPr>
            <a:lstStyle/>
            <a:p>
              <a:pPr marL="0" marR="0" lvl="0" indent="0" algn="ctr" defTabSz="107545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86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5439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2010</a:t>
              </a:r>
            </a:p>
          </p:txBody>
        </p:sp>
      </p:grpSp>
      <p:sp>
        <p:nvSpPr>
          <p:cNvPr id="652" name="Rectangle 651">
            <a:extLst>
              <a:ext uri="{FF2B5EF4-FFF2-40B4-BE49-F238E27FC236}">
                <a16:creationId xmlns:a16="http://schemas.microsoft.com/office/drawing/2014/main" id="{BEE7CAF2-9EAD-473C-B31B-97C68D74E9CA}"/>
              </a:ext>
            </a:extLst>
          </p:cNvPr>
          <p:cNvSpPr/>
          <p:nvPr/>
        </p:nvSpPr>
        <p:spPr bwMode="auto">
          <a:xfrm>
            <a:off x="231648" y="3252235"/>
            <a:ext cx="11670065" cy="3314571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C7721810-71AB-4AAC-823D-0739B2C53FE2}"/>
              </a:ext>
            </a:extLst>
          </p:cNvPr>
          <p:cNvSpPr/>
          <p:nvPr/>
        </p:nvSpPr>
        <p:spPr bwMode="auto">
          <a:xfrm>
            <a:off x="-4905" y="0"/>
            <a:ext cx="12196905" cy="3429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526BB6C-5CAB-43C4-8127-89FC0B402419}"/>
              </a:ext>
            </a:extLst>
          </p:cNvPr>
          <p:cNvSpPr/>
          <p:nvPr/>
        </p:nvSpPr>
        <p:spPr bwMode="auto">
          <a:xfrm>
            <a:off x="0" y="0"/>
            <a:ext cx="29028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89119FD-A2C9-44F5-8DDB-6F5CF2E737C7}"/>
              </a:ext>
            </a:extLst>
          </p:cNvPr>
          <p:cNvSpPr/>
          <p:nvPr/>
        </p:nvSpPr>
        <p:spPr bwMode="auto">
          <a:xfrm>
            <a:off x="11901715" y="0"/>
            <a:ext cx="29028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87" name="Rectangle 86">
            <a:extLst>
              <a:ext uri="{FF2B5EF4-FFF2-40B4-BE49-F238E27FC236}">
                <a16:creationId xmlns:a16="http://schemas.microsoft.com/office/drawing/2014/main" id="{F23D7F2F-5B28-478F-ABE5-2013C77C79C9}"/>
              </a:ext>
            </a:extLst>
          </p:cNvPr>
          <p:cNvSpPr/>
          <p:nvPr/>
        </p:nvSpPr>
        <p:spPr bwMode="auto">
          <a:xfrm rot="5400000">
            <a:off x="5950858" y="-5950856"/>
            <a:ext cx="290285" cy="12192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7DFEC14-6FEF-47DE-AA63-B462ECDD0C40}"/>
              </a:ext>
            </a:extLst>
          </p:cNvPr>
          <p:cNvSpPr/>
          <p:nvPr/>
        </p:nvSpPr>
        <p:spPr bwMode="auto">
          <a:xfrm rot="5400000">
            <a:off x="5950859" y="616857"/>
            <a:ext cx="290285" cy="12192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37D2D31-D516-4927-B601-FABC6ABD8BC8}"/>
              </a:ext>
            </a:extLst>
          </p:cNvPr>
          <p:cNvSpPr/>
          <p:nvPr/>
        </p:nvSpPr>
        <p:spPr bwMode="auto">
          <a:xfrm>
            <a:off x="-4906" y="0"/>
            <a:ext cx="12196905" cy="345186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2DCCE02-A729-42DE-ABE7-01288CD8700E}"/>
              </a:ext>
            </a:extLst>
          </p:cNvPr>
          <p:cNvSpPr/>
          <p:nvPr/>
        </p:nvSpPr>
        <p:spPr>
          <a:xfrm>
            <a:off x="520477" y="4464127"/>
            <a:ext cx="2367764" cy="148656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bject recognition 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uman parity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016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ECDA548-EAB5-4437-8C79-AAD4065DF775}"/>
              </a:ext>
            </a:extLst>
          </p:cNvPr>
          <p:cNvSpPr/>
          <p:nvPr/>
        </p:nvSpPr>
        <p:spPr>
          <a:xfrm>
            <a:off x="6436878" y="4464127"/>
            <a:ext cx="2154564" cy="17173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chine reading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prehension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uman parity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highlight>
                <a:srgbClr val="FFFF00"/>
              </a:highligh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Jan 2018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0B9E3122-589B-45EB-B349-15D8D4DFBCB6}"/>
              </a:ext>
            </a:extLst>
          </p:cNvPr>
          <p:cNvSpPr/>
          <p:nvPr/>
        </p:nvSpPr>
        <p:spPr>
          <a:xfrm>
            <a:off x="3490392" y="4464127"/>
            <a:ext cx="2370970" cy="11326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peech recognition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uman parity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2017</a:t>
            </a:r>
          </a:p>
        </p:txBody>
      </p:sp>
      <p:sp>
        <p:nvSpPr>
          <p:cNvPr id="660" name="Rectangle 659">
            <a:extLst>
              <a:ext uri="{FF2B5EF4-FFF2-40B4-BE49-F238E27FC236}">
                <a16:creationId xmlns:a16="http://schemas.microsoft.com/office/drawing/2014/main" id="{9E1FEEC3-F042-4810-B6E5-68856B10E2A6}"/>
              </a:ext>
            </a:extLst>
          </p:cNvPr>
          <p:cNvSpPr/>
          <p:nvPr/>
        </p:nvSpPr>
        <p:spPr>
          <a:xfrm>
            <a:off x="9247133" y="4464127"/>
            <a:ext cx="2422458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chine translation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uman parity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rch 2018</a:t>
            </a:r>
          </a:p>
        </p:txBody>
      </p:sp>
      <p:sp>
        <p:nvSpPr>
          <p:cNvPr id="653" name="Rectangle 652">
            <a:extLst>
              <a:ext uri="{FF2B5EF4-FFF2-40B4-BE49-F238E27FC236}">
                <a16:creationId xmlns:a16="http://schemas.microsoft.com/office/drawing/2014/main" id="{D8C884CF-0481-4238-8B8D-DFD9354166C9}"/>
              </a:ext>
            </a:extLst>
          </p:cNvPr>
          <p:cNvSpPr/>
          <p:nvPr/>
        </p:nvSpPr>
        <p:spPr>
          <a:xfrm>
            <a:off x="3490392" y="1720009"/>
            <a:ext cx="2513060" cy="10556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5.1%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witchboard speech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cognition test</a:t>
            </a:r>
          </a:p>
        </p:txBody>
      </p:sp>
      <p:sp>
        <p:nvSpPr>
          <p:cNvPr id="655" name="Rectangle 654">
            <a:extLst>
              <a:ext uri="{FF2B5EF4-FFF2-40B4-BE49-F238E27FC236}">
                <a16:creationId xmlns:a16="http://schemas.microsoft.com/office/drawing/2014/main" id="{17F167BA-7A91-4661-AC49-4D285536B6CF}"/>
              </a:ext>
            </a:extLst>
          </p:cNvPr>
          <p:cNvSpPr/>
          <p:nvPr/>
        </p:nvSpPr>
        <p:spPr>
          <a:xfrm>
            <a:off x="533141" y="1720009"/>
            <a:ext cx="2342436" cy="10556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96%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SNET vision test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152 layers</a:t>
            </a:r>
          </a:p>
        </p:txBody>
      </p:sp>
      <p:sp>
        <p:nvSpPr>
          <p:cNvPr id="661" name="Rectangle 660">
            <a:extLst>
              <a:ext uri="{FF2B5EF4-FFF2-40B4-BE49-F238E27FC236}">
                <a16:creationId xmlns:a16="http://schemas.microsoft.com/office/drawing/2014/main" id="{D5FFF22A-7D77-4314-A3E1-A2F593225860}"/>
              </a:ext>
            </a:extLst>
          </p:cNvPr>
          <p:cNvSpPr/>
          <p:nvPr/>
        </p:nvSpPr>
        <p:spPr>
          <a:xfrm>
            <a:off x="6262355" y="1720009"/>
            <a:ext cx="2426690" cy="10556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88.493%</a:t>
            </a:r>
          </a:p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QuA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reading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prehension test</a:t>
            </a:r>
          </a:p>
        </p:txBody>
      </p:sp>
      <p:sp>
        <p:nvSpPr>
          <p:cNvPr id="662" name="Rectangle 661">
            <a:extLst>
              <a:ext uri="{FF2B5EF4-FFF2-40B4-BE49-F238E27FC236}">
                <a16:creationId xmlns:a16="http://schemas.microsoft.com/office/drawing/2014/main" id="{B20F3DE0-61AC-48D8-BA0C-DFF6BD303260}"/>
              </a:ext>
            </a:extLst>
          </p:cNvPr>
          <p:cNvSpPr/>
          <p:nvPr/>
        </p:nvSpPr>
        <p:spPr>
          <a:xfrm>
            <a:off x="9481667" y="1720009"/>
            <a:ext cx="1982466" cy="10556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69.9%</a:t>
            </a:r>
          </a:p>
          <a:p>
            <a:pPr marL="0" marR="0" lvl="0" indent="0" algn="ctr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T </a:t>
            </a:r>
            <a:b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search system</a:t>
            </a:r>
          </a:p>
        </p:txBody>
      </p:sp>
      <p:sp>
        <p:nvSpPr>
          <p:cNvPr id="664" name="Title 2">
            <a:extLst>
              <a:ext uri="{FF2B5EF4-FFF2-40B4-BE49-F238E27FC236}">
                <a16:creationId xmlns:a16="http://schemas.microsoft.com/office/drawing/2014/main" id="{FFF034C4-5E62-4710-8AE3-0798C66DF1F9}"/>
              </a:ext>
            </a:extLst>
          </p:cNvPr>
          <p:cNvSpPr txBox="1">
            <a:spLocks/>
          </p:cNvSpPr>
          <p:nvPr/>
        </p:nvSpPr>
        <p:spPr>
          <a:xfrm>
            <a:off x="269240" y="30856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4705" b="0" cap="none" spc="-100" baseline="0" dirty="0" smtClean="0">
                <a:ln w="3175">
                  <a:noFill/>
                </a:ln>
                <a:effectLst/>
                <a:latin typeface="+mj-lt"/>
                <a:cs typeface="Segoe UI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05" b="0" i="0" u="none" strike="noStrike" kern="1200" cap="none" spc="-100" normalizeH="0" baseline="0" noProof="0" dirty="0">
                <a:ln w="3175"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Semibold"/>
                <a:ea typeface="+mn-ea"/>
              </a:rPr>
              <a:t>Microsoft advancement in AI capability</a:t>
            </a:r>
          </a:p>
        </p:txBody>
      </p:sp>
    </p:spTree>
    <p:extLst>
      <p:ext uri="{BB962C8B-B14F-4D97-AF65-F5344CB8AC3E}">
        <p14:creationId xmlns:p14="http://schemas.microsoft.com/office/powerpoint/2010/main" val="1916378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86CAB-3360-1843-87DE-0BA2E039B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 architecture</a:t>
            </a: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B48E8163-147F-8446-AF5A-E6BF0D7295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455" y="1041798"/>
            <a:ext cx="10183091" cy="565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71247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21678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2B9244E-214F-4E07-BA85-26CA93F3C2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2B9244E-214F-4E07-BA85-26CA93F3C2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0838605-F0B7-425E-A80D-6079481531A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2358BD-6AE0-44B2-8873-E050935A1A10}"/>
              </a:ext>
            </a:extLst>
          </p:cNvPr>
          <p:cNvSpPr txBox="1">
            <a:spLocks/>
          </p:cNvSpPr>
          <p:nvPr/>
        </p:nvSpPr>
        <p:spPr>
          <a:xfrm>
            <a:off x="584201" y="5947754"/>
            <a:ext cx="11025188" cy="735030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0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10880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10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Microsoft AI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A69E278-C419-4381-B3CD-543E72EAB8FC}"/>
              </a:ext>
            </a:extLst>
          </p:cNvPr>
          <p:cNvCxnSpPr>
            <a:cxnSpLocks/>
          </p:cNvCxnSpPr>
          <p:nvPr/>
        </p:nvCxnSpPr>
        <p:spPr>
          <a:xfrm flipH="1">
            <a:off x="0" y="3503921"/>
            <a:ext cx="12192001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itle 1">
            <a:extLst>
              <a:ext uri="{FF2B5EF4-FFF2-40B4-BE49-F238E27FC236}">
                <a16:creationId xmlns:a16="http://schemas.microsoft.com/office/drawing/2014/main" id="{A9C5F1C4-AD6D-46A1-8381-7A022593BA8F}"/>
              </a:ext>
            </a:extLst>
          </p:cNvPr>
          <p:cNvSpPr txBox="1">
            <a:spLocks/>
          </p:cNvSpPr>
          <p:nvPr/>
        </p:nvSpPr>
        <p:spPr>
          <a:xfrm>
            <a:off x="588263" y="294640"/>
            <a:ext cx="11018520" cy="553998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600" b="1" i="0" u="none" strike="noStrike" kern="1200" cap="none" spc="-50" normalizeH="0" baseline="0" noProof="0" dirty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I transform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7920496-0A98-45A8-BFD4-92551A497019}"/>
              </a:ext>
            </a:extLst>
          </p:cNvPr>
          <p:cNvGrpSpPr/>
          <p:nvPr/>
        </p:nvGrpSpPr>
        <p:grpSpPr>
          <a:xfrm>
            <a:off x="2936240" y="3677691"/>
            <a:ext cx="6055360" cy="2110332"/>
            <a:chOff x="2936240" y="3677691"/>
            <a:chExt cx="6055360" cy="2110332"/>
          </a:xfrm>
        </p:grpSpPr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70827C5B-7CFD-4046-9D12-D45DE9C8E395}"/>
                </a:ext>
              </a:extLst>
            </p:cNvPr>
            <p:cNvGrpSpPr/>
            <p:nvPr/>
          </p:nvGrpSpPr>
          <p:grpSpPr>
            <a:xfrm>
              <a:off x="2936240" y="3677691"/>
              <a:ext cx="6055360" cy="2110332"/>
              <a:chOff x="2936240" y="3677691"/>
              <a:chExt cx="6055360" cy="2110332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1C3865B7-47D7-419A-8FEB-323603F96CDA}"/>
                  </a:ext>
                </a:extLst>
              </p:cNvPr>
              <p:cNvSpPr/>
              <p:nvPr/>
            </p:nvSpPr>
            <p:spPr bwMode="auto">
              <a:xfrm>
                <a:off x="2936240" y="3677691"/>
                <a:ext cx="2110331" cy="2110332"/>
              </a:xfrm>
              <a:prstGeom prst="ellipse">
                <a:avLst/>
              </a:prstGeom>
              <a:noFill/>
              <a:ln w="19050">
                <a:solidFill>
                  <a:schemeClr val="accent2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40075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6E662AB2-1216-416D-ADF1-5ED413DDC4E9}"/>
                  </a:ext>
                </a:extLst>
              </p:cNvPr>
              <p:cNvSpPr txBox="1"/>
              <p:nvPr/>
            </p:nvSpPr>
            <p:spPr>
              <a:xfrm>
                <a:off x="3217770" y="4839744"/>
                <a:ext cx="1547270" cy="738664"/>
              </a:xfrm>
              <a:prstGeom prst="rect">
                <a:avLst/>
              </a:prstGeom>
              <a:noFill/>
            </p:spPr>
            <p:txBody>
              <a:bodyPr wrap="square" lIns="91440" tIns="91440" rIns="91440" bIns="91440" rtlCol="0">
                <a:spAutoFit/>
              </a:bodyPr>
              <a:lstStyle/>
              <a:p>
                <a:pPr marL="0" marR="0" lvl="0" indent="0" algn="ctr" defTabSz="914016" rtl="0" eaLnBrk="1" fontAlgn="auto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49" normalizeH="0" baseline="0" noProof="0" dirty="0">
                    <a:ln w="3175">
                      <a:noFill/>
                    </a:ln>
                    <a:solidFill>
                      <a:srgbClr val="0078D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light" panose="020B0402040204020203" pitchFamily="34" charset="0"/>
                  </a:rPr>
                  <a:t>AI</a:t>
                </a:r>
                <a:br>
                  <a:rPr kumimoji="0" lang="en-US" sz="1800" b="0" i="0" u="none" strike="noStrike" kern="0" cap="none" spc="49" normalizeH="0" baseline="0" noProof="0" dirty="0">
                    <a:ln w="3175">
                      <a:noFill/>
                    </a:ln>
                    <a:solidFill>
                      <a:srgbClr val="0078D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light" panose="020B0402040204020203" pitchFamily="34" charset="0"/>
                  </a:rPr>
                </a:br>
                <a:r>
                  <a:rPr kumimoji="0" lang="en-US" sz="1800" b="0" i="0" u="none" strike="noStrike" kern="0" cap="none" spc="49" normalizeH="0" baseline="0" noProof="0" dirty="0">
                    <a:ln w="3175">
                      <a:noFill/>
                    </a:ln>
                    <a:solidFill>
                      <a:srgbClr val="0078D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light" panose="020B0402040204020203" pitchFamily="34" charset="0"/>
                  </a:rPr>
                  <a:t>platform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07646256-D755-4DC3-81F4-C6840B01960E}"/>
                  </a:ext>
                </a:extLst>
              </p:cNvPr>
              <p:cNvSpPr/>
              <p:nvPr/>
            </p:nvSpPr>
            <p:spPr bwMode="auto">
              <a:xfrm>
                <a:off x="4908754" y="3677691"/>
                <a:ext cx="2110331" cy="2110332"/>
              </a:xfrm>
              <a:prstGeom prst="ellipse">
                <a:avLst/>
              </a:prstGeom>
              <a:noFill/>
              <a:ln w="19050">
                <a:solidFill>
                  <a:schemeClr val="accent2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40075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6B868EC6-7C59-4904-97B5-A132792D2DA0}"/>
                  </a:ext>
                </a:extLst>
              </p:cNvPr>
              <p:cNvSpPr txBox="1"/>
              <p:nvPr/>
            </p:nvSpPr>
            <p:spPr>
              <a:xfrm>
                <a:off x="5190284" y="4839744"/>
                <a:ext cx="1547270" cy="738664"/>
              </a:xfrm>
              <a:prstGeom prst="rect">
                <a:avLst/>
              </a:prstGeom>
              <a:noFill/>
            </p:spPr>
            <p:txBody>
              <a:bodyPr wrap="square" lIns="91440" tIns="91440" rIns="91440" bIns="91440" rtlCol="0">
                <a:spAutoFit/>
              </a:bodyPr>
              <a:lstStyle/>
              <a:p>
                <a:pPr marL="0" marR="0" lvl="0" indent="0" algn="ctr" defTabSz="914016" rtl="0" eaLnBrk="1" fontAlgn="auto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49" normalizeH="0" baseline="0" noProof="0" dirty="0">
                    <a:ln w="3175">
                      <a:noFill/>
                    </a:ln>
                    <a:solidFill>
                      <a:srgbClr val="0078D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light" panose="020B0402040204020203" pitchFamily="34" charset="0"/>
                  </a:rPr>
                  <a:t>Infusing</a:t>
                </a:r>
                <a:br>
                  <a:rPr kumimoji="0" lang="en-US" sz="1800" b="0" i="0" u="none" strike="noStrike" kern="0" cap="none" spc="49" normalizeH="0" baseline="0" noProof="0" dirty="0">
                    <a:ln w="3175">
                      <a:noFill/>
                    </a:ln>
                    <a:solidFill>
                      <a:srgbClr val="0078D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light" panose="020B0402040204020203" pitchFamily="34" charset="0"/>
                  </a:rPr>
                </a:br>
                <a:r>
                  <a:rPr kumimoji="0" lang="en-US" sz="1800" b="0" i="0" u="none" strike="noStrike" kern="0" cap="none" spc="49" normalizeH="0" baseline="0" noProof="0" dirty="0">
                    <a:ln w="3175">
                      <a:noFill/>
                    </a:ln>
                    <a:solidFill>
                      <a:srgbClr val="0078D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light" panose="020B0402040204020203" pitchFamily="34" charset="0"/>
                  </a:rPr>
                  <a:t>AI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A78DB8C4-9E49-465B-BCB8-12D665F3AC9B}"/>
                  </a:ext>
                </a:extLst>
              </p:cNvPr>
              <p:cNvSpPr/>
              <p:nvPr/>
            </p:nvSpPr>
            <p:spPr bwMode="auto">
              <a:xfrm>
                <a:off x="6881269" y="3677691"/>
                <a:ext cx="2110331" cy="2110332"/>
              </a:xfrm>
              <a:prstGeom prst="ellipse">
                <a:avLst/>
              </a:prstGeom>
              <a:noFill/>
              <a:ln w="19050">
                <a:solidFill>
                  <a:schemeClr val="accent2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40075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370B2B32-F46C-46F7-A4C5-C1AAA532D245}"/>
                  </a:ext>
                </a:extLst>
              </p:cNvPr>
              <p:cNvSpPr txBox="1"/>
              <p:nvPr/>
            </p:nvSpPr>
            <p:spPr>
              <a:xfrm>
                <a:off x="7162799" y="4839744"/>
                <a:ext cx="1547270" cy="738664"/>
              </a:xfrm>
              <a:prstGeom prst="rect">
                <a:avLst/>
              </a:prstGeom>
              <a:noFill/>
            </p:spPr>
            <p:txBody>
              <a:bodyPr wrap="square" lIns="91440" tIns="91440" rIns="91440" bIns="91440" rtlCol="0">
                <a:spAutoFit/>
              </a:bodyPr>
              <a:lstStyle/>
              <a:p>
                <a:pPr marL="0" marR="0" lvl="0" indent="0" algn="ctr" defTabSz="914016" rtl="0" eaLnBrk="1" fontAlgn="auto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49" normalizeH="0" baseline="0" noProof="0" dirty="0">
                    <a:ln w="3175">
                      <a:noFill/>
                    </a:ln>
                    <a:solidFill>
                      <a:srgbClr val="0078D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light" panose="020B0402040204020203" pitchFamily="34" charset="0"/>
                  </a:rPr>
                  <a:t>Business solutions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bold"/>
                  <a:ea typeface="+mn-ea"/>
                  <a:cs typeface="Segoe UI" panose="020B0502040204020203" pitchFamily="34" charset="0"/>
                </a:endParaRPr>
              </a:p>
            </p:txBody>
          </p: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497D49C5-D6E9-4D7B-859D-D423D5BBCD49}"/>
                  </a:ext>
                </a:extLst>
              </p:cNvPr>
              <p:cNvGrpSpPr/>
              <p:nvPr/>
            </p:nvGrpSpPr>
            <p:grpSpPr>
              <a:xfrm>
                <a:off x="7510481" y="3889189"/>
                <a:ext cx="895432" cy="866028"/>
                <a:chOff x="5989909" y="3337514"/>
                <a:chExt cx="319087" cy="308610"/>
              </a:xfrm>
              <a:noFill/>
            </p:grpSpPr>
            <p:sp>
              <p:nvSpPr>
                <p:cNvPr id="111" name="Freeform: Shape 110">
                  <a:extLst>
                    <a:ext uri="{FF2B5EF4-FFF2-40B4-BE49-F238E27FC236}">
                      <a16:creationId xmlns:a16="http://schemas.microsoft.com/office/drawing/2014/main" id="{8C7CC2E1-32D9-41D9-8AC3-5FC6741BD644}"/>
                    </a:ext>
                  </a:extLst>
                </p:cNvPr>
                <p:cNvSpPr/>
                <p:nvPr/>
              </p:nvSpPr>
              <p:spPr>
                <a:xfrm>
                  <a:off x="5989909" y="3427049"/>
                  <a:ext cx="285750" cy="219075"/>
                </a:xfrm>
                <a:custGeom>
                  <a:avLst/>
                  <a:gdLst>
                    <a:gd name="connsiteX0" fmla="*/ 276906 w 285750"/>
                    <a:gd name="connsiteY0" fmla="*/ 45448 h 219075"/>
                    <a:gd name="connsiteX1" fmla="*/ 287383 w 285750"/>
                    <a:gd name="connsiteY1" fmla="*/ 45448 h 219075"/>
                    <a:gd name="connsiteX2" fmla="*/ 287383 w 285750"/>
                    <a:gd name="connsiteY2" fmla="*/ 216898 h 219075"/>
                    <a:gd name="connsiteX3" fmla="*/ 287383 w 285750"/>
                    <a:gd name="connsiteY3" fmla="*/ 216898 h 219075"/>
                    <a:gd name="connsiteX4" fmla="*/ 287383 w 285750"/>
                    <a:gd name="connsiteY4" fmla="*/ 216898 h 219075"/>
                    <a:gd name="connsiteX5" fmla="*/ 7348 w 285750"/>
                    <a:gd name="connsiteY5" fmla="*/ 216898 h 219075"/>
                    <a:gd name="connsiteX6" fmla="*/ 7348 w 285750"/>
                    <a:gd name="connsiteY6" fmla="*/ 45448 h 219075"/>
                    <a:gd name="connsiteX7" fmla="*/ 155938 w 285750"/>
                    <a:gd name="connsiteY7" fmla="*/ 45448 h 219075"/>
                    <a:gd name="connsiteX8" fmla="*/ 174988 w 285750"/>
                    <a:gd name="connsiteY8" fmla="*/ 120696 h 219075"/>
                    <a:gd name="connsiteX9" fmla="*/ 119743 w 285750"/>
                    <a:gd name="connsiteY9" fmla="*/ 120696 h 219075"/>
                    <a:gd name="connsiteX10" fmla="*/ 119743 w 285750"/>
                    <a:gd name="connsiteY10" fmla="*/ 158796 h 219075"/>
                    <a:gd name="connsiteX11" fmla="*/ 174988 w 285750"/>
                    <a:gd name="connsiteY11" fmla="*/ 158796 h 219075"/>
                    <a:gd name="connsiteX12" fmla="*/ 174988 w 285750"/>
                    <a:gd name="connsiteY12" fmla="*/ 120696 h 219075"/>
                    <a:gd name="connsiteX13" fmla="*/ 174988 w 285750"/>
                    <a:gd name="connsiteY13" fmla="*/ 120696 h 219075"/>
                    <a:gd name="connsiteX14" fmla="*/ 174988 w 285750"/>
                    <a:gd name="connsiteY14" fmla="*/ 120696 h 219075"/>
                    <a:gd name="connsiteX15" fmla="*/ 174988 w 285750"/>
                    <a:gd name="connsiteY15" fmla="*/ 120696 h 219075"/>
                    <a:gd name="connsiteX16" fmla="*/ 174988 w 285750"/>
                    <a:gd name="connsiteY16" fmla="*/ 120696 h 219075"/>
                    <a:gd name="connsiteX17" fmla="*/ 153081 w 285750"/>
                    <a:gd name="connsiteY17" fmla="*/ 7348 h 219075"/>
                    <a:gd name="connsiteX18" fmla="*/ 114028 w 285750"/>
                    <a:gd name="connsiteY18" fmla="*/ 7348 h 219075"/>
                    <a:gd name="connsiteX19" fmla="*/ 99741 w 285750"/>
                    <a:gd name="connsiteY19" fmla="*/ 21636 h 219075"/>
                    <a:gd name="connsiteX20" fmla="*/ 99741 w 285750"/>
                    <a:gd name="connsiteY20" fmla="*/ 45448 h 2190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85750" h="219075">
                      <a:moveTo>
                        <a:pt x="276906" y="45448"/>
                      </a:moveTo>
                      <a:cubicBezTo>
                        <a:pt x="287383" y="45448"/>
                        <a:pt x="287383" y="45448"/>
                        <a:pt x="287383" y="45448"/>
                      </a:cubicBezTo>
                      <a:lnTo>
                        <a:pt x="287383" y="216898"/>
                      </a:lnTo>
                      <a:lnTo>
                        <a:pt x="287383" y="216898"/>
                      </a:lnTo>
                      <a:lnTo>
                        <a:pt x="287383" y="216898"/>
                      </a:lnTo>
                      <a:cubicBezTo>
                        <a:pt x="7348" y="216898"/>
                        <a:pt x="7348" y="216898"/>
                        <a:pt x="7348" y="216898"/>
                      </a:cubicBezTo>
                      <a:cubicBezTo>
                        <a:pt x="7348" y="45448"/>
                        <a:pt x="7348" y="45448"/>
                        <a:pt x="7348" y="45448"/>
                      </a:cubicBezTo>
                      <a:cubicBezTo>
                        <a:pt x="73071" y="45448"/>
                        <a:pt x="117838" y="45448"/>
                        <a:pt x="155938" y="45448"/>
                      </a:cubicBezTo>
                      <a:moveTo>
                        <a:pt x="174988" y="120696"/>
                      </a:moveTo>
                      <a:cubicBezTo>
                        <a:pt x="119743" y="120696"/>
                        <a:pt x="119743" y="120696"/>
                        <a:pt x="119743" y="120696"/>
                      </a:cubicBezTo>
                      <a:cubicBezTo>
                        <a:pt x="119743" y="158796"/>
                        <a:pt x="119743" y="158796"/>
                        <a:pt x="119743" y="158796"/>
                      </a:cubicBezTo>
                      <a:cubicBezTo>
                        <a:pt x="174988" y="158796"/>
                        <a:pt x="174988" y="158796"/>
                        <a:pt x="174988" y="158796"/>
                      </a:cubicBezTo>
                      <a:lnTo>
                        <a:pt x="174988" y="120696"/>
                      </a:lnTo>
                      <a:lnTo>
                        <a:pt x="174988" y="120696"/>
                      </a:lnTo>
                      <a:lnTo>
                        <a:pt x="174988" y="120696"/>
                      </a:lnTo>
                      <a:lnTo>
                        <a:pt x="174988" y="120696"/>
                      </a:lnTo>
                      <a:lnTo>
                        <a:pt x="174988" y="120696"/>
                      </a:lnTo>
                      <a:close/>
                      <a:moveTo>
                        <a:pt x="153081" y="7348"/>
                      </a:moveTo>
                      <a:cubicBezTo>
                        <a:pt x="105456" y="7348"/>
                        <a:pt x="114028" y="7348"/>
                        <a:pt x="114028" y="7348"/>
                      </a:cubicBezTo>
                      <a:cubicBezTo>
                        <a:pt x="105456" y="7348"/>
                        <a:pt x="99741" y="13063"/>
                        <a:pt x="99741" y="21636"/>
                      </a:cubicBezTo>
                      <a:cubicBezTo>
                        <a:pt x="99741" y="45448"/>
                        <a:pt x="99741" y="45448"/>
                        <a:pt x="99741" y="45448"/>
                      </a:cubicBezTo>
                    </a:path>
                  </a:pathLst>
                </a:custGeom>
                <a:grpFill/>
                <a:ln w="15875" cap="sq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F7F009C7-FAFE-4C6B-9FC5-B21BC347CC9E}"/>
                    </a:ext>
                  </a:extLst>
                </p:cNvPr>
                <p:cNvSpPr/>
                <p:nvPr/>
              </p:nvSpPr>
              <p:spPr>
                <a:xfrm>
                  <a:off x="6136832" y="3373709"/>
                  <a:ext cx="133350" cy="142875"/>
                </a:xfrm>
                <a:custGeom>
                  <a:avLst/>
                  <a:gdLst>
                    <a:gd name="connsiteX0" fmla="*/ 63307 w 133350"/>
                    <a:gd name="connsiteY0" fmla="*/ 20683 h 142875"/>
                    <a:gd name="connsiteX1" fmla="*/ 60450 w 133350"/>
                    <a:gd name="connsiteY1" fmla="*/ 13063 h 142875"/>
                    <a:gd name="connsiteX2" fmla="*/ 55687 w 133350"/>
                    <a:gd name="connsiteY2" fmla="*/ 8301 h 142875"/>
                    <a:gd name="connsiteX3" fmla="*/ 51877 w 133350"/>
                    <a:gd name="connsiteY3" fmla="*/ 7348 h 142875"/>
                    <a:gd name="connsiteX4" fmla="*/ 49020 w 133350"/>
                    <a:gd name="connsiteY4" fmla="*/ 8301 h 142875"/>
                    <a:gd name="connsiteX5" fmla="*/ 40447 w 133350"/>
                    <a:gd name="connsiteY5" fmla="*/ 12111 h 142875"/>
                    <a:gd name="connsiteX6" fmla="*/ 35685 w 133350"/>
                    <a:gd name="connsiteY6" fmla="*/ 16873 h 142875"/>
                    <a:gd name="connsiteX7" fmla="*/ 35685 w 133350"/>
                    <a:gd name="connsiteY7" fmla="*/ 23541 h 142875"/>
                    <a:gd name="connsiteX8" fmla="*/ 37590 w 133350"/>
                    <a:gd name="connsiteY8" fmla="*/ 29256 h 142875"/>
                    <a:gd name="connsiteX9" fmla="*/ 27112 w 133350"/>
                    <a:gd name="connsiteY9" fmla="*/ 39733 h 142875"/>
                    <a:gd name="connsiteX10" fmla="*/ 22350 w 133350"/>
                    <a:gd name="connsiteY10" fmla="*/ 37828 h 142875"/>
                    <a:gd name="connsiteX11" fmla="*/ 11872 w 133350"/>
                    <a:gd name="connsiteY11" fmla="*/ 42591 h 142875"/>
                    <a:gd name="connsiteX12" fmla="*/ 8062 w 133350"/>
                    <a:gd name="connsiteY12" fmla="*/ 51163 h 142875"/>
                    <a:gd name="connsiteX13" fmla="*/ 12825 w 133350"/>
                    <a:gd name="connsiteY13" fmla="*/ 62593 h 142875"/>
                    <a:gd name="connsiteX14" fmla="*/ 17587 w 133350"/>
                    <a:gd name="connsiteY14" fmla="*/ 64498 h 142875"/>
                    <a:gd name="connsiteX15" fmla="*/ 17587 w 133350"/>
                    <a:gd name="connsiteY15" fmla="*/ 79738 h 142875"/>
                    <a:gd name="connsiteX16" fmla="*/ 12825 w 133350"/>
                    <a:gd name="connsiteY16" fmla="*/ 81643 h 142875"/>
                    <a:gd name="connsiteX17" fmla="*/ 8062 w 133350"/>
                    <a:gd name="connsiteY17" fmla="*/ 86406 h 142875"/>
                    <a:gd name="connsiteX18" fmla="*/ 8062 w 133350"/>
                    <a:gd name="connsiteY18" fmla="*/ 93073 h 142875"/>
                    <a:gd name="connsiteX19" fmla="*/ 11872 w 133350"/>
                    <a:gd name="connsiteY19" fmla="*/ 101646 h 142875"/>
                    <a:gd name="connsiteX20" fmla="*/ 16635 w 133350"/>
                    <a:gd name="connsiteY20" fmla="*/ 106408 h 142875"/>
                    <a:gd name="connsiteX21" fmla="*/ 23302 w 133350"/>
                    <a:gd name="connsiteY21" fmla="*/ 106408 h 142875"/>
                    <a:gd name="connsiteX22" fmla="*/ 28065 w 133350"/>
                    <a:gd name="connsiteY22" fmla="*/ 104503 h 142875"/>
                    <a:gd name="connsiteX23" fmla="*/ 38542 w 133350"/>
                    <a:gd name="connsiteY23" fmla="*/ 114981 h 142875"/>
                    <a:gd name="connsiteX24" fmla="*/ 36637 w 133350"/>
                    <a:gd name="connsiteY24" fmla="*/ 120696 h 142875"/>
                    <a:gd name="connsiteX25" fmla="*/ 36637 w 133350"/>
                    <a:gd name="connsiteY25" fmla="*/ 127363 h 142875"/>
                    <a:gd name="connsiteX26" fmla="*/ 41400 w 133350"/>
                    <a:gd name="connsiteY26" fmla="*/ 132126 h 142875"/>
                    <a:gd name="connsiteX27" fmla="*/ 49020 w 133350"/>
                    <a:gd name="connsiteY27" fmla="*/ 135936 h 142875"/>
                    <a:gd name="connsiteX28" fmla="*/ 60450 w 133350"/>
                    <a:gd name="connsiteY28" fmla="*/ 131173 h 142875"/>
                    <a:gd name="connsiteX29" fmla="*/ 62355 w 133350"/>
                    <a:gd name="connsiteY29" fmla="*/ 125458 h 142875"/>
                    <a:gd name="connsiteX30" fmla="*/ 77595 w 133350"/>
                    <a:gd name="connsiteY30" fmla="*/ 125458 h 142875"/>
                    <a:gd name="connsiteX31" fmla="*/ 79500 w 133350"/>
                    <a:gd name="connsiteY31" fmla="*/ 131173 h 142875"/>
                    <a:gd name="connsiteX32" fmla="*/ 84262 w 133350"/>
                    <a:gd name="connsiteY32" fmla="*/ 135936 h 142875"/>
                    <a:gd name="connsiteX33" fmla="*/ 90930 w 133350"/>
                    <a:gd name="connsiteY33" fmla="*/ 135936 h 142875"/>
                    <a:gd name="connsiteX34" fmla="*/ 90930 w 133350"/>
                    <a:gd name="connsiteY34" fmla="*/ 135936 h 142875"/>
                    <a:gd name="connsiteX35" fmla="*/ 98550 w 133350"/>
                    <a:gd name="connsiteY35" fmla="*/ 132126 h 142875"/>
                    <a:gd name="connsiteX36" fmla="*/ 103312 w 133350"/>
                    <a:gd name="connsiteY36" fmla="*/ 120696 h 142875"/>
                    <a:gd name="connsiteX37" fmla="*/ 101407 w 133350"/>
                    <a:gd name="connsiteY37" fmla="*/ 115933 h 142875"/>
                    <a:gd name="connsiteX38" fmla="*/ 111885 w 133350"/>
                    <a:gd name="connsiteY38" fmla="*/ 105456 h 142875"/>
                    <a:gd name="connsiteX39" fmla="*/ 116647 w 133350"/>
                    <a:gd name="connsiteY39" fmla="*/ 107361 h 142875"/>
                    <a:gd name="connsiteX40" fmla="*/ 123315 w 133350"/>
                    <a:gd name="connsiteY40" fmla="*/ 107361 h 142875"/>
                    <a:gd name="connsiteX41" fmla="*/ 128077 w 133350"/>
                    <a:gd name="connsiteY41" fmla="*/ 102598 h 142875"/>
                    <a:gd name="connsiteX42" fmla="*/ 131887 w 133350"/>
                    <a:gd name="connsiteY42" fmla="*/ 94026 h 142875"/>
                    <a:gd name="connsiteX43" fmla="*/ 127125 w 133350"/>
                    <a:gd name="connsiteY43" fmla="*/ 82596 h 142875"/>
                    <a:gd name="connsiteX44" fmla="*/ 119505 w 133350"/>
                    <a:gd name="connsiteY44" fmla="*/ 79738 h 142875"/>
                    <a:gd name="connsiteX45" fmla="*/ 89977 w 133350"/>
                    <a:gd name="connsiteY45" fmla="*/ 134031 h 142875"/>
                    <a:gd name="connsiteX46" fmla="*/ 89977 w 133350"/>
                    <a:gd name="connsiteY46" fmla="*/ 134031 h 142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</a:cxnLst>
                  <a:rect l="l" t="t" r="r" b="b"/>
                  <a:pathLst>
                    <a:path w="133350" h="142875">
                      <a:moveTo>
                        <a:pt x="63307" y="20683"/>
                      </a:moveTo>
                      <a:cubicBezTo>
                        <a:pt x="60450" y="13063"/>
                        <a:pt x="60450" y="13063"/>
                        <a:pt x="60450" y="13063"/>
                      </a:cubicBezTo>
                      <a:cubicBezTo>
                        <a:pt x="59497" y="11158"/>
                        <a:pt x="57592" y="9253"/>
                        <a:pt x="55687" y="8301"/>
                      </a:cubicBezTo>
                      <a:cubicBezTo>
                        <a:pt x="54735" y="7348"/>
                        <a:pt x="52830" y="7348"/>
                        <a:pt x="51877" y="7348"/>
                      </a:cubicBezTo>
                      <a:cubicBezTo>
                        <a:pt x="50925" y="7348"/>
                        <a:pt x="49972" y="7348"/>
                        <a:pt x="49020" y="8301"/>
                      </a:cubicBezTo>
                      <a:cubicBezTo>
                        <a:pt x="40447" y="12111"/>
                        <a:pt x="40447" y="12111"/>
                        <a:pt x="40447" y="12111"/>
                      </a:cubicBezTo>
                      <a:cubicBezTo>
                        <a:pt x="38542" y="13063"/>
                        <a:pt x="36637" y="14968"/>
                        <a:pt x="35685" y="16873"/>
                      </a:cubicBezTo>
                      <a:cubicBezTo>
                        <a:pt x="34732" y="18778"/>
                        <a:pt x="34732" y="21636"/>
                        <a:pt x="35685" y="23541"/>
                      </a:cubicBezTo>
                      <a:cubicBezTo>
                        <a:pt x="37590" y="29256"/>
                        <a:pt x="37590" y="29256"/>
                        <a:pt x="37590" y="29256"/>
                      </a:cubicBezTo>
                      <a:cubicBezTo>
                        <a:pt x="33780" y="32113"/>
                        <a:pt x="29970" y="35923"/>
                        <a:pt x="27112" y="39733"/>
                      </a:cubicBezTo>
                      <a:cubicBezTo>
                        <a:pt x="22350" y="37828"/>
                        <a:pt x="22350" y="37828"/>
                        <a:pt x="22350" y="37828"/>
                      </a:cubicBezTo>
                      <a:cubicBezTo>
                        <a:pt x="17587" y="35923"/>
                        <a:pt x="12825" y="38781"/>
                        <a:pt x="11872" y="42591"/>
                      </a:cubicBezTo>
                      <a:cubicBezTo>
                        <a:pt x="8062" y="51163"/>
                        <a:pt x="8062" y="51163"/>
                        <a:pt x="8062" y="51163"/>
                      </a:cubicBezTo>
                      <a:cubicBezTo>
                        <a:pt x="6157" y="55926"/>
                        <a:pt x="9015" y="60688"/>
                        <a:pt x="12825" y="62593"/>
                      </a:cubicBezTo>
                      <a:cubicBezTo>
                        <a:pt x="17587" y="64498"/>
                        <a:pt x="17587" y="64498"/>
                        <a:pt x="17587" y="64498"/>
                      </a:cubicBezTo>
                      <a:cubicBezTo>
                        <a:pt x="16635" y="70213"/>
                        <a:pt x="16635" y="74976"/>
                        <a:pt x="17587" y="79738"/>
                      </a:cubicBezTo>
                      <a:cubicBezTo>
                        <a:pt x="12825" y="81643"/>
                        <a:pt x="12825" y="81643"/>
                        <a:pt x="12825" y="81643"/>
                      </a:cubicBezTo>
                      <a:cubicBezTo>
                        <a:pt x="10920" y="82596"/>
                        <a:pt x="9015" y="84501"/>
                        <a:pt x="8062" y="86406"/>
                      </a:cubicBezTo>
                      <a:cubicBezTo>
                        <a:pt x="7110" y="88311"/>
                        <a:pt x="7110" y="91168"/>
                        <a:pt x="8062" y="93073"/>
                      </a:cubicBezTo>
                      <a:cubicBezTo>
                        <a:pt x="11872" y="101646"/>
                        <a:pt x="11872" y="101646"/>
                        <a:pt x="11872" y="101646"/>
                      </a:cubicBezTo>
                      <a:cubicBezTo>
                        <a:pt x="12825" y="103551"/>
                        <a:pt x="14730" y="105456"/>
                        <a:pt x="16635" y="106408"/>
                      </a:cubicBezTo>
                      <a:cubicBezTo>
                        <a:pt x="18540" y="107361"/>
                        <a:pt x="21397" y="107361"/>
                        <a:pt x="23302" y="106408"/>
                      </a:cubicBezTo>
                      <a:cubicBezTo>
                        <a:pt x="28065" y="104503"/>
                        <a:pt x="28065" y="104503"/>
                        <a:pt x="28065" y="104503"/>
                      </a:cubicBezTo>
                      <a:cubicBezTo>
                        <a:pt x="30922" y="109266"/>
                        <a:pt x="34732" y="112123"/>
                        <a:pt x="38542" y="114981"/>
                      </a:cubicBezTo>
                      <a:cubicBezTo>
                        <a:pt x="36637" y="120696"/>
                        <a:pt x="36637" y="120696"/>
                        <a:pt x="36637" y="120696"/>
                      </a:cubicBezTo>
                      <a:cubicBezTo>
                        <a:pt x="35685" y="122601"/>
                        <a:pt x="35685" y="125458"/>
                        <a:pt x="36637" y="127363"/>
                      </a:cubicBezTo>
                      <a:cubicBezTo>
                        <a:pt x="37590" y="129268"/>
                        <a:pt x="39495" y="131173"/>
                        <a:pt x="41400" y="132126"/>
                      </a:cubicBezTo>
                      <a:cubicBezTo>
                        <a:pt x="49020" y="135936"/>
                        <a:pt x="49020" y="135936"/>
                        <a:pt x="49020" y="135936"/>
                      </a:cubicBezTo>
                      <a:cubicBezTo>
                        <a:pt x="53782" y="137841"/>
                        <a:pt x="58545" y="135936"/>
                        <a:pt x="60450" y="131173"/>
                      </a:cubicBezTo>
                      <a:cubicBezTo>
                        <a:pt x="62355" y="125458"/>
                        <a:pt x="62355" y="125458"/>
                        <a:pt x="62355" y="125458"/>
                      </a:cubicBezTo>
                      <a:cubicBezTo>
                        <a:pt x="67117" y="126411"/>
                        <a:pt x="71880" y="126411"/>
                        <a:pt x="77595" y="125458"/>
                      </a:cubicBezTo>
                      <a:cubicBezTo>
                        <a:pt x="79500" y="131173"/>
                        <a:pt x="79500" y="131173"/>
                        <a:pt x="79500" y="131173"/>
                      </a:cubicBezTo>
                      <a:cubicBezTo>
                        <a:pt x="80452" y="133078"/>
                        <a:pt x="82357" y="134983"/>
                        <a:pt x="84262" y="135936"/>
                      </a:cubicBezTo>
                      <a:cubicBezTo>
                        <a:pt x="86167" y="136888"/>
                        <a:pt x="89025" y="136888"/>
                        <a:pt x="90930" y="135936"/>
                      </a:cubicBezTo>
                      <a:lnTo>
                        <a:pt x="90930" y="135936"/>
                      </a:lnTo>
                      <a:cubicBezTo>
                        <a:pt x="98550" y="132126"/>
                        <a:pt x="98550" y="132126"/>
                        <a:pt x="98550" y="132126"/>
                      </a:cubicBezTo>
                      <a:cubicBezTo>
                        <a:pt x="103312" y="130221"/>
                        <a:pt x="105217" y="125458"/>
                        <a:pt x="103312" y="120696"/>
                      </a:cubicBezTo>
                      <a:cubicBezTo>
                        <a:pt x="101407" y="115933"/>
                        <a:pt x="101407" y="115933"/>
                        <a:pt x="101407" y="115933"/>
                      </a:cubicBezTo>
                      <a:cubicBezTo>
                        <a:pt x="105217" y="113076"/>
                        <a:pt x="109027" y="109266"/>
                        <a:pt x="111885" y="105456"/>
                      </a:cubicBezTo>
                      <a:cubicBezTo>
                        <a:pt x="116647" y="107361"/>
                        <a:pt x="116647" y="107361"/>
                        <a:pt x="116647" y="107361"/>
                      </a:cubicBezTo>
                      <a:cubicBezTo>
                        <a:pt x="118552" y="108313"/>
                        <a:pt x="121410" y="108313"/>
                        <a:pt x="123315" y="107361"/>
                      </a:cubicBezTo>
                      <a:cubicBezTo>
                        <a:pt x="125220" y="106408"/>
                        <a:pt x="127125" y="104503"/>
                        <a:pt x="128077" y="102598"/>
                      </a:cubicBezTo>
                      <a:cubicBezTo>
                        <a:pt x="131887" y="94026"/>
                        <a:pt x="131887" y="94026"/>
                        <a:pt x="131887" y="94026"/>
                      </a:cubicBezTo>
                      <a:cubicBezTo>
                        <a:pt x="133792" y="89263"/>
                        <a:pt x="130935" y="84501"/>
                        <a:pt x="127125" y="82596"/>
                      </a:cubicBezTo>
                      <a:cubicBezTo>
                        <a:pt x="119505" y="79738"/>
                        <a:pt x="119505" y="79738"/>
                        <a:pt x="119505" y="79738"/>
                      </a:cubicBezTo>
                      <a:moveTo>
                        <a:pt x="89977" y="134031"/>
                      </a:moveTo>
                      <a:lnTo>
                        <a:pt x="89977" y="134031"/>
                      </a:lnTo>
                    </a:path>
                  </a:pathLst>
                </a:custGeom>
                <a:grpFill/>
                <a:ln w="15875" cap="sq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Freeform: Shape 128">
                  <a:extLst>
                    <a:ext uri="{FF2B5EF4-FFF2-40B4-BE49-F238E27FC236}">
                      <a16:creationId xmlns:a16="http://schemas.microsoft.com/office/drawing/2014/main" id="{808C02FA-AAB9-4F49-9B15-2A202CDC2293}"/>
                    </a:ext>
                  </a:extLst>
                </p:cNvPr>
                <p:cNvSpPr/>
                <p:nvPr/>
              </p:nvSpPr>
              <p:spPr>
                <a:xfrm>
                  <a:off x="6173741" y="3409904"/>
                  <a:ext cx="57150" cy="66675"/>
                </a:xfrm>
                <a:custGeom>
                  <a:avLst/>
                  <a:gdLst>
                    <a:gd name="connsiteX0" fmla="*/ 33065 w 57150"/>
                    <a:gd name="connsiteY0" fmla="*/ 7348 h 66675"/>
                    <a:gd name="connsiteX1" fmla="*/ 33065 w 57150"/>
                    <a:gd name="connsiteY1" fmla="*/ 7348 h 66675"/>
                    <a:gd name="connsiteX2" fmla="*/ 7348 w 57150"/>
                    <a:gd name="connsiteY2" fmla="*/ 34018 h 66675"/>
                    <a:gd name="connsiteX3" fmla="*/ 7348 w 57150"/>
                    <a:gd name="connsiteY3" fmla="*/ 34018 h 66675"/>
                    <a:gd name="connsiteX4" fmla="*/ 33065 w 57150"/>
                    <a:gd name="connsiteY4" fmla="*/ 60688 h 66675"/>
                    <a:gd name="connsiteX5" fmla="*/ 33065 w 57150"/>
                    <a:gd name="connsiteY5" fmla="*/ 60688 h 66675"/>
                    <a:gd name="connsiteX6" fmla="*/ 51163 w 57150"/>
                    <a:gd name="connsiteY6" fmla="*/ 53068 h 66675"/>
                    <a:gd name="connsiteX7" fmla="*/ 58783 w 57150"/>
                    <a:gd name="connsiteY7" fmla="*/ 34018 h 66675"/>
                    <a:gd name="connsiteX8" fmla="*/ 7348 w 57150"/>
                    <a:gd name="connsiteY8" fmla="*/ 34971 h 66675"/>
                    <a:gd name="connsiteX9" fmla="*/ 7348 w 57150"/>
                    <a:gd name="connsiteY9" fmla="*/ 34971 h 66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7150" h="66675">
                      <a:moveTo>
                        <a:pt x="33065" y="7348"/>
                      </a:moveTo>
                      <a:lnTo>
                        <a:pt x="33065" y="7348"/>
                      </a:lnTo>
                      <a:cubicBezTo>
                        <a:pt x="18778" y="7348"/>
                        <a:pt x="7348" y="19731"/>
                        <a:pt x="7348" y="34018"/>
                      </a:cubicBezTo>
                      <a:lnTo>
                        <a:pt x="7348" y="34018"/>
                      </a:lnTo>
                      <a:cubicBezTo>
                        <a:pt x="7348" y="48306"/>
                        <a:pt x="19730" y="60688"/>
                        <a:pt x="33065" y="60688"/>
                      </a:cubicBezTo>
                      <a:lnTo>
                        <a:pt x="33065" y="60688"/>
                      </a:lnTo>
                      <a:cubicBezTo>
                        <a:pt x="39733" y="60688"/>
                        <a:pt x="46401" y="57831"/>
                        <a:pt x="51163" y="53068"/>
                      </a:cubicBezTo>
                      <a:cubicBezTo>
                        <a:pt x="55926" y="47353"/>
                        <a:pt x="58783" y="41638"/>
                        <a:pt x="58783" y="34018"/>
                      </a:cubicBezTo>
                      <a:moveTo>
                        <a:pt x="7348" y="34971"/>
                      </a:moveTo>
                      <a:lnTo>
                        <a:pt x="7348" y="34971"/>
                      </a:lnTo>
                    </a:path>
                  </a:pathLst>
                </a:custGeom>
                <a:grpFill/>
                <a:ln w="15875" cap="sq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Freeform: Shape 129">
                  <a:extLst>
                    <a:ext uri="{FF2B5EF4-FFF2-40B4-BE49-F238E27FC236}">
                      <a16:creationId xmlns:a16="http://schemas.microsoft.com/office/drawing/2014/main" id="{A9B7CF4E-71D4-40AD-94A2-F65C001B2CE6}"/>
                    </a:ext>
                  </a:extLst>
                </p:cNvPr>
                <p:cNvSpPr/>
                <p:nvPr/>
              </p:nvSpPr>
              <p:spPr>
                <a:xfrm>
                  <a:off x="6204221" y="3337514"/>
                  <a:ext cx="104775" cy="104775"/>
                </a:xfrm>
                <a:custGeom>
                  <a:avLst/>
                  <a:gdLst>
                    <a:gd name="connsiteX0" fmla="*/ 57831 w 104775"/>
                    <a:gd name="connsiteY0" fmla="*/ 7348 h 104775"/>
                    <a:gd name="connsiteX1" fmla="*/ 51163 w 104775"/>
                    <a:gd name="connsiteY1" fmla="*/ 7348 h 104775"/>
                    <a:gd name="connsiteX2" fmla="*/ 44496 w 104775"/>
                    <a:gd name="connsiteY2" fmla="*/ 14968 h 104775"/>
                    <a:gd name="connsiteX3" fmla="*/ 44496 w 104775"/>
                    <a:gd name="connsiteY3" fmla="*/ 18778 h 104775"/>
                    <a:gd name="connsiteX4" fmla="*/ 35923 w 104775"/>
                    <a:gd name="connsiteY4" fmla="*/ 22588 h 104775"/>
                    <a:gd name="connsiteX5" fmla="*/ 33066 w 104775"/>
                    <a:gd name="connsiteY5" fmla="*/ 19731 h 104775"/>
                    <a:gd name="connsiteX6" fmla="*/ 28303 w 104775"/>
                    <a:gd name="connsiteY6" fmla="*/ 17826 h 104775"/>
                    <a:gd name="connsiteX7" fmla="*/ 23541 w 104775"/>
                    <a:gd name="connsiteY7" fmla="*/ 19731 h 104775"/>
                    <a:gd name="connsiteX8" fmla="*/ 18778 w 104775"/>
                    <a:gd name="connsiteY8" fmla="*/ 24493 h 104775"/>
                    <a:gd name="connsiteX9" fmla="*/ 16873 w 104775"/>
                    <a:gd name="connsiteY9" fmla="*/ 30208 h 104775"/>
                    <a:gd name="connsiteX10" fmla="*/ 18778 w 104775"/>
                    <a:gd name="connsiteY10" fmla="*/ 34971 h 104775"/>
                    <a:gd name="connsiteX11" fmla="*/ 21636 w 104775"/>
                    <a:gd name="connsiteY11" fmla="*/ 37828 h 104775"/>
                    <a:gd name="connsiteX12" fmla="*/ 17826 w 104775"/>
                    <a:gd name="connsiteY12" fmla="*/ 46401 h 104775"/>
                    <a:gd name="connsiteX13" fmla="*/ 14016 w 104775"/>
                    <a:gd name="connsiteY13" fmla="*/ 46401 h 104775"/>
                    <a:gd name="connsiteX14" fmla="*/ 7348 w 104775"/>
                    <a:gd name="connsiteY14" fmla="*/ 53068 h 104775"/>
                    <a:gd name="connsiteX15" fmla="*/ 7348 w 104775"/>
                    <a:gd name="connsiteY15" fmla="*/ 59736 h 104775"/>
                    <a:gd name="connsiteX16" fmla="*/ 14016 w 104775"/>
                    <a:gd name="connsiteY16" fmla="*/ 66403 h 104775"/>
                    <a:gd name="connsiteX17" fmla="*/ 17826 w 104775"/>
                    <a:gd name="connsiteY17" fmla="*/ 66403 h 104775"/>
                    <a:gd name="connsiteX18" fmla="*/ 21636 w 104775"/>
                    <a:gd name="connsiteY18" fmla="*/ 75928 h 104775"/>
                    <a:gd name="connsiteX19" fmla="*/ 18778 w 104775"/>
                    <a:gd name="connsiteY19" fmla="*/ 78786 h 104775"/>
                    <a:gd name="connsiteX20" fmla="*/ 16873 w 104775"/>
                    <a:gd name="connsiteY20" fmla="*/ 83548 h 104775"/>
                    <a:gd name="connsiteX21" fmla="*/ 18778 w 104775"/>
                    <a:gd name="connsiteY21" fmla="*/ 89263 h 104775"/>
                    <a:gd name="connsiteX22" fmla="*/ 23541 w 104775"/>
                    <a:gd name="connsiteY22" fmla="*/ 93073 h 104775"/>
                    <a:gd name="connsiteX23" fmla="*/ 28303 w 104775"/>
                    <a:gd name="connsiteY23" fmla="*/ 94978 h 104775"/>
                    <a:gd name="connsiteX24" fmla="*/ 33066 w 104775"/>
                    <a:gd name="connsiteY24" fmla="*/ 93073 h 104775"/>
                    <a:gd name="connsiteX25" fmla="*/ 35923 w 104775"/>
                    <a:gd name="connsiteY25" fmla="*/ 90216 h 104775"/>
                    <a:gd name="connsiteX26" fmla="*/ 44496 w 104775"/>
                    <a:gd name="connsiteY26" fmla="*/ 94026 h 104775"/>
                    <a:gd name="connsiteX27" fmla="*/ 44496 w 104775"/>
                    <a:gd name="connsiteY27" fmla="*/ 97836 h 104775"/>
                    <a:gd name="connsiteX28" fmla="*/ 51163 w 104775"/>
                    <a:gd name="connsiteY28" fmla="*/ 105456 h 104775"/>
                    <a:gd name="connsiteX29" fmla="*/ 57831 w 104775"/>
                    <a:gd name="connsiteY29" fmla="*/ 105456 h 104775"/>
                    <a:gd name="connsiteX30" fmla="*/ 64498 w 104775"/>
                    <a:gd name="connsiteY30" fmla="*/ 97836 h 104775"/>
                    <a:gd name="connsiteX31" fmla="*/ 64498 w 104775"/>
                    <a:gd name="connsiteY31" fmla="*/ 94026 h 104775"/>
                    <a:gd name="connsiteX32" fmla="*/ 73071 w 104775"/>
                    <a:gd name="connsiteY32" fmla="*/ 90216 h 104775"/>
                    <a:gd name="connsiteX33" fmla="*/ 75928 w 104775"/>
                    <a:gd name="connsiteY33" fmla="*/ 93073 h 104775"/>
                    <a:gd name="connsiteX34" fmla="*/ 80691 w 104775"/>
                    <a:gd name="connsiteY34" fmla="*/ 94978 h 104775"/>
                    <a:gd name="connsiteX35" fmla="*/ 85453 w 104775"/>
                    <a:gd name="connsiteY35" fmla="*/ 93073 h 104775"/>
                    <a:gd name="connsiteX36" fmla="*/ 90216 w 104775"/>
                    <a:gd name="connsiteY36" fmla="*/ 88311 h 104775"/>
                    <a:gd name="connsiteX37" fmla="*/ 90216 w 104775"/>
                    <a:gd name="connsiteY37" fmla="*/ 77833 h 104775"/>
                    <a:gd name="connsiteX38" fmla="*/ 87358 w 104775"/>
                    <a:gd name="connsiteY38" fmla="*/ 74976 h 104775"/>
                    <a:gd name="connsiteX39" fmla="*/ 91168 w 104775"/>
                    <a:gd name="connsiteY39" fmla="*/ 65451 h 104775"/>
                    <a:gd name="connsiteX40" fmla="*/ 94026 w 104775"/>
                    <a:gd name="connsiteY40" fmla="*/ 65451 h 104775"/>
                    <a:gd name="connsiteX41" fmla="*/ 100693 w 104775"/>
                    <a:gd name="connsiteY41" fmla="*/ 58783 h 104775"/>
                    <a:gd name="connsiteX42" fmla="*/ 100693 w 104775"/>
                    <a:gd name="connsiteY42" fmla="*/ 52116 h 104775"/>
                    <a:gd name="connsiteX43" fmla="*/ 94026 w 104775"/>
                    <a:gd name="connsiteY43" fmla="*/ 45448 h 104775"/>
                    <a:gd name="connsiteX44" fmla="*/ 91168 w 104775"/>
                    <a:gd name="connsiteY44" fmla="*/ 45448 h 104775"/>
                    <a:gd name="connsiteX45" fmla="*/ 87358 w 104775"/>
                    <a:gd name="connsiteY45" fmla="*/ 35923 h 104775"/>
                    <a:gd name="connsiteX46" fmla="*/ 90216 w 104775"/>
                    <a:gd name="connsiteY46" fmla="*/ 33066 h 104775"/>
                    <a:gd name="connsiteX47" fmla="*/ 90216 w 104775"/>
                    <a:gd name="connsiteY47" fmla="*/ 22588 h 104775"/>
                    <a:gd name="connsiteX48" fmla="*/ 85453 w 104775"/>
                    <a:gd name="connsiteY48" fmla="*/ 17826 h 104775"/>
                    <a:gd name="connsiteX49" fmla="*/ 80691 w 104775"/>
                    <a:gd name="connsiteY49" fmla="*/ 15921 h 104775"/>
                    <a:gd name="connsiteX50" fmla="*/ 75928 w 104775"/>
                    <a:gd name="connsiteY50" fmla="*/ 17826 h 104775"/>
                    <a:gd name="connsiteX51" fmla="*/ 74023 w 104775"/>
                    <a:gd name="connsiteY51" fmla="*/ 20683 h 104775"/>
                    <a:gd name="connsiteX52" fmla="*/ 65451 w 104775"/>
                    <a:gd name="connsiteY52" fmla="*/ 16873 h 104775"/>
                    <a:gd name="connsiteX53" fmla="*/ 65451 w 104775"/>
                    <a:gd name="connsiteY53" fmla="*/ 13063 h 104775"/>
                    <a:gd name="connsiteX54" fmla="*/ 57831 w 104775"/>
                    <a:gd name="connsiteY54" fmla="*/ 7348 h 104775"/>
                    <a:gd name="connsiteX55" fmla="*/ 57831 w 104775"/>
                    <a:gd name="connsiteY55" fmla="*/ 7348 h 104775"/>
                    <a:gd name="connsiteX56" fmla="*/ 57831 w 104775"/>
                    <a:gd name="connsiteY56" fmla="*/ 7348 h 104775"/>
                    <a:gd name="connsiteX57" fmla="*/ 57831 w 104775"/>
                    <a:gd name="connsiteY57" fmla="*/ 7348 h 104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104775" h="104775">
                      <a:moveTo>
                        <a:pt x="57831" y="7348"/>
                      </a:moveTo>
                      <a:cubicBezTo>
                        <a:pt x="51163" y="7348"/>
                        <a:pt x="51163" y="7348"/>
                        <a:pt x="51163" y="7348"/>
                      </a:cubicBezTo>
                      <a:cubicBezTo>
                        <a:pt x="47353" y="7348"/>
                        <a:pt x="44496" y="11158"/>
                        <a:pt x="44496" y="14968"/>
                      </a:cubicBezTo>
                      <a:cubicBezTo>
                        <a:pt x="44496" y="18778"/>
                        <a:pt x="44496" y="18778"/>
                        <a:pt x="44496" y="18778"/>
                      </a:cubicBezTo>
                      <a:cubicBezTo>
                        <a:pt x="41638" y="19731"/>
                        <a:pt x="38781" y="20683"/>
                        <a:pt x="35923" y="22588"/>
                      </a:cubicBezTo>
                      <a:cubicBezTo>
                        <a:pt x="33066" y="19731"/>
                        <a:pt x="33066" y="19731"/>
                        <a:pt x="33066" y="19731"/>
                      </a:cubicBezTo>
                      <a:cubicBezTo>
                        <a:pt x="31161" y="17826"/>
                        <a:pt x="30208" y="17826"/>
                        <a:pt x="28303" y="17826"/>
                      </a:cubicBezTo>
                      <a:cubicBezTo>
                        <a:pt x="26398" y="17826"/>
                        <a:pt x="24493" y="18778"/>
                        <a:pt x="23541" y="19731"/>
                      </a:cubicBezTo>
                      <a:cubicBezTo>
                        <a:pt x="18778" y="24493"/>
                        <a:pt x="18778" y="24493"/>
                        <a:pt x="18778" y="24493"/>
                      </a:cubicBezTo>
                      <a:cubicBezTo>
                        <a:pt x="17826" y="26398"/>
                        <a:pt x="16873" y="27351"/>
                        <a:pt x="16873" y="30208"/>
                      </a:cubicBezTo>
                      <a:cubicBezTo>
                        <a:pt x="16873" y="32113"/>
                        <a:pt x="17826" y="34018"/>
                        <a:pt x="18778" y="34971"/>
                      </a:cubicBezTo>
                      <a:cubicBezTo>
                        <a:pt x="21636" y="37828"/>
                        <a:pt x="21636" y="37828"/>
                        <a:pt x="21636" y="37828"/>
                      </a:cubicBezTo>
                      <a:cubicBezTo>
                        <a:pt x="19731" y="40686"/>
                        <a:pt x="18778" y="43543"/>
                        <a:pt x="17826" y="46401"/>
                      </a:cubicBezTo>
                      <a:cubicBezTo>
                        <a:pt x="14016" y="46401"/>
                        <a:pt x="14016" y="46401"/>
                        <a:pt x="14016" y="46401"/>
                      </a:cubicBezTo>
                      <a:cubicBezTo>
                        <a:pt x="10206" y="46401"/>
                        <a:pt x="7348" y="49258"/>
                        <a:pt x="7348" y="53068"/>
                      </a:cubicBezTo>
                      <a:cubicBezTo>
                        <a:pt x="7348" y="59736"/>
                        <a:pt x="7348" y="59736"/>
                        <a:pt x="7348" y="59736"/>
                      </a:cubicBezTo>
                      <a:cubicBezTo>
                        <a:pt x="7348" y="63546"/>
                        <a:pt x="10206" y="66403"/>
                        <a:pt x="14016" y="66403"/>
                      </a:cubicBezTo>
                      <a:cubicBezTo>
                        <a:pt x="17826" y="66403"/>
                        <a:pt x="17826" y="66403"/>
                        <a:pt x="17826" y="66403"/>
                      </a:cubicBezTo>
                      <a:cubicBezTo>
                        <a:pt x="18778" y="70213"/>
                        <a:pt x="19731" y="73071"/>
                        <a:pt x="21636" y="75928"/>
                      </a:cubicBezTo>
                      <a:cubicBezTo>
                        <a:pt x="18778" y="78786"/>
                        <a:pt x="18778" y="78786"/>
                        <a:pt x="18778" y="78786"/>
                      </a:cubicBezTo>
                      <a:cubicBezTo>
                        <a:pt x="17826" y="80691"/>
                        <a:pt x="16873" y="81643"/>
                        <a:pt x="16873" y="83548"/>
                      </a:cubicBezTo>
                      <a:cubicBezTo>
                        <a:pt x="16873" y="85453"/>
                        <a:pt x="17826" y="87358"/>
                        <a:pt x="18778" y="89263"/>
                      </a:cubicBezTo>
                      <a:cubicBezTo>
                        <a:pt x="23541" y="93073"/>
                        <a:pt x="23541" y="93073"/>
                        <a:pt x="23541" y="93073"/>
                      </a:cubicBezTo>
                      <a:cubicBezTo>
                        <a:pt x="25446" y="94978"/>
                        <a:pt x="26398" y="94978"/>
                        <a:pt x="28303" y="94978"/>
                      </a:cubicBezTo>
                      <a:cubicBezTo>
                        <a:pt x="30208" y="94978"/>
                        <a:pt x="32113" y="94026"/>
                        <a:pt x="33066" y="93073"/>
                      </a:cubicBezTo>
                      <a:cubicBezTo>
                        <a:pt x="35923" y="90216"/>
                        <a:pt x="35923" y="90216"/>
                        <a:pt x="35923" y="90216"/>
                      </a:cubicBezTo>
                      <a:cubicBezTo>
                        <a:pt x="38781" y="92121"/>
                        <a:pt x="41638" y="93073"/>
                        <a:pt x="44496" y="94026"/>
                      </a:cubicBezTo>
                      <a:cubicBezTo>
                        <a:pt x="44496" y="97836"/>
                        <a:pt x="44496" y="97836"/>
                        <a:pt x="44496" y="97836"/>
                      </a:cubicBezTo>
                      <a:cubicBezTo>
                        <a:pt x="44496" y="101646"/>
                        <a:pt x="47353" y="105456"/>
                        <a:pt x="51163" y="105456"/>
                      </a:cubicBezTo>
                      <a:cubicBezTo>
                        <a:pt x="57831" y="105456"/>
                        <a:pt x="57831" y="105456"/>
                        <a:pt x="57831" y="105456"/>
                      </a:cubicBezTo>
                      <a:cubicBezTo>
                        <a:pt x="61641" y="105456"/>
                        <a:pt x="64498" y="101646"/>
                        <a:pt x="64498" y="97836"/>
                      </a:cubicBezTo>
                      <a:cubicBezTo>
                        <a:pt x="64498" y="94026"/>
                        <a:pt x="64498" y="94026"/>
                        <a:pt x="64498" y="94026"/>
                      </a:cubicBezTo>
                      <a:cubicBezTo>
                        <a:pt x="67356" y="93073"/>
                        <a:pt x="70213" y="92121"/>
                        <a:pt x="73071" y="90216"/>
                      </a:cubicBezTo>
                      <a:cubicBezTo>
                        <a:pt x="75928" y="93073"/>
                        <a:pt x="75928" y="93073"/>
                        <a:pt x="75928" y="93073"/>
                      </a:cubicBezTo>
                      <a:cubicBezTo>
                        <a:pt x="76881" y="94978"/>
                        <a:pt x="78786" y="94978"/>
                        <a:pt x="80691" y="94978"/>
                      </a:cubicBezTo>
                      <a:cubicBezTo>
                        <a:pt x="82596" y="94978"/>
                        <a:pt x="84501" y="94026"/>
                        <a:pt x="85453" y="93073"/>
                      </a:cubicBezTo>
                      <a:cubicBezTo>
                        <a:pt x="90216" y="88311"/>
                        <a:pt x="90216" y="88311"/>
                        <a:pt x="90216" y="88311"/>
                      </a:cubicBezTo>
                      <a:cubicBezTo>
                        <a:pt x="93073" y="85453"/>
                        <a:pt x="93073" y="80691"/>
                        <a:pt x="90216" y="77833"/>
                      </a:cubicBezTo>
                      <a:cubicBezTo>
                        <a:pt x="87358" y="74976"/>
                        <a:pt x="87358" y="74976"/>
                        <a:pt x="87358" y="74976"/>
                      </a:cubicBezTo>
                      <a:cubicBezTo>
                        <a:pt x="89263" y="72118"/>
                        <a:pt x="90216" y="69261"/>
                        <a:pt x="91168" y="65451"/>
                      </a:cubicBezTo>
                      <a:cubicBezTo>
                        <a:pt x="94026" y="65451"/>
                        <a:pt x="94026" y="65451"/>
                        <a:pt x="94026" y="65451"/>
                      </a:cubicBezTo>
                      <a:cubicBezTo>
                        <a:pt x="97836" y="65451"/>
                        <a:pt x="100693" y="62593"/>
                        <a:pt x="100693" y="58783"/>
                      </a:cubicBezTo>
                      <a:cubicBezTo>
                        <a:pt x="100693" y="52116"/>
                        <a:pt x="100693" y="52116"/>
                        <a:pt x="100693" y="52116"/>
                      </a:cubicBezTo>
                      <a:cubicBezTo>
                        <a:pt x="100693" y="48306"/>
                        <a:pt x="97836" y="45448"/>
                        <a:pt x="94026" y="45448"/>
                      </a:cubicBezTo>
                      <a:cubicBezTo>
                        <a:pt x="91168" y="45448"/>
                        <a:pt x="91168" y="45448"/>
                        <a:pt x="91168" y="45448"/>
                      </a:cubicBezTo>
                      <a:cubicBezTo>
                        <a:pt x="90216" y="41638"/>
                        <a:pt x="89263" y="38781"/>
                        <a:pt x="87358" y="35923"/>
                      </a:cubicBezTo>
                      <a:cubicBezTo>
                        <a:pt x="90216" y="33066"/>
                        <a:pt x="90216" y="33066"/>
                        <a:pt x="90216" y="33066"/>
                      </a:cubicBezTo>
                      <a:cubicBezTo>
                        <a:pt x="93073" y="30208"/>
                        <a:pt x="93073" y="25446"/>
                        <a:pt x="90216" y="22588"/>
                      </a:cubicBezTo>
                      <a:cubicBezTo>
                        <a:pt x="85453" y="17826"/>
                        <a:pt x="85453" y="17826"/>
                        <a:pt x="85453" y="17826"/>
                      </a:cubicBezTo>
                      <a:cubicBezTo>
                        <a:pt x="84501" y="15921"/>
                        <a:pt x="82596" y="15921"/>
                        <a:pt x="80691" y="15921"/>
                      </a:cubicBezTo>
                      <a:cubicBezTo>
                        <a:pt x="78786" y="15921"/>
                        <a:pt x="76881" y="16873"/>
                        <a:pt x="75928" y="17826"/>
                      </a:cubicBezTo>
                      <a:cubicBezTo>
                        <a:pt x="74023" y="20683"/>
                        <a:pt x="74023" y="20683"/>
                        <a:pt x="74023" y="20683"/>
                      </a:cubicBezTo>
                      <a:cubicBezTo>
                        <a:pt x="71166" y="18778"/>
                        <a:pt x="68308" y="17826"/>
                        <a:pt x="65451" y="16873"/>
                      </a:cubicBezTo>
                      <a:cubicBezTo>
                        <a:pt x="65451" y="13063"/>
                        <a:pt x="65451" y="13063"/>
                        <a:pt x="65451" y="13063"/>
                      </a:cubicBezTo>
                      <a:cubicBezTo>
                        <a:pt x="64498" y="11158"/>
                        <a:pt x="61641" y="7348"/>
                        <a:pt x="57831" y="7348"/>
                      </a:cubicBezTo>
                      <a:lnTo>
                        <a:pt x="57831" y="7348"/>
                      </a:lnTo>
                      <a:lnTo>
                        <a:pt x="57831" y="7348"/>
                      </a:lnTo>
                      <a:lnTo>
                        <a:pt x="57831" y="7348"/>
                      </a:lnTo>
                      <a:close/>
                    </a:path>
                  </a:pathLst>
                </a:custGeom>
                <a:grpFill/>
                <a:ln w="15875" cap="sq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A24A1F66-7C3E-437A-AA70-B014FD040812}"/>
                    </a:ext>
                  </a:extLst>
                </p:cNvPr>
                <p:cNvSpPr/>
                <p:nvPr/>
              </p:nvSpPr>
              <p:spPr>
                <a:xfrm>
                  <a:off x="6231844" y="3365136"/>
                  <a:ext cx="47625" cy="47625"/>
                </a:xfrm>
                <a:custGeom>
                  <a:avLst/>
                  <a:gdLst>
                    <a:gd name="connsiteX0" fmla="*/ 7348 w 47625"/>
                    <a:gd name="connsiteY0" fmla="*/ 27351 h 47625"/>
                    <a:gd name="connsiteX1" fmla="*/ 26398 w 47625"/>
                    <a:gd name="connsiteY1" fmla="*/ 7348 h 47625"/>
                    <a:gd name="connsiteX2" fmla="*/ 45448 w 47625"/>
                    <a:gd name="connsiteY2" fmla="*/ 27351 h 47625"/>
                    <a:gd name="connsiteX3" fmla="*/ 26398 w 47625"/>
                    <a:gd name="connsiteY3" fmla="*/ 47353 h 47625"/>
                    <a:gd name="connsiteX4" fmla="*/ 7348 w 47625"/>
                    <a:gd name="connsiteY4" fmla="*/ 27351 h 47625"/>
                    <a:gd name="connsiteX5" fmla="*/ 7348 w 47625"/>
                    <a:gd name="connsiteY5" fmla="*/ 27351 h 47625"/>
                    <a:gd name="connsiteX6" fmla="*/ 7348 w 47625"/>
                    <a:gd name="connsiteY6" fmla="*/ 27351 h 47625"/>
                    <a:gd name="connsiteX7" fmla="*/ 7348 w 47625"/>
                    <a:gd name="connsiteY7" fmla="*/ 27351 h 47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7625" h="47625">
                      <a:moveTo>
                        <a:pt x="7348" y="27351"/>
                      </a:moveTo>
                      <a:cubicBezTo>
                        <a:pt x="7348" y="16873"/>
                        <a:pt x="15921" y="7348"/>
                        <a:pt x="26398" y="7348"/>
                      </a:cubicBezTo>
                      <a:cubicBezTo>
                        <a:pt x="36875" y="7348"/>
                        <a:pt x="45448" y="15921"/>
                        <a:pt x="45448" y="27351"/>
                      </a:cubicBezTo>
                      <a:cubicBezTo>
                        <a:pt x="45448" y="38781"/>
                        <a:pt x="36875" y="47353"/>
                        <a:pt x="26398" y="47353"/>
                      </a:cubicBezTo>
                      <a:cubicBezTo>
                        <a:pt x="15921" y="47353"/>
                        <a:pt x="7348" y="38781"/>
                        <a:pt x="7348" y="27351"/>
                      </a:cubicBezTo>
                      <a:lnTo>
                        <a:pt x="7348" y="27351"/>
                      </a:lnTo>
                      <a:lnTo>
                        <a:pt x="7348" y="27351"/>
                      </a:lnTo>
                      <a:lnTo>
                        <a:pt x="7348" y="27351"/>
                      </a:lnTo>
                      <a:close/>
                    </a:path>
                  </a:pathLst>
                </a:custGeom>
                <a:grpFill/>
                <a:ln w="15875" cap="sq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22668225-088C-4382-B414-99799B4A443A}"/>
                    </a:ext>
                  </a:extLst>
                </p:cNvPr>
                <p:cNvSpPr/>
                <p:nvPr/>
              </p:nvSpPr>
              <p:spPr>
                <a:xfrm>
                  <a:off x="5990861" y="3512774"/>
                  <a:ext cx="114300" cy="57150"/>
                </a:xfrm>
                <a:custGeom>
                  <a:avLst/>
                  <a:gdLst>
                    <a:gd name="connsiteX0" fmla="*/ 7348 w 114300"/>
                    <a:gd name="connsiteY0" fmla="*/ 7348 h 57150"/>
                    <a:gd name="connsiteX1" fmla="*/ 115933 w 114300"/>
                    <a:gd name="connsiteY1" fmla="*/ 54021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300" h="57150">
                      <a:moveTo>
                        <a:pt x="7348" y="7348"/>
                      </a:moveTo>
                      <a:lnTo>
                        <a:pt x="115933" y="54021"/>
                      </a:lnTo>
                    </a:path>
                  </a:pathLst>
                </a:custGeom>
                <a:grpFill/>
                <a:ln w="15875" cap="sq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: Shape 132">
                  <a:extLst>
                    <a:ext uri="{FF2B5EF4-FFF2-40B4-BE49-F238E27FC236}">
                      <a16:creationId xmlns:a16="http://schemas.microsoft.com/office/drawing/2014/main" id="{1566D7EB-65AC-4015-BF76-5B82B9ABF239}"/>
                    </a:ext>
                  </a:extLst>
                </p:cNvPr>
                <p:cNvSpPr/>
                <p:nvPr/>
              </p:nvSpPr>
              <p:spPr>
                <a:xfrm>
                  <a:off x="6160406" y="3514679"/>
                  <a:ext cx="114300" cy="57150"/>
                </a:xfrm>
                <a:custGeom>
                  <a:avLst/>
                  <a:gdLst>
                    <a:gd name="connsiteX0" fmla="*/ 114028 w 114300"/>
                    <a:gd name="connsiteY0" fmla="*/ 7348 h 57150"/>
                    <a:gd name="connsiteX1" fmla="*/ 7348 w 114300"/>
                    <a:gd name="connsiteY1" fmla="*/ 52116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300" h="57150">
                      <a:moveTo>
                        <a:pt x="114028" y="7348"/>
                      </a:moveTo>
                      <a:lnTo>
                        <a:pt x="7348" y="52116"/>
                      </a:lnTo>
                    </a:path>
                  </a:pathLst>
                </a:custGeom>
                <a:grpFill/>
                <a:ln w="15875" cap="sq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7F7F9883-FB69-4C27-A4B8-78D2191C9B4B}"/>
                  </a:ext>
                </a:extLst>
              </p:cNvPr>
              <p:cNvGrpSpPr/>
              <p:nvPr/>
            </p:nvGrpSpPr>
            <p:grpSpPr>
              <a:xfrm>
                <a:off x="3291634" y="3894821"/>
                <a:ext cx="1369314" cy="902383"/>
                <a:chOff x="3320273" y="3984921"/>
                <a:chExt cx="1202409" cy="792393"/>
              </a:xfrm>
            </p:grpSpPr>
            <p:sp>
              <p:nvSpPr>
                <p:cNvPr id="87" name="Freeform 13" title="Icon of a cloud">
                  <a:extLst>
                    <a:ext uri="{FF2B5EF4-FFF2-40B4-BE49-F238E27FC236}">
                      <a16:creationId xmlns:a16="http://schemas.microsoft.com/office/drawing/2014/main" id="{5199A75E-08A1-41C2-A494-3927D7FCDA7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320273" y="3984921"/>
                  <a:ext cx="1037464" cy="569108"/>
                </a:xfrm>
                <a:custGeom>
                  <a:avLst/>
                  <a:gdLst>
                    <a:gd name="T0" fmla="*/ 384 w 771"/>
                    <a:gd name="T1" fmla="*/ 0 h 422"/>
                    <a:gd name="T2" fmla="*/ 549 w 771"/>
                    <a:gd name="T3" fmla="*/ 110 h 422"/>
                    <a:gd name="T4" fmla="*/ 551 w 771"/>
                    <a:gd name="T5" fmla="*/ 115 h 422"/>
                    <a:gd name="T6" fmla="*/ 565 w 771"/>
                    <a:gd name="T7" fmla="*/ 110 h 422"/>
                    <a:gd name="T8" fmla="*/ 612 w 771"/>
                    <a:gd name="T9" fmla="*/ 103 h 422"/>
                    <a:gd name="T10" fmla="*/ 771 w 771"/>
                    <a:gd name="T11" fmla="*/ 262 h 422"/>
                    <a:gd name="T12" fmla="*/ 628 w 771"/>
                    <a:gd name="T13" fmla="*/ 420 h 422"/>
                    <a:gd name="T14" fmla="*/ 616 w 771"/>
                    <a:gd name="T15" fmla="*/ 421 h 422"/>
                    <a:gd name="T16" fmla="*/ 610 w 771"/>
                    <a:gd name="T17" fmla="*/ 421 h 422"/>
                    <a:gd name="T18" fmla="*/ 98 w 771"/>
                    <a:gd name="T19" fmla="*/ 421 h 422"/>
                    <a:gd name="T20" fmla="*/ 91 w 771"/>
                    <a:gd name="T21" fmla="*/ 422 h 422"/>
                    <a:gd name="T22" fmla="*/ 74 w 771"/>
                    <a:gd name="T23" fmla="*/ 419 h 422"/>
                    <a:gd name="T24" fmla="*/ 12 w 771"/>
                    <a:gd name="T25" fmla="*/ 312 h 422"/>
                    <a:gd name="T26" fmla="*/ 101 w 771"/>
                    <a:gd name="T27" fmla="*/ 247 h 422"/>
                    <a:gd name="T28" fmla="*/ 108 w 771"/>
                    <a:gd name="T29" fmla="*/ 249 h 422"/>
                    <a:gd name="T30" fmla="*/ 106 w 771"/>
                    <a:gd name="T31" fmla="*/ 238 h 422"/>
                    <a:gd name="T32" fmla="*/ 119 w 771"/>
                    <a:gd name="T33" fmla="*/ 179 h 422"/>
                    <a:gd name="T34" fmla="*/ 201 w 771"/>
                    <a:gd name="T35" fmla="*/ 128 h 422"/>
                    <a:gd name="T36" fmla="*/ 213 w 771"/>
                    <a:gd name="T37" fmla="*/ 128 h 422"/>
                    <a:gd name="T38" fmla="*/ 213 w 771"/>
                    <a:gd name="T39" fmla="*/ 127 h 422"/>
                    <a:gd name="T40" fmla="*/ 384 w 771"/>
                    <a:gd name="T41" fmla="*/ 0 h 4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71" h="422">
                      <a:moveTo>
                        <a:pt x="384" y="0"/>
                      </a:moveTo>
                      <a:cubicBezTo>
                        <a:pt x="458" y="0"/>
                        <a:pt x="522" y="46"/>
                        <a:pt x="549" y="110"/>
                      </a:cubicBezTo>
                      <a:cubicBezTo>
                        <a:pt x="551" y="115"/>
                        <a:pt x="551" y="115"/>
                        <a:pt x="551" y="115"/>
                      </a:cubicBezTo>
                      <a:cubicBezTo>
                        <a:pt x="565" y="110"/>
                        <a:pt x="565" y="110"/>
                        <a:pt x="565" y="110"/>
                      </a:cubicBezTo>
                      <a:cubicBezTo>
                        <a:pt x="580" y="105"/>
                        <a:pt x="596" y="103"/>
                        <a:pt x="612" y="103"/>
                      </a:cubicBezTo>
                      <a:cubicBezTo>
                        <a:pt x="700" y="103"/>
                        <a:pt x="771" y="174"/>
                        <a:pt x="771" y="262"/>
                      </a:cubicBezTo>
                      <a:cubicBezTo>
                        <a:pt x="771" y="344"/>
                        <a:pt x="708" y="412"/>
                        <a:pt x="628" y="420"/>
                      </a:cubicBezTo>
                      <a:cubicBezTo>
                        <a:pt x="616" y="421"/>
                        <a:pt x="616" y="421"/>
                        <a:pt x="616" y="421"/>
                      </a:cubicBezTo>
                      <a:cubicBezTo>
                        <a:pt x="610" y="421"/>
                        <a:pt x="610" y="421"/>
                        <a:pt x="610" y="421"/>
                      </a:cubicBezTo>
                      <a:cubicBezTo>
                        <a:pt x="98" y="421"/>
                        <a:pt x="98" y="421"/>
                        <a:pt x="98" y="421"/>
                      </a:cubicBezTo>
                      <a:cubicBezTo>
                        <a:pt x="91" y="422"/>
                        <a:pt x="91" y="422"/>
                        <a:pt x="91" y="422"/>
                      </a:cubicBezTo>
                      <a:cubicBezTo>
                        <a:pt x="85" y="421"/>
                        <a:pt x="79" y="420"/>
                        <a:pt x="74" y="419"/>
                      </a:cubicBezTo>
                      <a:cubicBezTo>
                        <a:pt x="27" y="406"/>
                        <a:pt x="0" y="359"/>
                        <a:pt x="12" y="312"/>
                      </a:cubicBezTo>
                      <a:cubicBezTo>
                        <a:pt x="23" y="271"/>
                        <a:pt x="61" y="245"/>
                        <a:pt x="101" y="247"/>
                      </a:cubicBezTo>
                      <a:cubicBezTo>
                        <a:pt x="108" y="249"/>
                        <a:pt x="108" y="249"/>
                        <a:pt x="108" y="249"/>
                      </a:cubicBezTo>
                      <a:cubicBezTo>
                        <a:pt x="106" y="238"/>
                        <a:pt x="106" y="238"/>
                        <a:pt x="106" y="238"/>
                      </a:cubicBezTo>
                      <a:cubicBezTo>
                        <a:pt x="105" y="218"/>
                        <a:pt x="109" y="198"/>
                        <a:pt x="119" y="179"/>
                      </a:cubicBezTo>
                      <a:cubicBezTo>
                        <a:pt x="137" y="148"/>
                        <a:pt x="168" y="130"/>
                        <a:pt x="201" y="128"/>
                      </a:cubicBezTo>
                      <a:cubicBezTo>
                        <a:pt x="213" y="128"/>
                        <a:pt x="213" y="128"/>
                        <a:pt x="213" y="128"/>
                      </a:cubicBezTo>
                      <a:cubicBezTo>
                        <a:pt x="213" y="127"/>
                        <a:pt x="213" y="127"/>
                        <a:pt x="213" y="127"/>
                      </a:cubicBezTo>
                      <a:cubicBezTo>
                        <a:pt x="236" y="53"/>
                        <a:pt x="304" y="0"/>
                        <a:pt x="384" y="0"/>
                      </a:cubicBezTo>
                      <a:close/>
                    </a:path>
                  </a:pathLst>
                </a:custGeom>
                <a:noFill/>
                <a:ln w="15875" cap="sq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F8677D4B-9338-4A91-A5C1-E02A8FA9A760}"/>
                    </a:ext>
                  </a:extLst>
                </p:cNvPr>
                <p:cNvSpPr/>
                <p:nvPr/>
              </p:nvSpPr>
              <p:spPr bwMode="auto">
                <a:xfrm>
                  <a:off x="4055580" y="4322656"/>
                  <a:ext cx="467102" cy="454658"/>
                </a:xfrm>
                <a:prstGeom prst="ellipse">
                  <a:avLst/>
                </a:prstGeom>
                <a:solidFill>
                  <a:srgbClr val="E6E6E6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0" tIns="46637" rIns="0" bIns="46637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6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40075">
                          <a:srgbClr val="FFFFFF"/>
                        </a:gs>
                        <a:gs pos="3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DFD9315C-D4FD-416A-BAD9-5B8F60EA23CF}"/>
                  </a:ext>
                </a:extLst>
              </p:cNvPr>
              <p:cNvGrpSpPr/>
              <p:nvPr/>
            </p:nvGrpSpPr>
            <p:grpSpPr>
              <a:xfrm>
                <a:off x="5349689" y="4115538"/>
                <a:ext cx="1228460" cy="535251"/>
                <a:chOff x="5286641" y="4134528"/>
                <a:chExt cx="1228460" cy="535251"/>
              </a:xfrm>
            </p:grpSpPr>
            <p:sp>
              <p:nvSpPr>
                <p:cNvPr id="88" name="binary" title="Icon of binary code, ones and zeros">
                  <a:extLst>
                    <a:ext uri="{FF2B5EF4-FFF2-40B4-BE49-F238E27FC236}">
                      <a16:creationId xmlns:a16="http://schemas.microsoft.com/office/drawing/2014/main" id="{B33867C7-1857-4B63-B031-7C505D62C0B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5286641" y="4134528"/>
                  <a:ext cx="619868" cy="535251"/>
                </a:xfrm>
                <a:custGeom>
                  <a:avLst/>
                  <a:gdLst>
                    <a:gd name="T0" fmla="*/ 0 w 245"/>
                    <a:gd name="T1" fmla="*/ 48 h 212"/>
                    <a:gd name="T2" fmla="*/ 92 w 245"/>
                    <a:gd name="T3" fmla="*/ 48 h 212"/>
                    <a:gd name="T4" fmla="*/ 183 w 245"/>
                    <a:gd name="T5" fmla="*/ 48 h 212"/>
                    <a:gd name="T6" fmla="*/ 62 w 245"/>
                    <a:gd name="T7" fmla="*/ 15 h 212"/>
                    <a:gd name="T8" fmla="*/ 46 w 245"/>
                    <a:gd name="T9" fmla="*/ 0 h 212"/>
                    <a:gd name="T10" fmla="*/ 30 w 245"/>
                    <a:gd name="T11" fmla="*/ 33 h 212"/>
                    <a:gd name="T12" fmla="*/ 46 w 245"/>
                    <a:gd name="T13" fmla="*/ 49 h 212"/>
                    <a:gd name="T14" fmla="*/ 153 w 245"/>
                    <a:gd name="T15" fmla="*/ 33 h 212"/>
                    <a:gd name="T16" fmla="*/ 137 w 245"/>
                    <a:gd name="T17" fmla="*/ 0 h 212"/>
                    <a:gd name="T18" fmla="*/ 122 w 245"/>
                    <a:gd name="T19" fmla="*/ 15 h 212"/>
                    <a:gd name="T20" fmla="*/ 137 w 245"/>
                    <a:gd name="T21" fmla="*/ 49 h 212"/>
                    <a:gd name="T22" fmla="*/ 153 w 245"/>
                    <a:gd name="T23" fmla="*/ 33 h 212"/>
                    <a:gd name="T24" fmla="*/ 245 w 245"/>
                    <a:gd name="T25" fmla="*/ 15 h 212"/>
                    <a:gd name="T26" fmla="*/ 229 w 245"/>
                    <a:gd name="T27" fmla="*/ 0 h 212"/>
                    <a:gd name="T28" fmla="*/ 213 w 245"/>
                    <a:gd name="T29" fmla="*/ 33 h 212"/>
                    <a:gd name="T30" fmla="*/ 229 w 245"/>
                    <a:gd name="T31" fmla="*/ 49 h 212"/>
                    <a:gd name="T32" fmla="*/ 0 w 245"/>
                    <a:gd name="T33" fmla="*/ 163 h 212"/>
                    <a:gd name="T34" fmla="*/ 92 w 245"/>
                    <a:gd name="T35" fmla="*/ 163 h 212"/>
                    <a:gd name="T36" fmla="*/ 183 w 245"/>
                    <a:gd name="T37" fmla="*/ 163 h 212"/>
                    <a:gd name="T38" fmla="*/ 62 w 245"/>
                    <a:gd name="T39" fmla="*/ 196 h 212"/>
                    <a:gd name="T40" fmla="*/ 46 w 245"/>
                    <a:gd name="T41" fmla="*/ 163 h 212"/>
                    <a:gd name="T42" fmla="*/ 30 w 245"/>
                    <a:gd name="T43" fmla="*/ 179 h 212"/>
                    <a:gd name="T44" fmla="*/ 46 w 245"/>
                    <a:gd name="T45" fmla="*/ 212 h 212"/>
                    <a:gd name="T46" fmla="*/ 62 w 245"/>
                    <a:gd name="T47" fmla="*/ 196 h 212"/>
                    <a:gd name="T48" fmla="*/ 153 w 245"/>
                    <a:gd name="T49" fmla="*/ 179 h 212"/>
                    <a:gd name="T50" fmla="*/ 137 w 245"/>
                    <a:gd name="T51" fmla="*/ 163 h 212"/>
                    <a:gd name="T52" fmla="*/ 122 w 245"/>
                    <a:gd name="T53" fmla="*/ 196 h 212"/>
                    <a:gd name="T54" fmla="*/ 137 w 245"/>
                    <a:gd name="T55" fmla="*/ 212 h 212"/>
                    <a:gd name="T56" fmla="*/ 245 w 245"/>
                    <a:gd name="T57" fmla="*/ 196 h 212"/>
                    <a:gd name="T58" fmla="*/ 229 w 245"/>
                    <a:gd name="T59" fmla="*/ 163 h 212"/>
                    <a:gd name="T60" fmla="*/ 213 w 245"/>
                    <a:gd name="T61" fmla="*/ 179 h 212"/>
                    <a:gd name="T62" fmla="*/ 229 w 245"/>
                    <a:gd name="T63" fmla="*/ 212 h 212"/>
                    <a:gd name="T64" fmla="*/ 245 w 245"/>
                    <a:gd name="T65" fmla="*/ 196 h 212"/>
                    <a:gd name="T66" fmla="*/ 62 w 245"/>
                    <a:gd name="T67" fmla="*/ 131 h 212"/>
                    <a:gd name="T68" fmla="*/ 153 w 245"/>
                    <a:gd name="T69" fmla="*/ 131 h 212"/>
                    <a:gd name="T70" fmla="*/ 32 w 245"/>
                    <a:gd name="T71" fmla="*/ 98 h 212"/>
                    <a:gd name="T72" fmla="*/ 16 w 245"/>
                    <a:gd name="T73" fmla="*/ 83 h 212"/>
                    <a:gd name="T74" fmla="*/ 0 w 245"/>
                    <a:gd name="T75" fmla="*/ 116 h 212"/>
                    <a:gd name="T76" fmla="*/ 16 w 245"/>
                    <a:gd name="T77" fmla="*/ 132 h 212"/>
                    <a:gd name="T78" fmla="*/ 123 w 245"/>
                    <a:gd name="T79" fmla="*/ 116 h 212"/>
                    <a:gd name="T80" fmla="*/ 107 w 245"/>
                    <a:gd name="T81" fmla="*/ 83 h 212"/>
                    <a:gd name="T82" fmla="*/ 92 w 245"/>
                    <a:gd name="T83" fmla="*/ 98 h 212"/>
                    <a:gd name="T84" fmla="*/ 107 w 245"/>
                    <a:gd name="T85" fmla="*/ 132 h 212"/>
                    <a:gd name="T86" fmla="*/ 123 w 245"/>
                    <a:gd name="T87" fmla="*/ 116 h 212"/>
                    <a:gd name="T88" fmla="*/ 215 w 245"/>
                    <a:gd name="T89" fmla="*/ 98 h 212"/>
                    <a:gd name="T90" fmla="*/ 199 w 245"/>
                    <a:gd name="T91" fmla="*/ 83 h 212"/>
                    <a:gd name="T92" fmla="*/ 183 w 245"/>
                    <a:gd name="T93" fmla="*/ 116 h 212"/>
                    <a:gd name="T94" fmla="*/ 199 w 245"/>
                    <a:gd name="T95" fmla="*/ 132 h 212"/>
                    <a:gd name="T96" fmla="*/ 245 w 245"/>
                    <a:gd name="T97" fmla="*/ 83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45" h="212">
                      <a:moveTo>
                        <a:pt x="0" y="0"/>
                      </a:moveTo>
                      <a:cubicBezTo>
                        <a:pt x="0" y="48"/>
                        <a:pt x="0" y="48"/>
                        <a:pt x="0" y="48"/>
                      </a:cubicBezTo>
                      <a:moveTo>
                        <a:pt x="92" y="0"/>
                      </a:moveTo>
                      <a:cubicBezTo>
                        <a:pt x="92" y="48"/>
                        <a:pt x="92" y="48"/>
                        <a:pt x="92" y="48"/>
                      </a:cubicBezTo>
                      <a:moveTo>
                        <a:pt x="183" y="0"/>
                      </a:moveTo>
                      <a:cubicBezTo>
                        <a:pt x="183" y="48"/>
                        <a:pt x="183" y="48"/>
                        <a:pt x="183" y="48"/>
                      </a:cubicBezTo>
                      <a:moveTo>
                        <a:pt x="62" y="33"/>
                      </a:moveTo>
                      <a:cubicBezTo>
                        <a:pt x="62" y="15"/>
                        <a:pt x="62" y="15"/>
                        <a:pt x="62" y="15"/>
                      </a:cubicBezTo>
                      <a:cubicBezTo>
                        <a:pt x="62" y="7"/>
                        <a:pt x="55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37" y="0"/>
                        <a:pt x="30" y="7"/>
                        <a:pt x="30" y="15"/>
                      </a:cubicBezTo>
                      <a:cubicBezTo>
                        <a:pt x="30" y="33"/>
                        <a:pt x="30" y="33"/>
                        <a:pt x="30" y="33"/>
                      </a:cubicBezTo>
                      <a:cubicBezTo>
                        <a:pt x="30" y="41"/>
                        <a:pt x="37" y="49"/>
                        <a:pt x="46" y="49"/>
                      </a:cubicBezTo>
                      <a:cubicBezTo>
                        <a:pt x="46" y="49"/>
                        <a:pt x="46" y="49"/>
                        <a:pt x="46" y="49"/>
                      </a:cubicBezTo>
                      <a:cubicBezTo>
                        <a:pt x="55" y="49"/>
                        <a:pt x="62" y="41"/>
                        <a:pt x="62" y="33"/>
                      </a:cubicBezTo>
                      <a:close/>
                      <a:moveTo>
                        <a:pt x="153" y="33"/>
                      </a:moveTo>
                      <a:cubicBezTo>
                        <a:pt x="153" y="15"/>
                        <a:pt x="153" y="15"/>
                        <a:pt x="153" y="15"/>
                      </a:cubicBezTo>
                      <a:cubicBezTo>
                        <a:pt x="153" y="7"/>
                        <a:pt x="146" y="0"/>
                        <a:pt x="137" y="0"/>
                      </a:cubicBezTo>
                      <a:cubicBezTo>
                        <a:pt x="137" y="0"/>
                        <a:pt x="137" y="0"/>
                        <a:pt x="137" y="0"/>
                      </a:cubicBezTo>
                      <a:cubicBezTo>
                        <a:pt x="129" y="0"/>
                        <a:pt x="122" y="7"/>
                        <a:pt x="122" y="15"/>
                      </a:cubicBezTo>
                      <a:cubicBezTo>
                        <a:pt x="122" y="33"/>
                        <a:pt x="122" y="33"/>
                        <a:pt x="122" y="33"/>
                      </a:cubicBezTo>
                      <a:cubicBezTo>
                        <a:pt x="122" y="41"/>
                        <a:pt x="129" y="49"/>
                        <a:pt x="137" y="49"/>
                      </a:cubicBezTo>
                      <a:cubicBezTo>
                        <a:pt x="137" y="49"/>
                        <a:pt x="137" y="49"/>
                        <a:pt x="137" y="49"/>
                      </a:cubicBezTo>
                      <a:cubicBezTo>
                        <a:pt x="146" y="49"/>
                        <a:pt x="153" y="41"/>
                        <a:pt x="153" y="33"/>
                      </a:cubicBezTo>
                      <a:close/>
                      <a:moveTo>
                        <a:pt x="245" y="33"/>
                      </a:moveTo>
                      <a:cubicBezTo>
                        <a:pt x="245" y="15"/>
                        <a:pt x="245" y="15"/>
                        <a:pt x="245" y="15"/>
                      </a:cubicBezTo>
                      <a:cubicBezTo>
                        <a:pt x="245" y="7"/>
                        <a:pt x="237" y="0"/>
                        <a:pt x="229" y="0"/>
                      </a:cubicBezTo>
                      <a:cubicBezTo>
                        <a:pt x="229" y="0"/>
                        <a:pt x="229" y="0"/>
                        <a:pt x="229" y="0"/>
                      </a:cubicBezTo>
                      <a:cubicBezTo>
                        <a:pt x="220" y="0"/>
                        <a:pt x="213" y="7"/>
                        <a:pt x="213" y="15"/>
                      </a:cubicBezTo>
                      <a:cubicBezTo>
                        <a:pt x="213" y="33"/>
                        <a:pt x="213" y="33"/>
                        <a:pt x="213" y="33"/>
                      </a:cubicBezTo>
                      <a:cubicBezTo>
                        <a:pt x="213" y="41"/>
                        <a:pt x="220" y="49"/>
                        <a:pt x="229" y="49"/>
                      </a:cubicBezTo>
                      <a:cubicBezTo>
                        <a:pt x="229" y="49"/>
                        <a:pt x="229" y="49"/>
                        <a:pt x="229" y="49"/>
                      </a:cubicBezTo>
                      <a:cubicBezTo>
                        <a:pt x="237" y="49"/>
                        <a:pt x="245" y="41"/>
                        <a:pt x="245" y="33"/>
                      </a:cubicBezTo>
                      <a:close/>
                      <a:moveTo>
                        <a:pt x="0" y="163"/>
                      </a:moveTo>
                      <a:cubicBezTo>
                        <a:pt x="0" y="212"/>
                        <a:pt x="0" y="212"/>
                        <a:pt x="0" y="212"/>
                      </a:cubicBezTo>
                      <a:moveTo>
                        <a:pt x="92" y="163"/>
                      </a:moveTo>
                      <a:cubicBezTo>
                        <a:pt x="92" y="212"/>
                        <a:pt x="92" y="212"/>
                        <a:pt x="92" y="212"/>
                      </a:cubicBezTo>
                      <a:moveTo>
                        <a:pt x="183" y="163"/>
                      </a:moveTo>
                      <a:cubicBezTo>
                        <a:pt x="183" y="212"/>
                        <a:pt x="183" y="212"/>
                        <a:pt x="183" y="212"/>
                      </a:cubicBezTo>
                      <a:moveTo>
                        <a:pt x="62" y="196"/>
                      </a:moveTo>
                      <a:cubicBezTo>
                        <a:pt x="62" y="179"/>
                        <a:pt x="62" y="179"/>
                        <a:pt x="62" y="179"/>
                      </a:cubicBezTo>
                      <a:cubicBezTo>
                        <a:pt x="62" y="170"/>
                        <a:pt x="55" y="163"/>
                        <a:pt x="46" y="163"/>
                      </a:cubicBezTo>
                      <a:cubicBezTo>
                        <a:pt x="46" y="163"/>
                        <a:pt x="46" y="163"/>
                        <a:pt x="46" y="163"/>
                      </a:cubicBezTo>
                      <a:cubicBezTo>
                        <a:pt x="37" y="163"/>
                        <a:pt x="30" y="170"/>
                        <a:pt x="30" y="179"/>
                      </a:cubicBezTo>
                      <a:cubicBezTo>
                        <a:pt x="30" y="196"/>
                        <a:pt x="30" y="196"/>
                        <a:pt x="30" y="196"/>
                      </a:cubicBezTo>
                      <a:cubicBezTo>
                        <a:pt x="30" y="205"/>
                        <a:pt x="37" y="212"/>
                        <a:pt x="46" y="212"/>
                      </a:cubicBezTo>
                      <a:cubicBezTo>
                        <a:pt x="46" y="212"/>
                        <a:pt x="46" y="212"/>
                        <a:pt x="46" y="212"/>
                      </a:cubicBezTo>
                      <a:cubicBezTo>
                        <a:pt x="55" y="212"/>
                        <a:pt x="62" y="205"/>
                        <a:pt x="62" y="196"/>
                      </a:cubicBezTo>
                      <a:close/>
                      <a:moveTo>
                        <a:pt x="153" y="196"/>
                      </a:moveTo>
                      <a:cubicBezTo>
                        <a:pt x="153" y="179"/>
                        <a:pt x="153" y="179"/>
                        <a:pt x="153" y="179"/>
                      </a:cubicBezTo>
                      <a:cubicBezTo>
                        <a:pt x="153" y="170"/>
                        <a:pt x="146" y="163"/>
                        <a:pt x="137" y="163"/>
                      </a:cubicBezTo>
                      <a:cubicBezTo>
                        <a:pt x="137" y="163"/>
                        <a:pt x="137" y="163"/>
                        <a:pt x="137" y="163"/>
                      </a:cubicBezTo>
                      <a:cubicBezTo>
                        <a:pt x="129" y="163"/>
                        <a:pt x="122" y="170"/>
                        <a:pt x="122" y="179"/>
                      </a:cubicBezTo>
                      <a:cubicBezTo>
                        <a:pt x="122" y="196"/>
                        <a:pt x="122" y="196"/>
                        <a:pt x="122" y="196"/>
                      </a:cubicBezTo>
                      <a:cubicBezTo>
                        <a:pt x="122" y="205"/>
                        <a:pt x="129" y="212"/>
                        <a:pt x="137" y="212"/>
                      </a:cubicBezTo>
                      <a:cubicBezTo>
                        <a:pt x="137" y="212"/>
                        <a:pt x="137" y="212"/>
                        <a:pt x="137" y="212"/>
                      </a:cubicBezTo>
                      <a:cubicBezTo>
                        <a:pt x="146" y="212"/>
                        <a:pt x="153" y="205"/>
                        <a:pt x="153" y="196"/>
                      </a:cubicBezTo>
                      <a:close/>
                      <a:moveTo>
                        <a:pt x="245" y="196"/>
                      </a:moveTo>
                      <a:cubicBezTo>
                        <a:pt x="245" y="179"/>
                        <a:pt x="245" y="179"/>
                        <a:pt x="245" y="179"/>
                      </a:cubicBezTo>
                      <a:cubicBezTo>
                        <a:pt x="245" y="170"/>
                        <a:pt x="237" y="163"/>
                        <a:pt x="229" y="163"/>
                      </a:cubicBezTo>
                      <a:cubicBezTo>
                        <a:pt x="229" y="163"/>
                        <a:pt x="229" y="163"/>
                        <a:pt x="229" y="163"/>
                      </a:cubicBezTo>
                      <a:cubicBezTo>
                        <a:pt x="220" y="163"/>
                        <a:pt x="213" y="170"/>
                        <a:pt x="213" y="179"/>
                      </a:cubicBezTo>
                      <a:cubicBezTo>
                        <a:pt x="213" y="196"/>
                        <a:pt x="213" y="196"/>
                        <a:pt x="213" y="196"/>
                      </a:cubicBezTo>
                      <a:cubicBezTo>
                        <a:pt x="213" y="205"/>
                        <a:pt x="220" y="212"/>
                        <a:pt x="229" y="212"/>
                      </a:cubicBezTo>
                      <a:cubicBezTo>
                        <a:pt x="229" y="212"/>
                        <a:pt x="229" y="212"/>
                        <a:pt x="229" y="212"/>
                      </a:cubicBezTo>
                      <a:cubicBezTo>
                        <a:pt x="237" y="212"/>
                        <a:pt x="245" y="205"/>
                        <a:pt x="245" y="196"/>
                      </a:cubicBezTo>
                      <a:close/>
                      <a:moveTo>
                        <a:pt x="62" y="83"/>
                      </a:moveTo>
                      <a:cubicBezTo>
                        <a:pt x="62" y="131"/>
                        <a:pt x="62" y="131"/>
                        <a:pt x="62" y="131"/>
                      </a:cubicBezTo>
                      <a:moveTo>
                        <a:pt x="153" y="83"/>
                      </a:moveTo>
                      <a:cubicBezTo>
                        <a:pt x="153" y="131"/>
                        <a:pt x="153" y="131"/>
                        <a:pt x="153" y="131"/>
                      </a:cubicBezTo>
                      <a:moveTo>
                        <a:pt x="32" y="116"/>
                      </a:moveTo>
                      <a:cubicBezTo>
                        <a:pt x="32" y="98"/>
                        <a:pt x="32" y="98"/>
                        <a:pt x="32" y="98"/>
                      </a:cubicBezTo>
                      <a:cubicBezTo>
                        <a:pt x="32" y="90"/>
                        <a:pt x="25" y="83"/>
                        <a:pt x="16" y="83"/>
                      </a:cubicBezTo>
                      <a:cubicBezTo>
                        <a:pt x="16" y="83"/>
                        <a:pt x="16" y="83"/>
                        <a:pt x="16" y="83"/>
                      </a:cubicBezTo>
                      <a:cubicBezTo>
                        <a:pt x="7" y="83"/>
                        <a:pt x="0" y="90"/>
                        <a:pt x="0" y="98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24"/>
                        <a:pt x="7" y="132"/>
                        <a:pt x="16" y="132"/>
                      </a:cubicBezTo>
                      <a:cubicBezTo>
                        <a:pt x="16" y="132"/>
                        <a:pt x="16" y="132"/>
                        <a:pt x="16" y="132"/>
                      </a:cubicBezTo>
                      <a:cubicBezTo>
                        <a:pt x="25" y="132"/>
                        <a:pt x="32" y="124"/>
                        <a:pt x="32" y="116"/>
                      </a:cubicBezTo>
                      <a:close/>
                      <a:moveTo>
                        <a:pt x="123" y="116"/>
                      </a:moveTo>
                      <a:cubicBezTo>
                        <a:pt x="123" y="98"/>
                        <a:pt x="123" y="98"/>
                        <a:pt x="123" y="98"/>
                      </a:cubicBezTo>
                      <a:cubicBezTo>
                        <a:pt x="123" y="90"/>
                        <a:pt x="116" y="83"/>
                        <a:pt x="107" y="83"/>
                      </a:cubicBezTo>
                      <a:cubicBezTo>
                        <a:pt x="107" y="83"/>
                        <a:pt x="107" y="83"/>
                        <a:pt x="107" y="83"/>
                      </a:cubicBezTo>
                      <a:cubicBezTo>
                        <a:pt x="99" y="83"/>
                        <a:pt x="92" y="90"/>
                        <a:pt x="92" y="98"/>
                      </a:cubicBezTo>
                      <a:cubicBezTo>
                        <a:pt x="92" y="116"/>
                        <a:pt x="92" y="116"/>
                        <a:pt x="92" y="116"/>
                      </a:cubicBezTo>
                      <a:cubicBezTo>
                        <a:pt x="92" y="124"/>
                        <a:pt x="99" y="132"/>
                        <a:pt x="107" y="132"/>
                      </a:cubicBezTo>
                      <a:cubicBezTo>
                        <a:pt x="107" y="132"/>
                        <a:pt x="107" y="132"/>
                        <a:pt x="107" y="132"/>
                      </a:cubicBezTo>
                      <a:cubicBezTo>
                        <a:pt x="116" y="132"/>
                        <a:pt x="123" y="124"/>
                        <a:pt x="123" y="116"/>
                      </a:cubicBezTo>
                      <a:close/>
                      <a:moveTo>
                        <a:pt x="215" y="116"/>
                      </a:moveTo>
                      <a:cubicBezTo>
                        <a:pt x="215" y="98"/>
                        <a:pt x="215" y="98"/>
                        <a:pt x="215" y="98"/>
                      </a:cubicBezTo>
                      <a:cubicBezTo>
                        <a:pt x="215" y="90"/>
                        <a:pt x="207" y="83"/>
                        <a:pt x="199" y="83"/>
                      </a:cubicBezTo>
                      <a:cubicBezTo>
                        <a:pt x="199" y="83"/>
                        <a:pt x="199" y="83"/>
                        <a:pt x="199" y="83"/>
                      </a:cubicBezTo>
                      <a:cubicBezTo>
                        <a:pt x="190" y="83"/>
                        <a:pt x="183" y="90"/>
                        <a:pt x="183" y="98"/>
                      </a:cubicBezTo>
                      <a:cubicBezTo>
                        <a:pt x="183" y="116"/>
                        <a:pt x="183" y="116"/>
                        <a:pt x="183" y="116"/>
                      </a:cubicBezTo>
                      <a:cubicBezTo>
                        <a:pt x="183" y="124"/>
                        <a:pt x="190" y="132"/>
                        <a:pt x="199" y="132"/>
                      </a:cubicBezTo>
                      <a:cubicBezTo>
                        <a:pt x="199" y="132"/>
                        <a:pt x="199" y="132"/>
                        <a:pt x="199" y="132"/>
                      </a:cubicBezTo>
                      <a:cubicBezTo>
                        <a:pt x="207" y="132"/>
                        <a:pt x="215" y="124"/>
                        <a:pt x="215" y="116"/>
                      </a:cubicBezTo>
                      <a:close/>
                      <a:moveTo>
                        <a:pt x="245" y="83"/>
                      </a:moveTo>
                      <a:cubicBezTo>
                        <a:pt x="245" y="131"/>
                        <a:pt x="245" y="131"/>
                        <a:pt x="245" y="131"/>
                      </a:cubicBezTo>
                    </a:path>
                  </a:pathLst>
                </a:custGeom>
                <a:noFill/>
                <a:ln w="15875" cap="sq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binary" title="Icon of binary code, ones and zeros">
                  <a:extLst>
                    <a:ext uri="{FF2B5EF4-FFF2-40B4-BE49-F238E27FC236}">
                      <a16:creationId xmlns:a16="http://schemas.microsoft.com/office/drawing/2014/main" id="{BD249EBE-8981-463C-92AA-9373C77C6B97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5895233" y="4134528"/>
                  <a:ext cx="619868" cy="535251"/>
                </a:xfrm>
                <a:custGeom>
                  <a:avLst/>
                  <a:gdLst>
                    <a:gd name="T0" fmla="*/ 0 w 245"/>
                    <a:gd name="T1" fmla="*/ 48 h 212"/>
                    <a:gd name="T2" fmla="*/ 92 w 245"/>
                    <a:gd name="T3" fmla="*/ 48 h 212"/>
                    <a:gd name="T4" fmla="*/ 183 w 245"/>
                    <a:gd name="T5" fmla="*/ 48 h 212"/>
                    <a:gd name="T6" fmla="*/ 62 w 245"/>
                    <a:gd name="T7" fmla="*/ 15 h 212"/>
                    <a:gd name="T8" fmla="*/ 46 w 245"/>
                    <a:gd name="T9" fmla="*/ 0 h 212"/>
                    <a:gd name="T10" fmla="*/ 30 w 245"/>
                    <a:gd name="T11" fmla="*/ 33 h 212"/>
                    <a:gd name="T12" fmla="*/ 46 w 245"/>
                    <a:gd name="T13" fmla="*/ 49 h 212"/>
                    <a:gd name="T14" fmla="*/ 153 w 245"/>
                    <a:gd name="T15" fmla="*/ 33 h 212"/>
                    <a:gd name="T16" fmla="*/ 137 w 245"/>
                    <a:gd name="T17" fmla="*/ 0 h 212"/>
                    <a:gd name="T18" fmla="*/ 122 w 245"/>
                    <a:gd name="T19" fmla="*/ 15 h 212"/>
                    <a:gd name="T20" fmla="*/ 137 w 245"/>
                    <a:gd name="T21" fmla="*/ 49 h 212"/>
                    <a:gd name="T22" fmla="*/ 153 w 245"/>
                    <a:gd name="T23" fmla="*/ 33 h 212"/>
                    <a:gd name="T24" fmla="*/ 245 w 245"/>
                    <a:gd name="T25" fmla="*/ 15 h 212"/>
                    <a:gd name="T26" fmla="*/ 229 w 245"/>
                    <a:gd name="T27" fmla="*/ 0 h 212"/>
                    <a:gd name="T28" fmla="*/ 213 w 245"/>
                    <a:gd name="T29" fmla="*/ 33 h 212"/>
                    <a:gd name="T30" fmla="*/ 229 w 245"/>
                    <a:gd name="T31" fmla="*/ 49 h 212"/>
                    <a:gd name="T32" fmla="*/ 0 w 245"/>
                    <a:gd name="T33" fmla="*/ 163 h 212"/>
                    <a:gd name="T34" fmla="*/ 92 w 245"/>
                    <a:gd name="T35" fmla="*/ 163 h 212"/>
                    <a:gd name="T36" fmla="*/ 183 w 245"/>
                    <a:gd name="T37" fmla="*/ 163 h 212"/>
                    <a:gd name="T38" fmla="*/ 62 w 245"/>
                    <a:gd name="T39" fmla="*/ 196 h 212"/>
                    <a:gd name="T40" fmla="*/ 46 w 245"/>
                    <a:gd name="T41" fmla="*/ 163 h 212"/>
                    <a:gd name="T42" fmla="*/ 30 w 245"/>
                    <a:gd name="T43" fmla="*/ 179 h 212"/>
                    <a:gd name="T44" fmla="*/ 46 w 245"/>
                    <a:gd name="T45" fmla="*/ 212 h 212"/>
                    <a:gd name="T46" fmla="*/ 62 w 245"/>
                    <a:gd name="T47" fmla="*/ 196 h 212"/>
                    <a:gd name="T48" fmla="*/ 153 w 245"/>
                    <a:gd name="T49" fmla="*/ 179 h 212"/>
                    <a:gd name="T50" fmla="*/ 137 w 245"/>
                    <a:gd name="T51" fmla="*/ 163 h 212"/>
                    <a:gd name="T52" fmla="*/ 122 w 245"/>
                    <a:gd name="T53" fmla="*/ 196 h 212"/>
                    <a:gd name="T54" fmla="*/ 137 w 245"/>
                    <a:gd name="T55" fmla="*/ 212 h 212"/>
                    <a:gd name="T56" fmla="*/ 245 w 245"/>
                    <a:gd name="T57" fmla="*/ 196 h 212"/>
                    <a:gd name="T58" fmla="*/ 229 w 245"/>
                    <a:gd name="T59" fmla="*/ 163 h 212"/>
                    <a:gd name="T60" fmla="*/ 213 w 245"/>
                    <a:gd name="T61" fmla="*/ 179 h 212"/>
                    <a:gd name="T62" fmla="*/ 229 w 245"/>
                    <a:gd name="T63" fmla="*/ 212 h 212"/>
                    <a:gd name="T64" fmla="*/ 245 w 245"/>
                    <a:gd name="T65" fmla="*/ 196 h 212"/>
                    <a:gd name="T66" fmla="*/ 62 w 245"/>
                    <a:gd name="T67" fmla="*/ 131 h 212"/>
                    <a:gd name="T68" fmla="*/ 153 w 245"/>
                    <a:gd name="T69" fmla="*/ 131 h 212"/>
                    <a:gd name="T70" fmla="*/ 32 w 245"/>
                    <a:gd name="T71" fmla="*/ 98 h 212"/>
                    <a:gd name="T72" fmla="*/ 16 w 245"/>
                    <a:gd name="T73" fmla="*/ 83 h 212"/>
                    <a:gd name="T74" fmla="*/ 0 w 245"/>
                    <a:gd name="T75" fmla="*/ 116 h 212"/>
                    <a:gd name="T76" fmla="*/ 16 w 245"/>
                    <a:gd name="T77" fmla="*/ 132 h 212"/>
                    <a:gd name="T78" fmla="*/ 123 w 245"/>
                    <a:gd name="T79" fmla="*/ 116 h 212"/>
                    <a:gd name="T80" fmla="*/ 107 w 245"/>
                    <a:gd name="T81" fmla="*/ 83 h 212"/>
                    <a:gd name="T82" fmla="*/ 92 w 245"/>
                    <a:gd name="T83" fmla="*/ 98 h 212"/>
                    <a:gd name="T84" fmla="*/ 107 w 245"/>
                    <a:gd name="T85" fmla="*/ 132 h 212"/>
                    <a:gd name="T86" fmla="*/ 123 w 245"/>
                    <a:gd name="T87" fmla="*/ 116 h 212"/>
                    <a:gd name="T88" fmla="*/ 215 w 245"/>
                    <a:gd name="T89" fmla="*/ 98 h 212"/>
                    <a:gd name="T90" fmla="*/ 199 w 245"/>
                    <a:gd name="T91" fmla="*/ 83 h 212"/>
                    <a:gd name="T92" fmla="*/ 183 w 245"/>
                    <a:gd name="T93" fmla="*/ 116 h 212"/>
                    <a:gd name="T94" fmla="*/ 199 w 245"/>
                    <a:gd name="T95" fmla="*/ 132 h 212"/>
                    <a:gd name="T96" fmla="*/ 245 w 245"/>
                    <a:gd name="T97" fmla="*/ 83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45" h="212">
                      <a:moveTo>
                        <a:pt x="0" y="0"/>
                      </a:moveTo>
                      <a:cubicBezTo>
                        <a:pt x="0" y="48"/>
                        <a:pt x="0" y="48"/>
                        <a:pt x="0" y="48"/>
                      </a:cubicBezTo>
                      <a:moveTo>
                        <a:pt x="92" y="0"/>
                      </a:moveTo>
                      <a:cubicBezTo>
                        <a:pt x="92" y="48"/>
                        <a:pt x="92" y="48"/>
                        <a:pt x="92" y="48"/>
                      </a:cubicBezTo>
                      <a:moveTo>
                        <a:pt x="183" y="0"/>
                      </a:moveTo>
                      <a:cubicBezTo>
                        <a:pt x="183" y="48"/>
                        <a:pt x="183" y="48"/>
                        <a:pt x="183" y="48"/>
                      </a:cubicBezTo>
                      <a:moveTo>
                        <a:pt x="62" y="33"/>
                      </a:moveTo>
                      <a:cubicBezTo>
                        <a:pt x="62" y="15"/>
                        <a:pt x="62" y="15"/>
                        <a:pt x="62" y="15"/>
                      </a:cubicBezTo>
                      <a:cubicBezTo>
                        <a:pt x="62" y="7"/>
                        <a:pt x="55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37" y="0"/>
                        <a:pt x="30" y="7"/>
                        <a:pt x="30" y="15"/>
                      </a:cubicBezTo>
                      <a:cubicBezTo>
                        <a:pt x="30" y="33"/>
                        <a:pt x="30" y="33"/>
                        <a:pt x="30" y="33"/>
                      </a:cubicBezTo>
                      <a:cubicBezTo>
                        <a:pt x="30" y="41"/>
                        <a:pt x="37" y="49"/>
                        <a:pt x="46" y="49"/>
                      </a:cubicBezTo>
                      <a:cubicBezTo>
                        <a:pt x="46" y="49"/>
                        <a:pt x="46" y="49"/>
                        <a:pt x="46" y="49"/>
                      </a:cubicBezTo>
                      <a:cubicBezTo>
                        <a:pt x="55" y="49"/>
                        <a:pt x="62" y="41"/>
                        <a:pt x="62" y="33"/>
                      </a:cubicBezTo>
                      <a:close/>
                      <a:moveTo>
                        <a:pt x="153" y="33"/>
                      </a:moveTo>
                      <a:cubicBezTo>
                        <a:pt x="153" y="15"/>
                        <a:pt x="153" y="15"/>
                        <a:pt x="153" y="15"/>
                      </a:cubicBezTo>
                      <a:cubicBezTo>
                        <a:pt x="153" y="7"/>
                        <a:pt x="146" y="0"/>
                        <a:pt x="137" y="0"/>
                      </a:cubicBezTo>
                      <a:cubicBezTo>
                        <a:pt x="137" y="0"/>
                        <a:pt x="137" y="0"/>
                        <a:pt x="137" y="0"/>
                      </a:cubicBezTo>
                      <a:cubicBezTo>
                        <a:pt x="129" y="0"/>
                        <a:pt x="122" y="7"/>
                        <a:pt x="122" y="15"/>
                      </a:cubicBezTo>
                      <a:cubicBezTo>
                        <a:pt x="122" y="33"/>
                        <a:pt x="122" y="33"/>
                        <a:pt x="122" y="33"/>
                      </a:cubicBezTo>
                      <a:cubicBezTo>
                        <a:pt x="122" y="41"/>
                        <a:pt x="129" y="49"/>
                        <a:pt x="137" y="49"/>
                      </a:cubicBezTo>
                      <a:cubicBezTo>
                        <a:pt x="137" y="49"/>
                        <a:pt x="137" y="49"/>
                        <a:pt x="137" y="49"/>
                      </a:cubicBezTo>
                      <a:cubicBezTo>
                        <a:pt x="146" y="49"/>
                        <a:pt x="153" y="41"/>
                        <a:pt x="153" y="33"/>
                      </a:cubicBezTo>
                      <a:close/>
                      <a:moveTo>
                        <a:pt x="245" y="33"/>
                      </a:moveTo>
                      <a:cubicBezTo>
                        <a:pt x="245" y="15"/>
                        <a:pt x="245" y="15"/>
                        <a:pt x="245" y="15"/>
                      </a:cubicBezTo>
                      <a:cubicBezTo>
                        <a:pt x="245" y="7"/>
                        <a:pt x="237" y="0"/>
                        <a:pt x="229" y="0"/>
                      </a:cubicBezTo>
                      <a:cubicBezTo>
                        <a:pt x="229" y="0"/>
                        <a:pt x="229" y="0"/>
                        <a:pt x="229" y="0"/>
                      </a:cubicBezTo>
                      <a:cubicBezTo>
                        <a:pt x="220" y="0"/>
                        <a:pt x="213" y="7"/>
                        <a:pt x="213" y="15"/>
                      </a:cubicBezTo>
                      <a:cubicBezTo>
                        <a:pt x="213" y="33"/>
                        <a:pt x="213" y="33"/>
                        <a:pt x="213" y="33"/>
                      </a:cubicBezTo>
                      <a:cubicBezTo>
                        <a:pt x="213" y="41"/>
                        <a:pt x="220" y="49"/>
                        <a:pt x="229" y="49"/>
                      </a:cubicBezTo>
                      <a:cubicBezTo>
                        <a:pt x="229" y="49"/>
                        <a:pt x="229" y="49"/>
                        <a:pt x="229" y="49"/>
                      </a:cubicBezTo>
                      <a:cubicBezTo>
                        <a:pt x="237" y="49"/>
                        <a:pt x="245" y="41"/>
                        <a:pt x="245" y="33"/>
                      </a:cubicBezTo>
                      <a:close/>
                      <a:moveTo>
                        <a:pt x="0" y="163"/>
                      </a:moveTo>
                      <a:cubicBezTo>
                        <a:pt x="0" y="212"/>
                        <a:pt x="0" y="212"/>
                        <a:pt x="0" y="212"/>
                      </a:cubicBezTo>
                      <a:moveTo>
                        <a:pt x="92" y="163"/>
                      </a:moveTo>
                      <a:cubicBezTo>
                        <a:pt x="92" y="212"/>
                        <a:pt x="92" y="212"/>
                        <a:pt x="92" y="212"/>
                      </a:cubicBezTo>
                      <a:moveTo>
                        <a:pt x="183" y="163"/>
                      </a:moveTo>
                      <a:cubicBezTo>
                        <a:pt x="183" y="212"/>
                        <a:pt x="183" y="212"/>
                        <a:pt x="183" y="212"/>
                      </a:cubicBezTo>
                      <a:moveTo>
                        <a:pt x="62" y="196"/>
                      </a:moveTo>
                      <a:cubicBezTo>
                        <a:pt x="62" y="179"/>
                        <a:pt x="62" y="179"/>
                        <a:pt x="62" y="179"/>
                      </a:cubicBezTo>
                      <a:cubicBezTo>
                        <a:pt x="62" y="170"/>
                        <a:pt x="55" y="163"/>
                        <a:pt x="46" y="163"/>
                      </a:cubicBezTo>
                      <a:cubicBezTo>
                        <a:pt x="46" y="163"/>
                        <a:pt x="46" y="163"/>
                        <a:pt x="46" y="163"/>
                      </a:cubicBezTo>
                      <a:cubicBezTo>
                        <a:pt x="37" y="163"/>
                        <a:pt x="30" y="170"/>
                        <a:pt x="30" y="179"/>
                      </a:cubicBezTo>
                      <a:cubicBezTo>
                        <a:pt x="30" y="196"/>
                        <a:pt x="30" y="196"/>
                        <a:pt x="30" y="196"/>
                      </a:cubicBezTo>
                      <a:cubicBezTo>
                        <a:pt x="30" y="205"/>
                        <a:pt x="37" y="212"/>
                        <a:pt x="46" y="212"/>
                      </a:cubicBezTo>
                      <a:cubicBezTo>
                        <a:pt x="46" y="212"/>
                        <a:pt x="46" y="212"/>
                        <a:pt x="46" y="212"/>
                      </a:cubicBezTo>
                      <a:cubicBezTo>
                        <a:pt x="55" y="212"/>
                        <a:pt x="62" y="205"/>
                        <a:pt x="62" y="196"/>
                      </a:cubicBezTo>
                      <a:close/>
                      <a:moveTo>
                        <a:pt x="153" y="196"/>
                      </a:moveTo>
                      <a:cubicBezTo>
                        <a:pt x="153" y="179"/>
                        <a:pt x="153" y="179"/>
                        <a:pt x="153" y="179"/>
                      </a:cubicBezTo>
                      <a:cubicBezTo>
                        <a:pt x="153" y="170"/>
                        <a:pt x="146" y="163"/>
                        <a:pt x="137" y="163"/>
                      </a:cubicBezTo>
                      <a:cubicBezTo>
                        <a:pt x="137" y="163"/>
                        <a:pt x="137" y="163"/>
                        <a:pt x="137" y="163"/>
                      </a:cubicBezTo>
                      <a:cubicBezTo>
                        <a:pt x="129" y="163"/>
                        <a:pt x="122" y="170"/>
                        <a:pt x="122" y="179"/>
                      </a:cubicBezTo>
                      <a:cubicBezTo>
                        <a:pt x="122" y="196"/>
                        <a:pt x="122" y="196"/>
                        <a:pt x="122" y="196"/>
                      </a:cubicBezTo>
                      <a:cubicBezTo>
                        <a:pt x="122" y="205"/>
                        <a:pt x="129" y="212"/>
                        <a:pt x="137" y="212"/>
                      </a:cubicBezTo>
                      <a:cubicBezTo>
                        <a:pt x="137" y="212"/>
                        <a:pt x="137" y="212"/>
                        <a:pt x="137" y="212"/>
                      </a:cubicBezTo>
                      <a:cubicBezTo>
                        <a:pt x="146" y="212"/>
                        <a:pt x="153" y="205"/>
                        <a:pt x="153" y="196"/>
                      </a:cubicBezTo>
                      <a:close/>
                      <a:moveTo>
                        <a:pt x="245" y="196"/>
                      </a:moveTo>
                      <a:cubicBezTo>
                        <a:pt x="245" y="179"/>
                        <a:pt x="245" y="179"/>
                        <a:pt x="245" y="179"/>
                      </a:cubicBezTo>
                      <a:cubicBezTo>
                        <a:pt x="245" y="170"/>
                        <a:pt x="237" y="163"/>
                        <a:pt x="229" y="163"/>
                      </a:cubicBezTo>
                      <a:cubicBezTo>
                        <a:pt x="229" y="163"/>
                        <a:pt x="229" y="163"/>
                        <a:pt x="229" y="163"/>
                      </a:cubicBezTo>
                      <a:cubicBezTo>
                        <a:pt x="220" y="163"/>
                        <a:pt x="213" y="170"/>
                        <a:pt x="213" y="179"/>
                      </a:cubicBezTo>
                      <a:cubicBezTo>
                        <a:pt x="213" y="196"/>
                        <a:pt x="213" y="196"/>
                        <a:pt x="213" y="196"/>
                      </a:cubicBezTo>
                      <a:cubicBezTo>
                        <a:pt x="213" y="205"/>
                        <a:pt x="220" y="212"/>
                        <a:pt x="229" y="212"/>
                      </a:cubicBezTo>
                      <a:cubicBezTo>
                        <a:pt x="229" y="212"/>
                        <a:pt x="229" y="212"/>
                        <a:pt x="229" y="212"/>
                      </a:cubicBezTo>
                      <a:cubicBezTo>
                        <a:pt x="237" y="212"/>
                        <a:pt x="245" y="205"/>
                        <a:pt x="245" y="196"/>
                      </a:cubicBezTo>
                      <a:close/>
                      <a:moveTo>
                        <a:pt x="62" y="83"/>
                      </a:moveTo>
                      <a:cubicBezTo>
                        <a:pt x="62" y="131"/>
                        <a:pt x="62" y="131"/>
                        <a:pt x="62" y="131"/>
                      </a:cubicBezTo>
                      <a:moveTo>
                        <a:pt x="153" y="83"/>
                      </a:moveTo>
                      <a:cubicBezTo>
                        <a:pt x="153" y="131"/>
                        <a:pt x="153" y="131"/>
                        <a:pt x="153" y="131"/>
                      </a:cubicBezTo>
                      <a:moveTo>
                        <a:pt x="32" y="116"/>
                      </a:moveTo>
                      <a:cubicBezTo>
                        <a:pt x="32" y="98"/>
                        <a:pt x="32" y="98"/>
                        <a:pt x="32" y="98"/>
                      </a:cubicBezTo>
                      <a:cubicBezTo>
                        <a:pt x="32" y="90"/>
                        <a:pt x="25" y="83"/>
                        <a:pt x="16" y="83"/>
                      </a:cubicBezTo>
                      <a:cubicBezTo>
                        <a:pt x="16" y="83"/>
                        <a:pt x="16" y="83"/>
                        <a:pt x="16" y="83"/>
                      </a:cubicBezTo>
                      <a:cubicBezTo>
                        <a:pt x="7" y="83"/>
                        <a:pt x="0" y="90"/>
                        <a:pt x="0" y="98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24"/>
                        <a:pt x="7" y="132"/>
                        <a:pt x="16" y="132"/>
                      </a:cubicBezTo>
                      <a:cubicBezTo>
                        <a:pt x="16" y="132"/>
                        <a:pt x="16" y="132"/>
                        <a:pt x="16" y="132"/>
                      </a:cubicBezTo>
                      <a:cubicBezTo>
                        <a:pt x="25" y="132"/>
                        <a:pt x="32" y="124"/>
                        <a:pt x="32" y="116"/>
                      </a:cubicBezTo>
                      <a:close/>
                      <a:moveTo>
                        <a:pt x="123" y="116"/>
                      </a:moveTo>
                      <a:cubicBezTo>
                        <a:pt x="123" y="98"/>
                        <a:pt x="123" y="98"/>
                        <a:pt x="123" y="98"/>
                      </a:cubicBezTo>
                      <a:cubicBezTo>
                        <a:pt x="123" y="90"/>
                        <a:pt x="116" y="83"/>
                        <a:pt x="107" y="83"/>
                      </a:cubicBezTo>
                      <a:cubicBezTo>
                        <a:pt x="107" y="83"/>
                        <a:pt x="107" y="83"/>
                        <a:pt x="107" y="83"/>
                      </a:cubicBezTo>
                      <a:cubicBezTo>
                        <a:pt x="99" y="83"/>
                        <a:pt x="92" y="90"/>
                        <a:pt x="92" y="98"/>
                      </a:cubicBezTo>
                      <a:cubicBezTo>
                        <a:pt x="92" y="116"/>
                        <a:pt x="92" y="116"/>
                        <a:pt x="92" y="116"/>
                      </a:cubicBezTo>
                      <a:cubicBezTo>
                        <a:pt x="92" y="124"/>
                        <a:pt x="99" y="132"/>
                        <a:pt x="107" y="132"/>
                      </a:cubicBezTo>
                      <a:cubicBezTo>
                        <a:pt x="107" y="132"/>
                        <a:pt x="107" y="132"/>
                        <a:pt x="107" y="132"/>
                      </a:cubicBezTo>
                      <a:cubicBezTo>
                        <a:pt x="116" y="132"/>
                        <a:pt x="123" y="124"/>
                        <a:pt x="123" y="116"/>
                      </a:cubicBezTo>
                      <a:close/>
                      <a:moveTo>
                        <a:pt x="215" y="116"/>
                      </a:moveTo>
                      <a:cubicBezTo>
                        <a:pt x="215" y="98"/>
                        <a:pt x="215" y="98"/>
                        <a:pt x="215" y="98"/>
                      </a:cubicBezTo>
                      <a:cubicBezTo>
                        <a:pt x="215" y="90"/>
                        <a:pt x="207" y="83"/>
                        <a:pt x="199" y="83"/>
                      </a:cubicBezTo>
                      <a:cubicBezTo>
                        <a:pt x="199" y="83"/>
                        <a:pt x="199" y="83"/>
                        <a:pt x="199" y="83"/>
                      </a:cubicBezTo>
                      <a:cubicBezTo>
                        <a:pt x="190" y="83"/>
                        <a:pt x="183" y="90"/>
                        <a:pt x="183" y="98"/>
                      </a:cubicBezTo>
                      <a:cubicBezTo>
                        <a:pt x="183" y="116"/>
                        <a:pt x="183" y="116"/>
                        <a:pt x="183" y="116"/>
                      </a:cubicBezTo>
                      <a:cubicBezTo>
                        <a:pt x="183" y="124"/>
                        <a:pt x="190" y="132"/>
                        <a:pt x="199" y="132"/>
                      </a:cubicBezTo>
                      <a:cubicBezTo>
                        <a:pt x="199" y="132"/>
                        <a:pt x="199" y="132"/>
                        <a:pt x="199" y="132"/>
                      </a:cubicBezTo>
                      <a:cubicBezTo>
                        <a:pt x="207" y="132"/>
                        <a:pt x="215" y="124"/>
                        <a:pt x="215" y="116"/>
                      </a:cubicBezTo>
                      <a:close/>
                      <a:moveTo>
                        <a:pt x="245" y="83"/>
                      </a:moveTo>
                      <a:cubicBezTo>
                        <a:pt x="245" y="131"/>
                        <a:pt x="245" y="131"/>
                        <a:pt x="245" y="131"/>
                      </a:cubicBezTo>
                    </a:path>
                  </a:pathLst>
                </a:custGeom>
                <a:noFill/>
                <a:ln w="15875" cap="sq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5894A4F6-08A5-4FD2-B7CE-93742680FED1}"/>
                  </a:ext>
                </a:extLst>
              </p:cNvPr>
              <p:cNvSpPr/>
              <p:nvPr/>
            </p:nvSpPr>
            <p:spPr bwMode="auto">
              <a:xfrm>
                <a:off x="5651950" y="4072357"/>
                <a:ext cx="623938" cy="621612"/>
              </a:xfrm>
              <a:prstGeom prst="ellipse">
                <a:avLst/>
              </a:prstGeom>
              <a:solidFill>
                <a:srgbClr val="E6E6E6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6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40075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71" name="chip" title="Icon of a computer chip">
              <a:extLst>
                <a:ext uri="{FF2B5EF4-FFF2-40B4-BE49-F238E27FC236}">
                  <a16:creationId xmlns:a16="http://schemas.microsoft.com/office/drawing/2014/main" id="{34E22F66-0A45-4D5A-9BD9-8514E71EFFC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153189" y="4300215"/>
              <a:ext cx="358494" cy="365760"/>
            </a:xfrm>
            <a:custGeom>
              <a:avLst/>
              <a:gdLst>
                <a:gd name="T0" fmla="*/ 267 w 334"/>
                <a:gd name="T1" fmla="*/ 298 h 341"/>
                <a:gd name="T2" fmla="*/ 60 w 334"/>
                <a:gd name="T3" fmla="*/ 298 h 341"/>
                <a:gd name="T4" fmla="*/ 36 w 334"/>
                <a:gd name="T5" fmla="*/ 273 h 341"/>
                <a:gd name="T6" fmla="*/ 36 w 334"/>
                <a:gd name="T7" fmla="*/ 61 h 341"/>
                <a:gd name="T8" fmla="*/ 60 w 334"/>
                <a:gd name="T9" fmla="*/ 36 h 341"/>
                <a:gd name="T10" fmla="*/ 267 w 334"/>
                <a:gd name="T11" fmla="*/ 36 h 341"/>
                <a:gd name="T12" fmla="*/ 291 w 334"/>
                <a:gd name="T13" fmla="*/ 61 h 341"/>
                <a:gd name="T14" fmla="*/ 291 w 334"/>
                <a:gd name="T15" fmla="*/ 273 h 341"/>
                <a:gd name="T16" fmla="*/ 267 w 334"/>
                <a:gd name="T17" fmla="*/ 298 h 341"/>
                <a:gd name="T18" fmla="*/ 78 w 334"/>
                <a:gd name="T19" fmla="*/ 36 h 341"/>
                <a:gd name="T20" fmla="*/ 78 w 334"/>
                <a:gd name="T21" fmla="*/ 0 h 341"/>
                <a:gd name="T22" fmla="*/ 121 w 334"/>
                <a:gd name="T23" fmla="*/ 36 h 341"/>
                <a:gd name="T24" fmla="*/ 121 w 334"/>
                <a:gd name="T25" fmla="*/ 0 h 341"/>
                <a:gd name="T26" fmla="*/ 163 w 334"/>
                <a:gd name="T27" fmla="*/ 0 h 341"/>
                <a:gd name="T28" fmla="*/ 163 w 334"/>
                <a:gd name="T29" fmla="*/ 36 h 341"/>
                <a:gd name="T30" fmla="*/ 206 w 334"/>
                <a:gd name="T31" fmla="*/ 0 h 341"/>
                <a:gd name="T32" fmla="*/ 206 w 334"/>
                <a:gd name="T33" fmla="*/ 36 h 341"/>
                <a:gd name="T34" fmla="*/ 256 w 334"/>
                <a:gd name="T35" fmla="*/ 0 h 341"/>
                <a:gd name="T36" fmla="*/ 256 w 334"/>
                <a:gd name="T37" fmla="*/ 36 h 341"/>
                <a:gd name="T38" fmla="*/ 334 w 334"/>
                <a:gd name="T39" fmla="*/ 78 h 341"/>
                <a:gd name="T40" fmla="*/ 291 w 334"/>
                <a:gd name="T41" fmla="*/ 78 h 341"/>
                <a:gd name="T42" fmla="*/ 334 w 334"/>
                <a:gd name="T43" fmla="*/ 121 h 341"/>
                <a:gd name="T44" fmla="*/ 291 w 334"/>
                <a:gd name="T45" fmla="*/ 121 h 341"/>
                <a:gd name="T46" fmla="*/ 334 w 334"/>
                <a:gd name="T47" fmla="*/ 163 h 341"/>
                <a:gd name="T48" fmla="*/ 291 w 334"/>
                <a:gd name="T49" fmla="*/ 163 h 341"/>
                <a:gd name="T50" fmla="*/ 334 w 334"/>
                <a:gd name="T51" fmla="*/ 213 h 341"/>
                <a:gd name="T52" fmla="*/ 291 w 334"/>
                <a:gd name="T53" fmla="*/ 213 h 341"/>
                <a:gd name="T54" fmla="*/ 334 w 334"/>
                <a:gd name="T55" fmla="*/ 256 h 341"/>
                <a:gd name="T56" fmla="*/ 291 w 334"/>
                <a:gd name="T57" fmla="*/ 256 h 341"/>
                <a:gd name="T58" fmla="*/ 36 w 334"/>
                <a:gd name="T59" fmla="*/ 78 h 341"/>
                <a:gd name="T60" fmla="*/ 0 w 334"/>
                <a:gd name="T61" fmla="*/ 78 h 341"/>
                <a:gd name="T62" fmla="*/ 36 w 334"/>
                <a:gd name="T63" fmla="*/ 121 h 341"/>
                <a:gd name="T64" fmla="*/ 0 w 334"/>
                <a:gd name="T65" fmla="*/ 121 h 341"/>
                <a:gd name="T66" fmla="*/ 36 w 334"/>
                <a:gd name="T67" fmla="*/ 163 h 341"/>
                <a:gd name="T68" fmla="*/ 0 w 334"/>
                <a:gd name="T69" fmla="*/ 163 h 341"/>
                <a:gd name="T70" fmla="*/ 36 w 334"/>
                <a:gd name="T71" fmla="*/ 213 h 341"/>
                <a:gd name="T72" fmla="*/ 0 w 334"/>
                <a:gd name="T73" fmla="*/ 213 h 341"/>
                <a:gd name="T74" fmla="*/ 36 w 334"/>
                <a:gd name="T75" fmla="*/ 256 h 341"/>
                <a:gd name="T76" fmla="*/ 0 w 334"/>
                <a:gd name="T77" fmla="*/ 256 h 341"/>
                <a:gd name="T78" fmla="*/ 78 w 334"/>
                <a:gd name="T79" fmla="*/ 298 h 341"/>
                <a:gd name="T80" fmla="*/ 78 w 334"/>
                <a:gd name="T81" fmla="*/ 341 h 341"/>
                <a:gd name="T82" fmla="*/ 121 w 334"/>
                <a:gd name="T83" fmla="*/ 298 h 341"/>
                <a:gd name="T84" fmla="*/ 121 w 334"/>
                <a:gd name="T85" fmla="*/ 341 h 341"/>
                <a:gd name="T86" fmla="*/ 163 w 334"/>
                <a:gd name="T87" fmla="*/ 341 h 341"/>
                <a:gd name="T88" fmla="*/ 163 w 334"/>
                <a:gd name="T89" fmla="*/ 298 h 341"/>
                <a:gd name="T90" fmla="*/ 206 w 334"/>
                <a:gd name="T91" fmla="*/ 298 h 341"/>
                <a:gd name="T92" fmla="*/ 206 w 334"/>
                <a:gd name="T93" fmla="*/ 341 h 341"/>
                <a:gd name="T94" fmla="*/ 256 w 334"/>
                <a:gd name="T95" fmla="*/ 298 h 341"/>
                <a:gd name="T96" fmla="*/ 256 w 334"/>
                <a:gd name="T9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4" h="341">
                  <a:moveTo>
                    <a:pt x="267" y="298"/>
                  </a:moveTo>
                  <a:cubicBezTo>
                    <a:pt x="60" y="298"/>
                    <a:pt x="60" y="298"/>
                    <a:pt x="60" y="298"/>
                  </a:cubicBezTo>
                  <a:cubicBezTo>
                    <a:pt x="48" y="298"/>
                    <a:pt x="36" y="286"/>
                    <a:pt x="36" y="273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45"/>
                    <a:pt x="48" y="36"/>
                    <a:pt x="60" y="36"/>
                  </a:cubicBezTo>
                  <a:cubicBezTo>
                    <a:pt x="267" y="36"/>
                    <a:pt x="267" y="36"/>
                    <a:pt x="267" y="36"/>
                  </a:cubicBezTo>
                  <a:cubicBezTo>
                    <a:pt x="282" y="36"/>
                    <a:pt x="291" y="45"/>
                    <a:pt x="291" y="61"/>
                  </a:cubicBezTo>
                  <a:cubicBezTo>
                    <a:pt x="291" y="273"/>
                    <a:pt x="291" y="273"/>
                    <a:pt x="291" y="273"/>
                  </a:cubicBezTo>
                  <a:cubicBezTo>
                    <a:pt x="291" y="286"/>
                    <a:pt x="282" y="298"/>
                    <a:pt x="267" y="298"/>
                  </a:cubicBezTo>
                  <a:close/>
                  <a:moveTo>
                    <a:pt x="78" y="36"/>
                  </a:moveTo>
                  <a:cubicBezTo>
                    <a:pt x="78" y="0"/>
                    <a:pt x="78" y="0"/>
                    <a:pt x="78" y="0"/>
                  </a:cubicBezTo>
                  <a:moveTo>
                    <a:pt x="121" y="36"/>
                  </a:moveTo>
                  <a:cubicBezTo>
                    <a:pt x="121" y="0"/>
                    <a:pt x="121" y="0"/>
                    <a:pt x="121" y="0"/>
                  </a:cubicBezTo>
                  <a:moveTo>
                    <a:pt x="163" y="0"/>
                  </a:moveTo>
                  <a:cubicBezTo>
                    <a:pt x="163" y="36"/>
                    <a:pt x="163" y="36"/>
                    <a:pt x="163" y="36"/>
                  </a:cubicBezTo>
                  <a:moveTo>
                    <a:pt x="206" y="0"/>
                  </a:moveTo>
                  <a:cubicBezTo>
                    <a:pt x="206" y="36"/>
                    <a:pt x="206" y="36"/>
                    <a:pt x="206" y="36"/>
                  </a:cubicBezTo>
                  <a:moveTo>
                    <a:pt x="256" y="0"/>
                  </a:moveTo>
                  <a:cubicBezTo>
                    <a:pt x="256" y="36"/>
                    <a:pt x="256" y="36"/>
                    <a:pt x="256" y="36"/>
                  </a:cubicBezTo>
                  <a:moveTo>
                    <a:pt x="334" y="78"/>
                  </a:moveTo>
                  <a:cubicBezTo>
                    <a:pt x="291" y="78"/>
                    <a:pt x="291" y="78"/>
                    <a:pt x="291" y="78"/>
                  </a:cubicBezTo>
                  <a:moveTo>
                    <a:pt x="334" y="121"/>
                  </a:moveTo>
                  <a:cubicBezTo>
                    <a:pt x="291" y="121"/>
                    <a:pt x="291" y="121"/>
                    <a:pt x="291" y="121"/>
                  </a:cubicBezTo>
                  <a:moveTo>
                    <a:pt x="334" y="163"/>
                  </a:moveTo>
                  <a:cubicBezTo>
                    <a:pt x="291" y="163"/>
                    <a:pt x="291" y="163"/>
                    <a:pt x="291" y="163"/>
                  </a:cubicBezTo>
                  <a:moveTo>
                    <a:pt x="334" y="213"/>
                  </a:moveTo>
                  <a:cubicBezTo>
                    <a:pt x="291" y="213"/>
                    <a:pt x="291" y="213"/>
                    <a:pt x="291" y="213"/>
                  </a:cubicBezTo>
                  <a:moveTo>
                    <a:pt x="334" y="256"/>
                  </a:moveTo>
                  <a:cubicBezTo>
                    <a:pt x="291" y="256"/>
                    <a:pt x="291" y="256"/>
                    <a:pt x="291" y="256"/>
                  </a:cubicBezTo>
                  <a:moveTo>
                    <a:pt x="36" y="78"/>
                  </a:moveTo>
                  <a:cubicBezTo>
                    <a:pt x="0" y="78"/>
                    <a:pt x="0" y="78"/>
                    <a:pt x="0" y="78"/>
                  </a:cubicBezTo>
                  <a:moveTo>
                    <a:pt x="36" y="121"/>
                  </a:moveTo>
                  <a:cubicBezTo>
                    <a:pt x="0" y="121"/>
                    <a:pt x="0" y="121"/>
                    <a:pt x="0" y="121"/>
                  </a:cubicBezTo>
                  <a:moveTo>
                    <a:pt x="36" y="163"/>
                  </a:moveTo>
                  <a:cubicBezTo>
                    <a:pt x="0" y="163"/>
                    <a:pt x="0" y="163"/>
                    <a:pt x="0" y="163"/>
                  </a:cubicBezTo>
                  <a:moveTo>
                    <a:pt x="36" y="213"/>
                  </a:moveTo>
                  <a:cubicBezTo>
                    <a:pt x="0" y="213"/>
                    <a:pt x="0" y="213"/>
                    <a:pt x="0" y="213"/>
                  </a:cubicBezTo>
                  <a:moveTo>
                    <a:pt x="36" y="256"/>
                  </a:moveTo>
                  <a:cubicBezTo>
                    <a:pt x="0" y="256"/>
                    <a:pt x="0" y="256"/>
                    <a:pt x="0" y="256"/>
                  </a:cubicBezTo>
                  <a:moveTo>
                    <a:pt x="78" y="298"/>
                  </a:moveTo>
                  <a:cubicBezTo>
                    <a:pt x="78" y="341"/>
                    <a:pt x="78" y="341"/>
                    <a:pt x="78" y="341"/>
                  </a:cubicBezTo>
                  <a:moveTo>
                    <a:pt x="121" y="298"/>
                  </a:moveTo>
                  <a:cubicBezTo>
                    <a:pt x="121" y="341"/>
                    <a:pt x="121" y="341"/>
                    <a:pt x="121" y="341"/>
                  </a:cubicBezTo>
                  <a:moveTo>
                    <a:pt x="163" y="341"/>
                  </a:moveTo>
                  <a:cubicBezTo>
                    <a:pt x="163" y="298"/>
                    <a:pt x="163" y="298"/>
                    <a:pt x="163" y="298"/>
                  </a:cubicBezTo>
                  <a:moveTo>
                    <a:pt x="206" y="298"/>
                  </a:moveTo>
                  <a:cubicBezTo>
                    <a:pt x="206" y="341"/>
                    <a:pt x="206" y="341"/>
                    <a:pt x="206" y="341"/>
                  </a:cubicBezTo>
                  <a:moveTo>
                    <a:pt x="256" y="298"/>
                  </a:moveTo>
                  <a:cubicBezTo>
                    <a:pt x="256" y="341"/>
                    <a:pt x="256" y="341"/>
                    <a:pt x="256" y="341"/>
                  </a:cubicBezTo>
                </a:path>
              </a:pathLst>
            </a:custGeom>
            <a:noFill/>
            <a:ln w="15875" cap="sq">
              <a:solidFill>
                <a:srgbClr val="0078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brain_3" title="Icon of a brain">
              <a:extLst>
                <a:ext uri="{FF2B5EF4-FFF2-40B4-BE49-F238E27FC236}">
                  <a16:creationId xmlns:a16="http://schemas.microsoft.com/office/drawing/2014/main" id="{7CC35590-5925-43DC-84B2-714E44477D2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700069" y="4110798"/>
              <a:ext cx="510235" cy="548640"/>
            </a:xfrm>
            <a:custGeom>
              <a:avLst/>
              <a:gdLst>
                <a:gd name="T0" fmla="*/ 68 w 315"/>
                <a:gd name="T1" fmla="*/ 292 h 338"/>
                <a:gd name="T2" fmla="*/ 24 w 315"/>
                <a:gd name="T3" fmla="*/ 231 h 338"/>
                <a:gd name="T4" fmla="*/ 28 w 315"/>
                <a:gd name="T5" fmla="*/ 126 h 338"/>
                <a:gd name="T6" fmla="*/ 68 w 315"/>
                <a:gd name="T7" fmla="*/ 46 h 338"/>
                <a:gd name="T8" fmla="*/ 113 w 315"/>
                <a:gd name="T9" fmla="*/ 0 h 338"/>
                <a:gd name="T10" fmla="*/ 158 w 315"/>
                <a:gd name="T11" fmla="*/ 293 h 338"/>
                <a:gd name="T12" fmla="*/ 248 w 315"/>
                <a:gd name="T13" fmla="*/ 292 h 338"/>
                <a:gd name="T14" fmla="*/ 292 w 315"/>
                <a:gd name="T15" fmla="*/ 231 h 338"/>
                <a:gd name="T16" fmla="*/ 287 w 315"/>
                <a:gd name="T17" fmla="*/ 126 h 338"/>
                <a:gd name="T18" fmla="*/ 248 w 315"/>
                <a:gd name="T19" fmla="*/ 46 h 338"/>
                <a:gd name="T20" fmla="*/ 203 w 315"/>
                <a:gd name="T21" fmla="*/ 0 h 338"/>
                <a:gd name="T22" fmla="*/ 158 w 315"/>
                <a:gd name="T23" fmla="*/ 293 h 338"/>
                <a:gd name="T24" fmla="*/ 90 w 315"/>
                <a:gd name="T25" fmla="*/ 293 h 338"/>
                <a:gd name="T26" fmla="*/ 248 w 315"/>
                <a:gd name="T27" fmla="*/ 293 h 338"/>
                <a:gd name="T28" fmla="*/ 68 w 315"/>
                <a:gd name="T29" fmla="*/ 180 h 338"/>
                <a:gd name="T30" fmla="*/ 90 w 315"/>
                <a:gd name="T31" fmla="*/ 203 h 338"/>
                <a:gd name="T32" fmla="*/ 158 w 315"/>
                <a:gd name="T33" fmla="*/ 225 h 338"/>
                <a:gd name="T34" fmla="*/ 225 w 315"/>
                <a:gd name="T35" fmla="*/ 203 h 338"/>
                <a:gd name="T36" fmla="*/ 248 w 315"/>
                <a:gd name="T37" fmla="*/ 180 h 338"/>
                <a:gd name="T38" fmla="*/ 79 w 315"/>
                <a:gd name="T39" fmla="*/ 90 h 338"/>
                <a:gd name="T40" fmla="*/ 113 w 315"/>
                <a:gd name="T41" fmla="*/ 113 h 338"/>
                <a:gd name="T42" fmla="*/ 135 w 315"/>
                <a:gd name="T43" fmla="*/ 135 h 338"/>
                <a:gd name="T44" fmla="*/ 203 w 315"/>
                <a:gd name="T45" fmla="*/ 113 h 338"/>
                <a:gd name="T46" fmla="*/ 225 w 315"/>
                <a:gd name="T47" fmla="*/ 90 h 338"/>
                <a:gd name="T48" fmla="*/ 24 w 315"/>
                <a:gd name="T49" fmla="*/ 231 h 338"/>
                <a:gd name="T50" fmla="*/ 248 w 315"/>
                <a:gd name="T51" fmla="*/ 248 h 338"/>
                <a:gd name="T52" fmla="*/ 28 w 315"/>
                <a:gd name="T53" fmla="*/ 126 h 338"/>
                <a:gd name="T54" fmla="*/ 243 w 315"/>
                <a:gd name="T55" fmla="*/ 126 h 338"/>
                <a:gd name="T56" fmla="*/ 68 w 315"/>
                <a:gd name="T57" fmla="*/ 45 h 338"/>
                <a:gd name="T58" fmla="*/ 248 w 315"/>
                <a:gd name="T59" fmla="*/ 45 h 338"/>
                <a:gd name="T60" fmla="*/ 135 w 315"/>
                <a:gd name="T61" fmla="*/ 293 h 338"/>
                <a:gd name="T62" fmla="*/ 68 w 315"/>
                <a:gd name="T63" fmla="*/ 293 h 338"/>
                <a:gd name="T64" fmla="*/ 101 w 315"/>
                <a:gd name="T65" fmla="*/ 338 h 338"/>
                <a:gd name="T66" fmla="*/ 158 w 315"/>
                <a:gd name="T67" fmla="*/ 315 h 338"/>
                <a:gd name="T68" fmla="*/ 158 w 315"/>
                <a:gd name="T69" fmla="*/ 293 h 338"/>
                <a:gd name="T70" fmla="*/ 180 w 315"/>
                <a:gd name="T71" fmla="*/ 338 h 338"/>
                <a:gd name="T72" fmla="*/ 248 w 315"/>
                <a:gd name="T73" fmla="*/ 304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5" h="338">
                  <a:moveTo>
                    <a:pt x="68" y="293"/>
                  </a:moveTo>
                  <a:cubicBezTo>
                    <a:pt x="68" y="293"/>
                    <a:pt x="68" y="292"/>
                    <a:pt x="68" y="292"/>
                  </a:cubicBezTo>
                  <a:cubicBezTo>
                    <a:pt x="42" y="289"/>
                    <a:pt x="23" y="268"/>
                    <a:pt x="23" y="242"/>
                  </a:cubicBezTo>
                  <a:cubicBezTo>
                    <a:pt x="23" y="238"/>
                    <a:pt x="23" y="235"/>
                    <a:pt x="24" y="231"/>
                  </a:cubicBezTo>
                  <a:cubicBezTo>
                    <a:pt x="10" y="219"/>
                    <a:pt x="0" y="201"/>
                    <a:pt x="0" y="180"/>
                  </a:cubicBezTo>
                  <a:cubicBezTo>
                    <a:pt x="0" y="158"/>
                    <a:pt x="11" y="138"/>
                    <a:pt x="28" y="126"/>
                  </a:cubicBezTo>
                  <a:cubicBezTo>
                    <a:pt x="25" y="118"/>
                    <a:pt x="23" y="110"/>
                    <a:pt x="23" y="102"/>
                  </a:cubicBezTo>
                  <a:cubicBezTo>
                    <a:pt x="23" y="74"/>
                    <a:pt x="42" y="52"/>
                    <a:pt x="68" y="46"/>
                  </a:cubicBezTo>
                  <a:cubicBezTo>
                    <a:pt x="68" y="46"/>
                    <a:pt x="68" y="46"/>
                    <a:pt x="68" y="45"/>
                  </a:cubicBezTo>
                  <a:cubicBezTo>
                    <a:pt x="68" y="20"/>
                    <a:pt x="88" y="0"/>
                    <a:pt x="113" y="0"/>
                  </a:cubicBezTo>
                  <a:cubicBezTo>
                    <a:pt x="138" y="0"/>
                    <a:pt x="158" y="20"/>
                    <a:pt x="158" y="45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248" y="293"/>
                  </a:moveTo>
                  <a:cubicBezTo>
                    <a:pt x="248" y="293"/>
                    <a:pt x="248" y="292"/>
                    <a:pt x="248" y="292"/>
                  </a:cubicBezTo>
                  <a:cubicBezTo>
                    <a:pt x="273" y="289"/>
                    <a:pt x="293" y="268"/>
                    <a:pt x="293" y="242"/>
                  </a:cubicBezTo>
                  <a:cubicBezTo>
                    <a:pt x="293" y="238"/>
                    <a:pt x="292" y="235"/>
                    <a:pt x="292" y="231"/>
                  </a:cubicBezTo>
                  <a:cubicBezTo>
                    <a:pt x="306" y="219"/>
                    <a:pt x="315" y="201"/>
                    <a:pt x="315" y="180"/>
                  </a:cubicBezTo>
                  <a:cubicBezTo>
                    <a:pt x="315" y="158"/>
                    <a:pt x="304" y="138"/>
                    <a:pt x="287" y="126"/>
                  </a:cubicBezTo>
                  <a:cubicBezTo>
                    <a:pt x="291" y="118"/>
                    <a:pt x="293" y="110"/>
                    <a:pt x="293" y="102"/>
                  </a:cubicBezTo>
                  <a:cubicBezTo>
                    <a:pt x="293" y="74"/>
                    <a:pt x="273" y="52"/>
                    <a:pt x="248" y="46"/>
                  </a:cubicBezTo>
                  <a:cubicBezTo>
                    <a:pt x="248" y="46"/>
                    <a:pt x="248" y="46"/>
                    <a:pt x="248" y="45"/>
                  </a:cubicBezTo>
                  <a:cubicBezTo>
                    <a:pt x="248" y="20"/>
                    <a:pt x="228" y="0"/>
                    <a:pt x="203" y="0"/>
                  </a:cubicBezTo>
                  <a:cubicBezTo>
                    <a:pt x="178" y="0"/>
                    <a:pt x="158" y="20"/>
                    <a:pt x="158" y="45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68" y="293"/>
                  </a:moveTo>
                  <a:cubicBezTo>
                    <a:pt x="90" y="293"/>
                    <a:pt x="90" y="293"/>
                    <a:pt x="90" y="293"/>
                  </a:cubicBezTo>
                  <a:moveTo>
                    <a:pt x="225" y="293"/>
                  </a:moveTo>
                  <a:cubicBezTo>
                    <a:pt x="248" y="293"/>
                    <a:pt x="248" y="293"/>
                    <a:pt x="248" y="293"/>
                  </a:cubicBezTo>
                  <a:moveTo>
                    <a:pt x="56" y="180"/>
                  </a:moveTo>
                  <a:cubicBezTo>
                    <a:pt x="68" y="180"/>
                    <a:pt x="68" y="180"/>
                    <a:pt x="68" y="180"/>
                  </a:cubicBezTo>
                  <a:cubicBezTo>
                    <a:pt x="80" y="180"/>
                    <a:pt x="90" y="190"/>
                    <a:pt x="90" y="203"/>
                  </a:cubicBezTo>
                  <a:cubicBezTo>
                    <a:pt x="90" y="203"/>
                    <a:pt x="90" y="203"/>
                    <a:pt x="90" y="203"/>
                  </a:cubicBezTo>
                  <a:cubicBezTo>
                    <a:pt x="90" y="215"/>
                    <a:pt x="100" y="225"/>
                    <a:pt x="113" y="225"/>
                  </a:cubicBezTo>
                  <a:cubicBezTo>
                    <a:pt x="158" y="225"/>
                    <a:pt x="158" y="225"/>
                    <a:pt x="158" y="225"/>
                  </a:cubicBezTo>
                  <a:cubicBezTo>
                    <a:pt x="203" y="225"/>
                    <a:pt x="203" y="225"/>
                    <a:pt x="203" y="225"/>
                  </a:cubicBezTo>
                  <a:cubicBezTo>
                    <a:pt x="215" y="225"/>
                    <a:pt x="225" y="215"/>
                    <a:pt x="225" y="203"/>
                  </a:cubicBezTo>
                  <a:cubicBezTo>
                    <a:pt x="225" y="203"/>
                    <a:pt x="225" y="203"/>
                    <a:pt x="225" y="203"/>
                  </a:cubicBezTo>
                  <a:cubicBezTo>
                    <a:pt x="225" y="190"/>
                    <a:pt x="235" y="180"/>
                    <a:pt x="248" y="180"/>
                  </a:cubicBezTo>
                  <a:cubicBezTo>
                    <a:pt x="259" y="180"/>
                    <a:pt x="259" y="180"/>
                    <a:pt x="259" y="180"/>
                  </a:cubicBezTo>
                  <a:moveTo>
                    <a:pt x="79" y="90"/>
                  </a:moveTo>
                  <a:cubicBezTo>
                    <a:pt x="90" y="90"/>
                    <a:pt x="90" y="90"/>
                    <a:pt x="90" y="90"/>
                  </a:cubicBezTo>
                  <a:cubicBezTo>
                    <a:pt x="103" y="90"/>
                    <a:pt x="113" y="100"/>
                    <a:pt x="113" y="113"/>
                  </a:cubicBezTo>
                  <a:cubicBezTo>
                    <a:pt x="113" y="113"/>
                    <a:pt x="113" y="113"/>
                    <a:pt x="113" y="113"/>
                  </a:cubicBezTo>
                  <a:cubicBezTo>
                    <a:pt x="113" y="125"/>
                    <a:pt x="123" y="135"/>
                    <a:pt x="135" y="135"/>
                  </a:cubicBezTo>
                  <a:cubicBezTo>
                    <a:pt x="180" y="135"/>
                    <a:pt x="180" y="135"/>
                    <a:pt x="180" y="135"/>
                  </a:cubicBezTo>
                  <a:cubicBezTo>
                    <a:pt x="193" y="135"/>
                    <a:pt x="203" y="125"/>
                    <a:pt x="203" y="113"/>
                  </a:cubicBezTo>
                  <a:cubicBezTo>
                    <a:pt x="203" y="113"/>
                    <a:pt x="203" y="113"/>
                    <a:pt x="203" y="113"/>
                  </a:cubicBezTo>
                  <a:cubicBezTo>
                    <a:pt x="203" y="100"/>
                    <a:pt x="213" y="90"/>
                    <a:pt x="225" y="90"/>
                  </a:cubicBezTo>
                  <a:cubicBezTo>
                    <a:pt x="236" y="90"/>
                    <a:pt x="236" y="90"/>
                    <a:pt x="236" y="90"/>
                  </a:cubicBezTo>
                  <a:moveTo>
                    <a:pt x="24" y="231"/>
                  </a:moveTo>
                  <a:cubicBezTo>
                    <a:pt x="36" y="242"/>
                    <a:pt x="51" y="248"/>
                    <a:pt x="68" y="248"/>
                  </a:cubicBezTo>
                  <a:moveTo>
                    <a:pt x="248" y="248"/>
                  </a:moveTo>
                  <a:cubicBezTo>
                    <a:pt x="265" y="248"/>
                    <a:pt x="280" y="242"/>
                    <a:pt x="292" y="231"/>
                  </a:cubicBezTo>
                  <a:moveTo>
                    <a:pt x="28" y="126"/>
                  </a:moveTo>
                  <a:cubicBezTo>
                    <a:pt x="73" y="126"/>
                    <a:pt x="73" y="126"/>
                    <a:pt x="73" y="126"/>
                  </a:cubicBezTo>
                  <a:moveTo>
                    <a:pt x="243" y="126"/>
                  </a:moveTo>
                  <a:cubicBezTo>
                    <a:pt x="288" y="126"/>
                    <a:pt x="288" y="126"/>
                    <a:pt x="288" y="126"/>
                  </a:cubicBezTo>
                  <a:moveTo>
                    <a:pt x="68" y="45"/>
                  </a:moveTo>
                  <a:cubicBezTo>
                    <a:pt x="101" y="45"/>
                    <a:pt x="101" y="45"/>
                    <a:pt x="101" y="45"/>
                  </a:cubicBezTo>
                  <a:moveTo>
                    <a:pt x="248" y="45"/>
                  </a:moveTo>
                  <a:cubicBezTo>
                    <a:pt x="214" y="45"/>
                    <a:pt x="214" y="45"/>
                    <a:pt x="214" y="45"/>
                  </a:cubicBezTo>
                  <a:moveTo>
                    <a:pt x="135" y="293"/>
                  </a:moveTo>
                  <a:cubicBezTo>
                    <a:pt x="180" y="293"/>
                    <a:pt x="180" y="293"/>
                    <a:pt x="180" y="293"/>
                  </a:cubicBezTo>
                  <a:moveTo>
                    <a:pt x="68" y="293"/>
                  </a:moveTo>
                  <a:cubicBezTo>
                    <a:pt x="68" y="304"/>
                    <a:pt x="68" y="304"/>
                    <a:pt x="68" y="304"/>
                  </a:cubicBezTo>
                  <a:cubicBezTo>
                    <a:pt x="68" y="323"/>
                    <a:pt x="83" y="338"/>
                    <a:pt x="101" y="338"/>
                  </a:cubicBezTo>
                  <a:cubicBezTo>
                    <a:pt x="135" y="338"/>
                    <a:pt x="135" y="338"/>
                    <a:pt x="135" y="338"/>
                  </a:cubicBezTo>
                  <a:cubicBezTo>
                    <a:pt x="148" y="338"/>
                    <a:pt x="158" y="328"/>
                    <a:pt x="158" y="315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158" y="293"/>
                  </a:moveTo>
                  <a:cubicBezTo>
                    <a:pt x="158" y="315"/>
                    <a:pt x="158" y="315"/>
                    <a:pt x="158" y="315"/>
                  </a:cubicBezTo>
                  <a:cubicBezTo>
                    <a:pt x="158" y="328"/>
                    <a:pt x="168" y="338"/>
                    <a:pt x="180" y="338"/>
                  </a:cubicBezTo>
                  <a:cubicBezTo>
                    <a:pt x="214" y="338"/>
                    <a:pt x="214" y="338"/>
                    <a:pt x="214" y="338"/>
                  </a:cubicBezTo>
                  <a:cubicBezTo>
                    <a:pt x="233" y="338"/>
                    <a:pt x="248" y="323"/>
                    <a:pt x="248" y="304"/>
                  </a:cubicBezTo>
                  <a:cubicBezTo>
                    <a:pt x="248" y="293"/>
                    <a:pt x="248" y="293"/>
                    <a:pt x="248" y="293"/>
                  </a:cubicBezTo>
                </a:path>
              </a:pathLst>
            </a:custGeom>
            <a:noFill/>
            <a:ln w="15875" cap="flat">
              <a:solidFill>
                <a:srgbClr val="0078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A759B7D-D552-44AE-9F34-973883BB433F}"/>
              </a:ext>
            </a:extLst>
          </p:cNvPr>
          <p:cNvCxnSpPr>
            <a:cxnSpLocks/>
          </p:cNvCxnSpPr>
          <p:nvPr/>
        </p:nvCxnSpPr>
        <p:spPr>
          <a:xfrm flipH="1" flipV="1">
            <a:off x="2347583" y="1982393"/>
            <a:ext cx="2" cy="22964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31ADD92C-7445-4EE5-99C5-EA43466A95AD}"/>
              </a:ext>
            </a:extLst>
          </p:cNvPr>
          <p:cNvSpPr txBox="1"/>
          <p:nvPr/>
        </p:nvSpPr>
        <p:spPr>
          <a:xfrm>
            <a:off x="610223" y="2261474"/>
            <a:ext cx="3474720" cy="1123384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49" normalizeH="0" baseline="0" noProof="0" dirty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Digital agents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ransform your engagement with customers and employees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86C693E-9249-4FB9-A50E-230A89ECC41C}"/>
              </a:ext>
            </a:extLst>
          </p:cNvPr>
          <p:cNvCxnSpPr>
            <a:cxnSpLocks/>
          </p:cNvCxnSpPr>
          <p:nvPr/>
        </p:nvCxnSpPr>
        <p:spPr>
          <a:xfrm rot="5400000">
            <a:off x="2347583" y="493168"/>
            <a:ext cx="0" cy="347472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9A016725-136E-4D35-9531-4E291D35D423}"/>
              </a:ext>
            </a:extLst>
          </p:cNvPr>
          <p:cNvSpPr/>
          <p:nvPr/>
        </p:nvSpPr>
        <p:spPr bwMode="auto">
          <a:xfrm rot="5400000">
            <a:off x="1900245" y="1080692"/>
            <a:ext cx="894677" cy="894677"/>
          </a:xfrm>
          <a:prstGeom prst="ellipse">
            <a:avLst/>
          </a:prstGeom>
          <a:noFill/>
          <a:ln w="635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DBC0A77-ED89-4BA3-B7BA-478DB2F09880}"/>
              </a:ext>
            </a:extLst>
          </p:cNvPr>
          <p:cNvCxnSpPr>
            <a:cxnSpLocks/>
          </p:cNvCxnSpPr>
          <p:nvPr/>
        </p:nvCxnSpPr>
        <p:spPr>
          <a:xfrm rot="5400000">
            <a:off x="2347583" y="1951073"/>
            <a:ext cx="0" cy="558908"/>
          </a:xfrm>
          <a:prstGeom prst="line">
            <a:avLst/>
          </a:prstGeom>
          <a:ln w="47625">
            <a:solidFill>
              <a:schemeClr val="accent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3D9686C4-28E5-462E-97AD-0B63AD6C7D1B}"/>
              </a:ext>
            </a:extLst>
          </p:cNvPr>
          <p:cNvSpPr txBox="1"/>
          <p:nvPr/>
        </p:nvSpPr>
        <p:spPr>
          <a:xfrm>
            <a:off x="4377785" y="2261474"/>
            <a:ext cx="3474720" cy="1123384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49" normalizeH="0" baseline="0" noProof="0" dirty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Intelligent apps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Leverage AI to create the future business applications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9BFF953-322C-4755-A108-F0431DFE7452}"/>
              </a:ext>
            </a:extLst>
          </p:cNvPr>
          <p:cNvCxnSpPr>
            <a:cxnSpLocks/>
          </p:cNvCxnSpPr>
          <p:nvPr/>
        </p:nvCxnSpPr>
        <p:spPr>
          <a:xfrm rot="5400000">
            <a:off x="6115145" y="493168"/>
            <a:ext cx="0" cy="347472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CD12855-76A6-4CB9-B488-CA37CF817653}"/>
              </a:ext>
            </a:extLst>
          </p:cNvPr>
          <p:cNvCxnSpPr>
            <a:cxnSpLocks/>
          </p:cNvCxnSpPr>
          <p:nvPr/>
        </p:nvCxnSpPr>
        <p:spPr>
          <a:xfrm flipH="1" flipV="1">
            <a:off x="6115145" y="1982393"/>
            <a:ext cx="2" cy="22964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B74B6715-250C-4A7F-B362-8E054312C6FE}"/>
              </a:ext>
            </a:extLst>
          </p:cNvPr>
          <p:cNvSpPr/>
          <p:nvPr/>
        </p:nvSpPr>
        <p:spPr bwMode="auto">
          <a:xfrm rot="5400000">
            <a:off x="5667807" y="1080692"/>
            <a:ext cx="894677" cy="894677"/>
          </a:xfrm>
          <a:prstGeom prst="ellipse">
            <a:avLst/>
          </a:prstGeom>
          <a:noFill/>
          <a:ln w="635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E9E4C88-9F08-4CB3-8F7A-4DF16D3E5434}"/>
              </a:ext>
            </a:extLst>
          </p:cNvPr>
          <p:cNvCxnSpPr>
            <a:cxnSpLocks/>
          </p:cNvCxnSpPr>
          <p:nvPr/>
        </p:nvCxnSpPr>
        <p:spPr>
          <a:xfrm rot="5400000">
            <a:off x="6115145" y="1951073"/>
            <a:ext cx="0" cy="558908"/>
          </a:xfrm>
          <a:prstGeom prst="line">
            <a:avLst/>
          </a:prstGeom>
          <a:ln w="47625">
            <a:solidFill>
              <a:schemeClr val="accent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GenericApp_EB3B" title="Icon of an app window">
            <a:extLst>
              <a:ext uri="{FF2B5EF4-FFF2-40B4-BE49-F238E27FC236}">
                <a16:creationId xmlns:a16="http://schemas.microsoft.com/office/drawing/2014/main" id="{AF48EC66-589B-479D-A1BD-B4D431A598A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49810" y="1315678"/>
            <a:ext cx="530670" cy="424704"/>
          </a:xfrm>
          <a:custGeom>
            <a:avLst/>
            <a:gdLst>
              <a:gd name="T0" fmla="*/ 5088 w 5088"/>
              <a:gd name="T1" fmla="*/ 4072 h 4072"/>
              <a:gd name="T2" fmla="*/ 0 w 5088"/>
              <a:gd name="T3" fmla="*/ 4072 h 4072"/>
              <a:gd name="T4" fmla="*/ 0 w 5088"/>
              <a:gd name="T5" fmla="*/ 0 h 4072"/>
              <a:gd name="T6" fmla="*/ 5088 w 5088"/>
              <a:gd name="T7" fmla="*/ 0 h 4072"/>
              <a:gd name="T8" fmla="*/ 5088 w 5088"/>
              <a:gd name="T9" fmla="*/ 4072 h 4072"/>
              <a:gd name="T10" fmla="*/ 0 w 5088"/>
              <a:gd name="T11" fmla="*/ 1018 h 4072"/>
              <a:gd name="T12" fmla="*/ 5004 w 5088"/>
              <a:gd name="T13" fmla="*/ 1018 h 4072"/>
              <a:gd name="T14" fmla="*/ 2035 w 5088"/>
              <a:gd name="T15" fmla="*/ 1697 h 4072"/>
              <a:gd name="T16" fmla="*/ 678 w 5088"/>
              <a:gd name="T17" fmla="*/ 1697 h 4072"/>
              <a:gd name="T18" fmla="*/ 678 w 5088"/>
              <a:gd name="T19" fmla="*/ 3393 h 4072"/>
              <a:gd name="T20" fmla="*/ 2035 w 5088"/>
              <a:gd name="T21" fmla="*/ 3393 h 4072"/>
              <a:gd name="T22" fmla="*/ 2035 w 5088"/>
              <a:gd name="T23" fmla="*/ 1697 h 4072"/>
              <a:gd name="T24" fmla="*/ 2544 w 5088"/>
              <a:gd name="T25" fmla="*/ 1697 h 4072"/>
              <a:gd name="T26" fmla="*/ 3561 w 5088"/>
              <a:gd name="T27" fmla="*/ 1697 h 4072"/>
              <a:gd name="T28" fmla="*/ 2544 w 5088"/>
              <a:gd name="T29" fmla="*/ 2375 h 4072"/>
              <a:gd name="T30" fmla="*/ 3561 w 5088"/>
              <a:gd name="T31" fmla="*/ 2375 h 4072"/>
              <a:gd name="T32" fmla="*/ 2544 w 5088"/>
              <a:gd name="T33" fmla="*/ 3054 h 4072"/>
              <a:gd name="T34" fmla="*/ 3222 w 5088"/>
              <a:gd name="T35" fmla="*/ 3054 h 4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88" h="4072">
                <a:moveTo>
                  <a:pt x="5088" y="4072"/>
                </a:moveTo>
                <a:lnTo>
                  <a:pt x="0" y="4072"/>
                </a:lnTo>
                <a:lnTo>
                  <a:pt x="0" y="0"/>
                </a:lnTo>
                <a:lnTo>
                  <a:pt x="5088" y="0"/>
                </a:lnTo>
                <a:lnTo>
                  <a:pt x="5088" y="4072"/>
                </a:lnTo>
                <a:moveTo>
                  <a:pt x="0" y="1018"/>
                </a:moveTo>
                <a:lnTo>
                  <a:pt x="5004" y="1018"/>
                </a:lnTo>
                <a:moveTo>
                  <a:pt x="2035" y="1697"/>
                </a:moveTo>
                <a:lnTo>
                  <a:pt x="678" y="1697"/>
                </a:lnTo>
                <a:lnTo>
                  <a:pt x="678" y="3393"/>
                </a:lnTo>
                <a:lnTo>
                  <a:pt x="2035" y="3393"/>
                </a:lnTo>
                <a:lnTo>
                  <a:pt x="2035" y="1697"/>
                </a:lnTo>
                <a:moveTo>
                  <a:pt x="2544" y="1697"/>
                </a:moveTo>
                <a:lnTo>
                  <a:pt x="3561" y="1697"/>
                </a:lnTo>
                <a:moveTo>
                  <a:pt x="2544" y="2375"/>
                </a:moveTo>
                <a:lnTo>
                  <a:pt x="3561" y="2375"/>
                </a:lnTo>
                <a:moveTo>
                  <a:pt x="2544" y="3054"/>
                </a:moveTo>
                <a:lnTo>
                  <a:pt x="3222" y="3054"/>
                </a:lnTo>
              </a:path>
            </a:pathLst>
          </a:custGeom>
          <a:noFill/>
          <a:ln w="15875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A912037B-46F0-48B0-945B-7711BF514BF4}"/>
              </a:ext>
            </a:extLst>
          </p:cNvPr>
          <p:cNvCxnSpPr>
            <a:cxnSpLocks/>
          </p:cNvCxnSpPr>
          <p:nvPr/>
        </p:nvCxnSpPr>
        <p:spPr>
          <a:xfrm flipH="1" flipV="1">
            <a:off x="9882707" y="1982393"/>
            <a:ext cx="2" cy="22964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DE776120-4803-4136-8B79-B9107F74932F}"/>
              </a:ext>
            </a:extLst>
          </p:cNvPr>
          <p:cNvSpPr txBox="1"/>
          <p:nvPr/>
        </p:nvSpPr>
        <p:spPr>
          <a:xfrm>
            <a:off x="8145347" y="2261474"/>
            <a:ext cx="3474720" cy="1123384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 marL="0" marR="0" lvl="0" indent="0" algn="ctr" defTabSz="91401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49" normalizeH="0" baseline="0" noProof="0" dirty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Business processes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ransform critical business </a:t>
            </a:r>
            <a:b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</a:b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processes with AI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1DEAAF2-3819-4C1D-8E55-50C592BA3903}"/>
              </a:ext>
            </a:extLst>
          </p:cNvPr>
          <p:cNvCxnSpPr>
            <a:cxnSpLocks/>
          </p:cNvCxnSpPr>
          <p:nvPr/>
        </p:nvCxnSpPr>
        <p:spPr>
          <a:xfrm rot="5400000">
            <a:off x="9882707" y="493168"/>
            <a:ext cx="0" cy="347472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29ACFE46-8041-4951-B67A-6DC49F5C2ADF}"/>
              </a:ext>
            </a:extLst>
          </p:cNvPr>
          <p:cNvSpPr/>
          <p:nvPr/>
        </p:nvSpPr>
        <p:spPr bwMode="auto">
          <a:xfrm rot="5400000">
            <a:off x="9435369" y="1080692"/>
            <a:ext cx="894677" cy="894677"/>
          </a:xfrm>
          <a:prstGeom prst="ellipse">
            <a:avLst/>
          </a:prstGeom>
          <a:noFill/>
          <a:ln w="635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DE731D7-3A98-40F7-A492-550BF6382D96}"/>
              </a:ext>
            </a:extLst>
          </p:cNvPr>
          <p:cNvCxnSpPr>
            <a:cxnSpLocks/>
          </p:cNvCxnSpPr>
          <p:nvPr/>
        </p:nvCxnSpPr>
        <p:spPr>
          <a:xfrm rot="5400000">
            <a:off x="9882707" y="1951073"/>
            <a:ext cx="0" cy="558908"/>
          </a:xfrm>
          <a:prstGeom prst="line">
            <a:avLst/>
          </a:prstGeom>
          <a:ln w="47625">
            <a:solidFill>
              <a:schemeClr val="accent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arrow_11" title="Icon of a circle made of two curved arrows">
            <a:extLst>
              <a:ext uri="{FF2B5EF4-FFF2-40B4-BE49-F238E27FC236}">
                <a16:creationId xmlns:a16="http://schemas.microsoft.com/office/drawing/2014/main" id="{708B6A88-A4B7-4592-BCB3-8EC11F09706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635895" y="1259586"/>
            <a:ext cx="513946" cy="536888"/>
          </a:xfrm>
          <a:custGeom>
            <a:avLst/>
            <a:gdLst>
              <a:gd name="T0" fmla="*/ 310 w 310"/>
              <a:gd name="T1" fmla="*/ 199 h 322"/>
              <a:gd name="T2" fmla="*/ 154 w 310"/>
              <a:gd name="T3" fmla="*/ 322 h 322"/>
              <a:gd name="T4" fmla="*/ 1 w 310"/>
              <a:gd name="T5" fmla="*/ 211 h 322"/>
              <a:gd name="T6" fmla="*/ 304 w 310"/>
              <a:gd name="T7" fmla="*/ 104 h 322"/>
              <a:gd name="T8" fmla="*/ 154 w 310"/>
              <a:gd name="T9" fmla="*/ 0 h 322"/>
              <a:gd name="T10" fmla="*/ 0 w 310"/>
              <a:gd name="T11" fmla="*/ 114 h 322"/>
              <a:gd name="T12" fmla="*/ 299 w 310"/>
              <a:gd name="T13" fmla="*/ 104 h 322"/>
              <a:gd name="T14" fmla="*/ 230 w 310"/>
              <a:gd name="T15" fmla="*/ 104 h 322"/>
              <a:gd name="T16" fmla="*/ 295 w 310"/>
              <a:gd name="T17" fmla="*/ 104 h 322"/>
              <a:gd name="T18" fmla="*/ 304 w 310"/>
              <a:gd name="T19" fmla="*/ 104 h 322"/>
              <a:gd name="T20" fmla="*/ 304 w 310"/>
              <a:gd name="T21" fmla="*/ 29 h 322"/>
              <a:gd name="T22" fmla="*/ 9 w 310"/>
              <a:gd name="T23" fmla="*/ 211 h 322"/>
              <a:gd name="T24" fmla="*/ 75 w 310"/>
              <a:gd name="T25" fmla="*/ 211 h 322"/>
              <a:gd name="T26" fmla="*/ 9 w 310"/>
              <a:gd name="T27" fmla="*/ 211 h 322"/>
              <a:gd name="T28" fmla="*/ 1 w 310"/>
              <a:gd name="T29" fmla="*/ 211 h 322"/>
              <a:gd name="T30" fmla="*/ 1 w 310"/>
              <a:gd name="T31" fmla="*/ 286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10" h="322">
                <a:moveTo>
                  <a:pt x="310" y="199"/>
                </a:moveTo>
                <a:cubicBezTo>
                  <a:pt x="293" y="270"/>
                  <a:pt x="229" y="322"/>
                  <a:pt x="154" y="322"/>
                </a:cubicBezTo>
                <a:cubicBezTo>
                  <a:pt x="83" y="322"/>
                  <a:pt x="22" y="275"/>
                  <a:pt x="1" y="211"/>
                </a:cubicBezTo>
                <a:moveTo>
                  <a:pt x="304" y="104"/>
                </a:moveTo>
                <a:cubicBezTo>
                  <a:pt x="281" y="43"/>
                  <a:pt x="223" y="0"/>
                  <a:pt x="154" y="0"/>
                </a:cubicBezTo>
                <a:cubicBezTo>
                  <a:pt x="82" y="0"/>
                  <a:pt x="20" y="48"/>
                  <a:pt x="0" y="114"/>
                </a:cubicBezTo>
                <a:moveTo>
                  <a:pt x="299" y="104"/>
                </a:moveTo>
                <a:cubicBezTo>
                  <a:pt x="230" y="104"/>
                  <a:pt x="230" y="104"/>
                  <a:pt x="230" y="104"/>
                </a:cubicBezTo>
                <a:moveTo>
                  <a:pt x="295" y="104"/>
                </a:moveTo>
                <a:cubicBezTo>
                  <a:pt x="304" y="104"/>
                  <a:pt x="304" y="104"/>
                  <a:pt x="304" y="104"/>
                </a:cubicBezTo>
                <a:cubicBezTo>
                  <a:pt x="304" y="29"/>
                  <a:pt x="304" y="29"/>
                  <a:pt x="304" y="29"/>
                </a:cubicBezTo>
                <a:moveTo>
                  <a:pt x="9" y="211"/>
                </a:moveTo>
                <a:cubicBezTo>
                  <a:pt x="75" y="211"/>
                  <a:pt x="75" y="211"/>
                  <a:pt x="75" y="211"/>
                </a:cubicBezTo>
                <a:moveTo>
                  <a:pt x="9" y="211"/>
                </a:moveTo>
                <a:cubicBezTo>
                  <a:pt x="1" y="211"/>
                  <a:pt x="1" y="211"/>
                  <a:pt x="1" y="211"/>
                </a:cubicBezTo>
                <a:cubicBezTo>
                  <a:pt x="1" y="286"/>
                  <a:pt x="1" y="286"/>
                  <a:pt x="1" y="286"/>
                </a:cubicBezTo>
              </a:path>
            </a:pathLst>
          </a:custGeom>
          <a:noFill/>
          <a:ln w="15875" cap="sq">
            <a:solidFill>
              <a:schemeClr val="accent2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6" name="people_23" title="Icon of a person with a chat bubble above them">
            <a:extLst>
              <a:ext uri="{FF2B5EF4-FFF2-40B4-BE49-F238E27FC236}">
                <a16:creationId xmlns:a16="http://schemas.microsoft.com/office/drawing/2014/main" id="{D4C1D2BF-5C7C-49AE-A9CA-CACE1ED2AFE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116538" y="1310982"/>
            <a:ext cx="462090" cy="457200"/>
          </a:xfrm>
          <a:custGeom>
            <a:avLst/>
            <a:gdLst>
              <a:gd name="T0" fmla="*/ 75 w 275"/>
              <a:gd name="T1" fmla="*/ 34 h 273"/>
              <a:gd name="T2" fmla="*/ 75 w 275"/>
              <a:gd name="T3" fmla="*/ 0 h 273"/>
              <a:gd name="T4" fmla="*/ 275 w 275"/>
              <a:gd name="T5" fmla="*/ 0 h 273"/>
              <a:gd name="T6" fmla="*/ 275 w 275"/>
              <a:gd name="T7" fmla="*/ 125 h 273"/>
              <a:gd name="T8" fmla="*/ 247 w 275"/>
              <a:gd name="T9" fmla="*/ 125 h 273"/>
              <a:gd name="T10" fmla="*/ 203 w 275"/>
              <a:gd name="T11" fmla="*/ 170 h 273"/>
              <a:gd name="T12" fmla="*/ 203 w 275"/>
              <a:gd name="T13" fmla="*/ 127 h 273"/>
              <a:gd name="T14" fmla="*/ 181 w 275"/>
              <a:gd name="T15" fmla="*/ 127 h 273"/>
              <a:gd name="T16" fmla="*/ 92 w 275"/>
              <a:gd name="T17" fmla="*/ 71 h 273"/>
              <a:gd name="T18" fmla="*/ 38 w 275"/>
              <a:gd name="T19" fmla="*/ 126 h 273"/>
              <a:gd name="T20" fmla="*/ 92 w 275"/>
              <a:gd name="T21" fmla="*/ 181 h 273"/>
              <a:gd name="T22" fmla="*/ 147 w 275"/>
              <a:gd name="T23" fmla="*/ 126 h 273"/>
              <a:gd name="T24" fmla="*/ 92 w 275"/>
              <a:gd name="T25" fmla="*/ 71 h 273"/>
              <a:gd name="T26" fmla="*/ 185 w 275"/>
              <a:gd name="T27" fmla="*/ 273 h 273"/>
              <a:gd name="T28" fmla="*/ 92 w 275"/>
              <a:gd name="T29" fmla="*/ 181 h 273"/>
              <a:gd name="T30" fmla="*/ 0 w 275"/>
              <a:gd name="T31" fmla="*/ 27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75" h="273">
                <a:moveTo>
                  <a:pt x="75" y="34"/>
                </a:moveTo>
                <a:cubicBezTo>
                  <a:pt x="75" y="0"/>
                  <a:pt x="75" y="0"/>
                  <a:pt x="75" y="0"/>
                </a:cubicBezTo>
                <a:cubicBezTo>
                  <a:pt x="275" y="0"/>
                  <a:pt x="275" y="0"/>
                  <a:pt x="275" y="0"/>
                </a:cubicBezTo>
                <a:cubicBezTo>
                  <a:pt x="275" y="125"/>
                  <a:pt x="275" y="125"/>
                  <a:pt x="275" y="125"/>
                </a:cubicBezTo>
                <a:cubicBezTo>
                  <a:pt x="247" y="125"/>
                  <a:pt x="247" y="125"/>
                  <a:pt x="247" y="125"/>
                </a:cubicBezTo>
                <a:cubicBezTo>
                  <a:pt x="203" y="170"/>
                  <a:pt x="203" y="170"/>
                  <a:pt x="203" y="170"/>
                </a:cubicBezTo>
                <a:cubicBezTo>
                  <a:pt x="203" y="127"/>
                  <a:pt x="203" y="127"/>
                  <a:pt x="203" y="127"/>
                </a:cubicBezTo>
                <a:cubicBezTo>
                  <a:pt x="181" y="127"/>
                  <a:pt x="181" y="127"/>
                  <a:pt x="181" y="127"/>
                </a:cubicBezTo>
                <a:moveTo>
                  <a:pt x="92" y="71"/>
                </a:moveTo>
                <a:cubicBezTo>
                  <a:pt x="62" y="71"/>
                  <a:pt x="38" y="96"/>
                  <a:pt x="38" y="126"/>
                </a:cubicBezTo>
                <a:cubicBezTo>
                  <a:pt x="38" y="156"/>
                  <a:pt x="62" y="181"/>
                  <a:pt x="92" y="181"/>
                </a:cubicBezTo>
                <a:cubicBezTo>
                  <a:pt x="123" y="181"/>
                  <a:pt x="147" y="156"/>
                  <a:pt x="147" y="126"/>
                </a:cubicBezTo>
                <a:cubicBezTo>
                  <a:pt x="147" y="96"/>
                  <a:pt x="123" y="71"/>
                  <a:pt x="92" y="71"/>
                </a:cubicBezTo>
                <a:close/>
                <a:moveTo>
                  <a:pt x="185" y="273"/>
                </a:moveTo>
                <a:cubicBezTo>
                  <a:pt x="185" y="222"/>
                  <a:pt x="144" y="181"/>
                  <a:pt x="92" y="181"/>
                </a:cubicBezTo>
                <a:cubicBezTo>
                  <a:pt x="41" y="181"/>
                  <a:pt x="0" y="222"/>
                  <a:pt x="0" y="273"/>
                </a:cubicBezTo>
              </a:path>
            </a:pathLst>
          </a:custGeom>
          <a:noFill/>
          <a:ln w="15875" cap="sq">
            <a:solidFill>
              <a:srgbClr val="0078D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422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8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464915-1A92-4D02-A4C6-61F3D9A7D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latform </a:t>
            </a:r>
          </a:p>
        </p:txBody>
      </p:sp>
    </p:spTree>
    <p:extLst>
      <p:ext uri="{BB962C8B-B14F-4D97-AF65-F5344CB8AC3E}">
        <p14:creationId xmlns:p14="http://schemas.microsoft.com/office/powerpoint/2010/main" val="456322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6">
            <a:extLst>
              <a:ext uri="{FF2B5EF4-FFF2-40B4-BE49-F238E27FC236}">
                <a16:creationId xmlns:a16="http://schemas.microsoft.com/office/drawing/2014/main" id="{D899DF09-083F-4378-92F0-AF3C5EEF3B1D}"/>
              </a:ext>
            </a:extLst>
          </p:cNvPr>
          <p:cNvSpPr/>
          <p:nvPr/>
        </p:nvSpPr>
        <p:spPr bwMode="auto">
          <a:xfrm>
            <a:off x="1421107" y="1562236"/>
            <a:ext cx="8175437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0" name="Rectangle 209"/>
          <p:cNvSpPr/>
          <p:nvPr/>
        </p:nvSpPr>
        <p:spPr bwMode="auto">
          <a:xfrm>
            <a:off x="7843472" y="1764981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211" name="Rectangle 210"/>
          <p:cNvSpPr/>
          <p:nvPr/>
        </p:nvSpPr>
        <p:spPr bwMode="auto">
          <a:xfrm>
            <a:off x="5836449" y="1764981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247" name="Rectangle 246"/>
          <p:cNvSpPr/>
          <p:nvPr/>
        </p:nvSpPr>
        <p:spPr>
          <a:xfrm>
            <a:off x="6018701" y="3471650"/>
            <a:ext cx="1381617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kern="0" dirty="0">
                <a:solidFill>
                  <a:srgbClr val="50505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Databricks</a:t>
            </a:r>
          </a:p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kern="0" dirty="0">
                <a:solidFill>
                  <a:srgbClr val="50505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HDInsight</a:t>
            </a:r>
          </a:p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Data Lake Analytics</a:t>
            </a: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FD4F785E-13EE-401F-B737-01B931C8EA1B}"/>
              </a:ext>
            </a:extLst>
          </p:cNvPr>
          <p:cNvGrpSpPr/>
          <p:nvPr/>
        </p:nvGrpSpPr>
        <p:grpSpPr>
          <a:xfrm>
            <a:off x="1865833" y="2162815"/>
            <a:ext cx="7490307" cy="485042"/>
            <a:chOff x="7610409" y="2970243"/>
            <a:chExt cx="2834774" cy="181750"/>
          </a:xfrm>
        </p:grpSpPr>
        <p:sp>
          <p:nvSpPr>
            <p:cNvPr id="159" name="Cylinder 828">
              <a:extLst>
                <a:ext uri="{FF2B5EF4-FFF2-40B4-BE49-F238E27FC236}">
                  <a16:creationId xmlns:a16="http://schemas.microsoft.com/office/drawing/2014/main" id="{E385AFD8-155B-4B8D-A7D8-09EF70937F72}"/>
                </a:ext>
              </a:extLst>
            </p:cNvPr>
            <p:cNvSpPr/>
            <p:nvPr/>
          </p:nvSpPr>
          <p:spPr bwMode="auto">
            <a:xfrm rot="5400000">
              <a:off x="7563247" y="3017405"/>
              <a:ext cx="181748" cy="87424"/>
            </a:xfrm>
            <a:prstGeom prst="can">
              <a:avLst>
                <a:gd name="adj" fmla="val 50000"/>
              </a:avLst>
            </a:prstGeom>
            <a:solidFill>
              <a:schemeClr val="bg1"/>
            </a:solidFill>
            <a:ln w="12700">
              <a:solidFill>
                <a:srgbClr val="5050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0" name="Cylinder 828">
              <a:extLst>
                <a:ext uri="{FF2B5EF4-FFF2-40B4-BE49-F238E27FC236}">
                  <a16:creationId xmlns:a16="http://schemas.microsoft.com/office/drawing/2014/main" id="{78458FC6-2F78-4E6C-A659-7463EE1E81E4}"/>
                </a:ext>
              </a:extLst>
            </p:cNvPr>
            <p:cNvSpPr/>
            <p:nvPr/>
          </p:nvSpPr>
          <p:spPr bwMode="auto">
            <a:xfrm rot="5400000">
              <a:off x="8960965" y="1688423"/>
              <a:ext cx="155640" cy="2746360"/>
            </a:xfrm>
            <a:prstGeom prst="can">
              <a:avLst>
                <a:gd name="adj" fmla="val 17907"/>
              </a:avLst>
            </a:prstGeom>
            <a:solidFill>
              <a:schemeClr val="bg1"/>
            </a:solidFill>
            <a:ln w="12700">
              <a:solidFill>
                <a:srgbClr val="5050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6" name="Cylinder 828">
              <a:extLst>
                <a:ext uri="{FF2B5EF4-FFF2-40B4-BE49-F238E27FC236}">
                  <a16:creationId xmlns:a16="http://schemas.microsoft.com/office/drawing/2014/main" id="{C06923E3-0412-414A-992E-6EBE19F7BB92}"/>
                </a:ext>
              </a:extLst>
            </p:cNvPr>
            <p:cNvSpPr/>
            <p:nvPr/>
          </p:nvSpPr>
          <p:spPr bwMode="auto">
            <a:xfrm rot="5400000">
              <a:off x="10310597" y="3017407"/>
              <a:ext cx="181748" cy="87424"/>
            </a:xfrm>
            <a:prstGeom prst="can">
              <a:avLst>
                <a:gd name="adj" fmla="val 50000"/>
              </a:avLst>
            </a:prstGeom>
            <a:solidFill>
              <a:schemeClr val="bg1"/>
            </a:solidFill>
            <a:ln w="12700">
              <a:solidFill>
                <a:srgbClr val="5050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58" name="TextBox 257"/>
          <p:cNvSpPr txBox="1"/>
          <p:nvPr/>
        </p:nvSpPr>
        <p:spPr>
          <a:xfrm>
            <a:off x="467317" y="3715619"/>
            <a:ext cx="77328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ustom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</a:t>
            </a:r>
          </a:p>
        </p:txBody>
      </p:sp>
      <p:sp>
        <p:nvSpPr>
          <p:cNvPr id="260" name="TextBox 259"/>
          <p:cNvSpPr txBox="1"/>
          <p:nvPr/>
        </p:nvSpPr>
        <p:spPr>
          <a:xfrm>
            <a:off x="467317" y="4989482"/>
            <a:ext cx="96741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ensors 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nd devices</a:t>
            </a:r>
          </a:p>
        </p:txBody>
      </p:sp>
      <p:sp>
        <p:nvSpPr>
          <p:cNvPr id="266" name="Rectangle 265"/>
          <p:cNvSpPr/>
          <p:nvPr/>
        </p:nvSpPr>
        <p:spPr bwMode="auto">
          <a:xfrm>
            <a:off x="3792268" y="1764981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285" name="Rectangle 284"/>
          <p:cNvSpPr/>
          <p:nvPr/>
        </p:nvSpPr>
        <p:spPr>
          <a:xfrm>
            <a:off x="4238450" y="3543606"/>
            <a:ext cx="86059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lob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Lake</a:t>
            </a:r>
          </a:p>
        </p:txBody>
      </p:sp>
      <p:sp>
        <p:nvSpPr>
          <p:cNvPr id="293" name="Rectangle 292"/>
          <p:cNvSpPr/>
          <p:nvPr/>
        </p:nvSpPr>
        <p:spPr bwMode="auto">
          <a:xfrm>
            <a:off x="1836751" y="1764981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sp>
        <p:nvSpPr>
          <p:cNvPr id="296" name="Rectangle 295"/>
          <p:cNvSpPr/>
          <p:nvPr/>
        </p:nvSpPr>
        <p:spPr>
          <a:xfrm>
            <a:off x="2377344" y="2212984"/>
            <a:ext cx="2858648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Data Factory</a:t>
            </a:r>
          </a:p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(Data movement, pipelines &amp; orchestration)</a:t>
            </a:r>
          </a:p>
        </p:txBody>
      </p:sp>
      <p:sp>
        <p:nvSpPr>
          <p:cNvPr id="232" name="Rectangle 231"/>
          <p:cNvSpPr/>
          <p:nvPr/>
        </p:nvSpPr>
        <p:spPr>
          <a:xfrm>
            <a:off x="6022885" y="4600136"/>
            <a:ext cx="98396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Machine Learning </a:t>
            </a:r>
          </a:p>
        </p:txBody>
      </p:sp>
      <p:sp>
        <p:nvSpPr>
          <p:cNvPr id="291" name="Rectangle 290"/>
          <p:cNvSpPr/>
          <p:nvPr/>
        </p:nvSpPr>
        <p:spPr>
          <a:xfrm>
            <a:off x="8223812" y="2930112"/>
            <a:ext cx="89120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smos DB</a:t>
            </a:r>
          </a:p>
        </p:txBody>
      </p:sp>
      <p:sp>
        <p:nvSpPr>
          <p:cNvPr id="288" name="Rectangle 287"/>
          <p:cNvSpPr/>
          <p:nvPr/>
        </p:nvSpPr>
        <p:spPr>
          <a:xfrm>
            <a:off x="8223812" y="4241928"/>
            <a:ext cx="9816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QL Data Warehouse</a:t>
            </a:r>
          </a:p>
        </p:txBody>
      </p:sp>
      <p:sp>
        <p:nvSpPr>
          <p:cNvPr id="320" name="Rectangle 319"/>
          <p:cNvSpPr/>
          <p:nvPr/>
        </p:nvSpPr>
        <p:spPr>
          <a:xfrm>
            <a:off x="8223813" y="5009301"/>
            <a:ext cx="121289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nalysis Services</a:t>
            </a: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3DA45D05-3D3C-489C-B3FB-784A8CEE1315}"/>
              </a:ext>
            </a:extLst>
          </p:cNvPr>
          <p:cNvCxnSpPr>
            <a:cxnSpLocks/>
          </p:cNvCxnSpPr>
          <p:nvPr/>
        </p:nvCxnSpPr>
        <p:spPr>
          <a:xfrm>
            <a:off x="5024799" y="3742796"/>
            <a:ext cx="632259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E013178E-3A1F-4BAA-933F-D0A7D111DCB2}"/>
              </a:ext>
            </a:extLst>
          </p:cNvPr>
          <p:cNvCxnSpPr>
            <a:cxnSpLocks/>
          </p:cNvCxnSpPr>
          <p:nvPr/>
        </p:nvCxnSpPr>
        <p:spPr>
          <a:xfrm>
            <a:off x="9205437" y="3071949"/>
            <a:ext cx="738005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A4E24056-F253-428D-AE21-91B82ED3BE5F}"/>
              </a:ext>
            </a:extLst>
          </p:cNvPr>
          <p:cNvCxnSpPr>
            <a:cxnSpLocks/>
          </p:cNvCxnSpPr>
          <p:nvPr/>
        </p:nvCxnSpPr>
        <p:spPr>
          <a:xfrm>
            <a:off x="8559920" y="4705208"/>
            <a:ext cx="0" cy="303023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A39E508F-DB6A-4235-BEBE-08E3BBA79DB4}"/>
              </a:ext>
            </a:extLst>
          </p:cNvPr>
          <p:cNvCxnSpPr>
            <a:cxnSpLocks/>
          </p:cNvCxnSpPr>
          <p:nvPr/>
        </p:nvCxnSpPr>
        <p:spPr>
          <a:xfrm>
            <a:off x="9387696" y="5129556"/>
            <a:ext cx="555746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B1CBE449-AAD4-4EAA-A353-FB4F462B1CE8}"/>
              </a:ext>
            </a:extLst>
          </p:cNvPr>
          <p:cNvCxnSpPr>
            <a:cxnSpLocks/>
          </p:cNvCxnSpPr>
          <p:nvPr/>
        </p:nvCxnSpPr>
        <p:spPr>
          <a:xfrm>
            <a:off x="6877652" y="3742796"/>
            <a:ext cx="965820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9925AA2-C05D-4BCA-A21C-F20BF3DA8DF2}"/>
              </a:ext>
            </a:extLst>
          </p:cNvPr>
          <p:cNvGrpSpPr/>
          <p:nvPr/>
        </p:nvGrpSpPr>
        <p:grpSpPr>
          <a:xfrm>
            <a:off x="557273" y="4508312"/>
            <a:ext cx="528421" cy="404916"/>
            <a:chOff x="356915" y="4558566"/>
            <a:chExt cx="528421" cy="404916"/>
          </a:xfrm>
        </p:grpSpPr>
        <p:sp>
          <p:nvSpPr>
            <p:cNvPr id="128" name="Line 5">
              <a:extLst>
                <a:ext uri="{FF2B5EF4-FFF2-40B4-BE49-F238E27FC236}">
                  <a16:creationId xmlns:a16="http://schemas.microsoft.com/office/drawing/2014/main" id="{FE187F41-5AD2-4EF9-A467-9B8A656C99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724" y="4963482"/>
              <a:ext cx="106743" cy="0"/>
            </a:xfrm>
            <a:prstGeom prst="line">
              <a:avLst/>
            </a:prstGeom>
            <a:noFill/>
            <a:ln w="1270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057D5B9-03EE-46B5-AE73-3B35F381C832}"/>
                </a:ext>
              </a:extLst>
            </p:cNvPr>
            <p:cNvGrpSpPr/>
            <p:nvPr/>
          </p:nvGrpSpPr>
          <p:grpSpPr>
            <a:xfrm>
              <a:off x="397495" y="4784401"/>
              <a:ext cx="105861" cy="179081"/>
              <a:chOff x="397495" y="4784401"/>
              <a:chExt cx="105861" cy="179081"/>
            </a:xfrm>
          </p:grpSpPr>
          <p:sp>
            <p:nvSpPr>
              <p:cNvPr id="129" name="Freeform 6">
                <a:extLst>
                  <a:ext uri="{FF2B5EF4-FFF2-40B4-BE49-F238E27FC236}">
                    <a16:creationId xmlns:a16="http://schemas.microsoft.com/office/drawing/2014/main" id="{9CFD8E92-7BB9-4546-99CF-0715887D7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95" y="4784401"/>
                <a:ext cx="105861" cy="179081"/>
              </a:xfrm>
              <a:custGeom>
                <a:avLst/>
                <a:gdLst>
                  <a:gd name="T0" fmla="*/ 65 w 68"/>
                  <a:gd name="T1" fmla="*/ 114 h 114"/>
                  <a:gd name="T2" fmla="*/ 4 w 68"/>
                  <a:gd name="T3" fmla="*/ 114 h 114"/>
                  <a:gd name="T4" fmla="*/ 0 w 68"/>
                  <a:gd name="T5" fmla="*/ 110 h 114"/>
                  <a:gd name="T6" fmla="*/ 0 w 68"/>
                  <a:gd name="T7" fmla="*/ 4 h 114"/>
                  <a:gd name="T8" fmla="*/ 4 w 68"/>
                  <a:gd name="T9" fmla="*/ 0 h 114"/>
                  <a:gd name="T10" fmla="*/ 65 w 68"/>
                  <a:gd name="T11" fmla="*/ 0 h 114"/>
                  <a:gd name="T12" fmla="*/ 68 w 68"/>
                  <a:gd name="T13" fmla="*/ 4 h 114"/>
                  <a:gd name="T14" fmla="*/ 68 w 68"/>
                  <a:gd name="T15" fmla="*/ 110 h 114"/>
                  <a:gd name="T16" fmla="*/ 65 w 68"/>
                  <a:gd name="T1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" h="114">
                    <a:moveTo>
                      <a:pt x="65" y="114"/>
                    </a:moveTo>
                    <a:cubicBezTo>
                      <a:pt x="4" y="114"/>
                      <a:pt x="4" y="114"/>
                      <a:pt x="4" y="114"/>
                    </a:cubicBezTo>
                    <a:cubicBezTo>
                      <a:pt x="2" y="114"/>
                      <a:pt x="0" y="112"/>
                      <a:pt x="0" y="1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7" y="0"/>
                      <a:pt x="68" y="2"/>
                      <a:pt x="68" y="4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2"/>
                      <a:pt x="67" y="114"/>
                      <a:pt x="65" y="114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4" name="Line 9">
                <a:extLst>
                  <a:ext uri="{FF2B5EF4-FFF2-40B4-BE49-F238E27FC236}">
                    <a16:creationId xmlns:a16="http://schemas.microsoft.com/office/drawing/2014/main" id="{D6913242-6E80-4FA6-8846-2DC834FE3C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8957" y="4925548"/>
                <a:ext cx="24701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35" name="Freeform 10">
              <a:extLst>
                <a:ext uri="{FF2B5EF4-FFF2-40B4-BE49-F238E27FC236}">
                  <a16:creationId xmlns:a16="http://schemas.microsoft.com/office/drawing/2014/main" id="{520CC27B-4A27-41DF-9E10-2637EEAA6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915" y="4558566"/>
              <a:ext cx="528421" cy="326403"/>
            </a:xfrm>
            <a:custGeom>
              <a:avLst/>
              <a:gdLst>
                <a:gd name="T0" fmla="*/ 0 w 338"/>
                <a:gd name="T1" fmla="*/ 93 h 208"/>
                <a:gd name="T2" fmla="*/ 0 w 338"/>
                <a:gd name="T3" fmla="*/ 10 h 208"/>
                <a:gd name="T4" fmla="*/ 10 w 338"/>
                <a:gd name="T5" fmla="*/ 0 h 208"/>
                <a:gd name="T6" fmla="*/ 328 w 338"/>
                <a:gd name="T7" fmla="*/ 0 h 208"/>
                <a:gd name="T8" fmla="*/ 338 w 338"/>
                <a:gd name="T9" fmla="*/ 10 h 208"/>
                <a:gd name="T10" fmla="*/ 338 w 338"/>
                <a:gd name="T11" fmla="*/ 198 h 208"/>
                <a:gd name="T12" fmla="*/ 328 w 338"/>
                <a:gd name="T13" fmla="*/ 208 h 208"/>
                <a:gd name="T14" fmla="*/ 242 w 338"/>
                <a:gd name="T15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8" h="208">
                  <a:moveTo>
                    <a:pt x="0" y="93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328" y="0"/>
                    <a:pt x="328" y="0"/>
                    <a:pt x="328" y="0"/>
                  </a:cubicBezTo>
                  <a:cubicBezTo>
                    <a:pt x="334" y="0"/>
                    <a:pt x="338" y="5"/>
                    <a:pt x="338" y="10"/>
                  </a:cubicBezTo>
                  <a:cubicBezTo>
                    <a:pt x="338" y="198"/>
                    <a:pt x="338" y="198"/>
                    <a:pt x="338" y="198"/>
                  </a:cubicBezTo>
                  <a:cubicBezTo>
                    <a:pt x="338" y="203"/>
                    <a:pt x="334" y="208"/>
                    <a:pt x="328" y="208"/>
                  </a:cubicBezTo>
                  <a:cubicBezTo>
                    <a:pt x="242" y="208"/>
                    <a:pt x="242" y="208"/>
                    <a:pt x="242" y="208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86DF976-F8BF-471C-BBD4-A887E7A56A1A}"/>
                </a:ext>
              </a:extLst>
            </p:cNvPr>
            <p:cNvGrpSpPr/>
            <p:nvPr/>
          </p:nvGrpSpPr>
          <p:grpSpPr>
            <a:xfrm>
              <a:off x="356915" y="4685598"/>
              <a:ext cx="378452" cy="277884"/>
              <a:chOff x="356915" y="4685598"/>
              <a:chExt cx="378452" cy="277884"/>
            </a:xfrm>
          </p:grpSpPr>
          <p:sp>
            <p:nvSpPr>
              <p:cNvPr id="133" name="Freeform 7">
                <a:extLst>
                  <a:ext uri="{FF2B5EF4-FFF2-40B4-BE49-F238E27FC236}">
                    <a16:creationId xmlns:a16="http://schemas.microsoft.com/office/drawing/2014/main" id="{D10236BD-70B9-4B22-93D2-6BC7ADACF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915" y="4685598"/>
                <a:ext cx="378452" cy="277884"/>
              </a:xfrm>
              <a:custGeom>
                <a:avLst/>
                <a:gdLst>
                  <a:gd name="T0" fmla="*/ 242 w 242"/>
                  <a:gd name="T1" fmla="*/ 165 h 177"/>
                  <a:gd name="T2" fmla="*/ 229 w 242"/>
                  <a:gd name="T3" fmla="*/ 177 h 177"/>
                  <a:gd name="T4" fmla="*/ 12 w 242"/>
                  <a:gd name="T5" fmla="*/ 177 h 177"/>
                  <a:gd name="T6" fmla="*/ 0 w 242"/>
                  <a:gd name="T7" fmla="*/ 165 h 177"/>
                  <a:gd name="T8" fmla="*/ 0 w 242"/>
                  <a:gd name="T9" fmla="*/ 12 h 177"/>
                  <a:gd name="T10" fmla="*/ 12 w 242"/>
                  <a:gd name="T11" fmla="*/ 0 h 177"/>
                  <a:gd name="T12" fmla="*/ 229 w 242"/>
                  <a:gd name="T13" fmla="*/ 0 h 177"/>
                  <a:gd name="T14" fmla="*/ 242 w 242"/>
                  <a:gd name="T15" fmla="*/ 12 h 177"/>
                  <a:gd name="T16" fmla="*/ 242 w 242"/>
                  <a:gd name="T17" fmla="*/ 165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2" h="177">
                    <a:moveTo>
                      <a:pt x="242" y="165"/>
                    </a:moveTo>
                    <a:cubicBezTo>
                      <a:pt x="242" y="172"/>
                      <a:pt x="236" y="177"/>
                      <a:pt x="229" y="177"/>
                    </a:cubicBezTo>
                    <a:cubicBezTo>
                      <a:pt x="12" y="177"/>
                      <a:pt x="12" y="177"/>
                      <a:pt x="12" y="177"/>
                    </a:cubicBezTo>
                    <a:cubicBezTo>
                      <a:pt x="6" y="177"/>
                      <a:pt x="0" y="172"/>
                      <a:pt x="0" y="16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236" y="0"/>
                      <a:pt x="242" y="5"/>
                      <a:pt x="242" y="12"/>
                    </a:cubicBezTo>
                    <a:lnTo>
                      <a:pt x="242" y="16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6" name="Line 9">
                <a:extLst>
                  <a:ext uri="{FF2B5EF4-FFF2-40B4-BE49-F238E27FC236}">
                    <a16:creationId xmlns:a16="http://schemas.microsoft.com/office/drawing/2014/main" id="{30745979-32A8-4669-99C8-46749D07BD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33790" y="4925548"/>
                <a:ext cx="24701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7A79524A-CDB1-416C-BC84-0830844D7619}"/>
              </a:ext>
            </a:extLst>
          </p:cNvPr>
          <p:cNvGrpSpPr/>
          <p:nvPr/>
        </p:nvGrpSpPr>
        <p:grpSpPr>
          <a:xfrm>
            <a:off x="557273" y="3281064"/>
            <a:ext cx="469737" cy="385154"/>
            <a:chOff x="1778647" y="1301093"/>
            <a:chExt cx="307813" cy="252387"/>
          </a:xfrm>
          <a:noFill/>
        </p:grpSpPr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68327355-F76B-4C67-97CA-7FD99C2F6579}"/>
                </a:ext>
              </a:extLst>
            </p:cNvPr>
            <p:cNvGrpSpPr/>
            <p:nvPr/>
          </p:nvGrpSpPr>
          <p:grpSpPr>
            <a:xfrm>
              <a:off x="1778647" y="1301093"/>
              <a:ext cx="307813" cy="252387"/>
              <a:chOff x="2107086" y="1452805"/>
              <a:chExt cx="307813" cy="252387"/>
            </a:xfrm>
            <a:grpFill/>
          </p:grpSpPr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2CE6022C-915D-4DDA-BA96-C74A82DB6E2E}"/>
                  </a:ext>
                </a:extLst>
              </p:cNvPr>
              <p:cNvSpPr/>
              <p:nvPr/>
            </p:nvSpPr>
            <p:spPr bwMode="auto">
              <a:xfrm>
                <a:off x="2107086" y="1596776"/>
                <a:ext cx="108416" cy="10841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A25AA2D7-6EA3-4418-AE46-C81B7D117693}"/>
                  </a:ext>
                </a:extLst>
              </p:cNvPr>
              <p:cNvSpPr/>
              <p:nvPr/>
            </p:nvSpPr>
            <p:spPr bwMode="auto">
              <a:xfrm>
                <a:off x="2252041" y="1452805"/>
                <a:ext cx="162858" cy="1628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7D5D51B-B481-400C-995F-D96F516188A1}"/>
                  </a:ext>
                </a:extLst>
              </p:cNvPr>
              <p:cNvSpPr/>
              <p:nvPr/>
            </p:nvSpPr>
            <p:spPr bwMode="auto">
              <a:xfrm>
                <a:off x="2107086" y="1453330"/>
                <a:ext cx="108416" cy="10841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14358BF0-FACD-44B0-BFB9-E392D7B20A5E}"/>
                  </a:ext>
                </a:extLst>
              </p:cNvPr>
              <p:cNvSpPr/>
              <p:nvPr/>
            </p:nvSpPr>
            <p:spPr bwMode="auto">
              <a:xfrm>
                <a:off x="2253489" y="1652588"/>
                <a:ext cx="159337" cy="516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21A7CB8E-DD96-4C7B-92DD-CF7FF0C2C569}"/>
                </a:ext>
              </a:extLst>
            </p:cNvPr>
            <p:cNvCxnSpPr/>
            <p:nvPr/>
          </p:nvCxnSpPr>
          <p:spPr>
            <a:xfrm>
              <a:off x="1979319" y="1500876"/>
              <a:ext cx="0" cy="51699"/>
            </a:xfrm>
            <a:prstGeom prst="line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9D3D50D1-623B-4B5D-86AA-7AC69EFEB8BA}"/>
                </a:ext>
              </a:extLst>
            </p:cNvPr>
            <p:cNvCxnSpPr/>
            <p:nvPr/>
          </p:nvCxnSpPr>
          <p:spPr>
            <a:xfrm>
              <a:off x="2031707" y="1500876"/>
              <a:ext cx="0" cy="51699"/>
            </a:xfrm>
            <a:prstGeom prst="line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</p:cxnSp>
      </p:grpSp>
      <p:grpSp>
        <p:nvGrpSpPr>
          <p:cNvPr id="106" name="Group 105"/>
          <p:cNvGrpSpPr/>
          <p:nvPr/>
        </p:nvGrpSpPr>
        <p:grpSpPr>
          <a:xfrm rot="16200000">
            <a:off x="-275461" y="3620996"/>
            <a:ext cx="3901128" cy="172778"/>
            <a:chOff x="3142887" y="5221476"/>
            <a:chExt cx="781948" cy="172778"/>
          </a:xfrm>
        </p:grpSpPr>
        <p:sp>
          <p:nvSpPr>
            <p:cNvPr id="107" name="Freeform 106"/>
            <p:cNvSpPr/>
            <p:nvPr/>
          </p:nvSpPr>
          <p:spPr bwMode="auto">
            <a:xfrm rot="16200000">
              <a:off x="3490047" y="4959466"/>
              <a:ext cx="87628" cy="781948"/>
            </a:xfrm>
            <a:custGeom>
              <a:avLst/>
              <a:gdLst>
                <a:gd name="connsiteX0" fmla="*/ 5475 w 235444"/>
                <a:gd name="connsiteY0" fmla="*/ 0 h 3860192"/>
                <a:gd name="connsiteX1" fmla="*/ 235444 w 235444"/>
                <a:gd name="connsiteY1" fmla="*/ 0 h 3860192"/>
                <a:gd name="connsiteX2" fmla="*/ 235444 w 235444"/>
                <a:gd name="connsiteY2" fmla="*/ 3860192 h 3860192"/>
                <a:gd name="connsiteX3" fmla="*/ 0 w 235444"/>
                <a:gd name="connsiteY3" fmla="*/ 3860192 h 3860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444" h="3860192">
                  <a:moveTo>
                    <a:pt x="5475" y="0"/>
                  </a:moveTo>
                  <a:lnTo>
                    <a:pt x="235444" y="0"/>
                  </a:lnTo>
                  <a:lnTo>
                    <a:pt x="235444" y="3860192"/>
                  </a:lnTo>
                  <a:lnTo>
                    <a:pt x="0" y="3860192"/>
                  </a:lnTo>
                </a:path>
              </a:pathLst>
            </a:custGeom>
            <a:noFill/>
            <a:ln w="12700">
              <a:solidFill>
                <a:schemeClr val="tx2"/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111"/>
            <p:cNvSpPr/>
            <p:nvPr/>
          </p:nvSpPr>
          <p:spPr bwMode="auto">
            <a:xfrm rot="16200000">
              <a:off x="3539973" y="5216947"/>
              <a:ext cx="81318" cy="90376"/>
            </a:xfrm>
            <a:custGeom>
              <a:avLst/>
              <a:gdLst>
                <a:gd name="connsiteX0" fmla="*/ 0 w 171450"/>
                <a:gd name="connsiteY0" fmla="*/ 161925 h 161925"/>
                <a:gd name="connsiteX1" fmla="*/ 0 w 171450"/>
                <a:gd name="connsiteY1" fmla="*/ 0 h 161925"/>
                <a:gd name="connsiteX2" fmla="*/ 171450 w 171450"/>
                <a:gd name="connsiteY2" fmla="*/ 0 h 161925"/>
                <a:gd name="connsiteX0" fmla="*/ 0 w 171450"/>
                <a:gd name="connsiteY0" fmla="*/ 0 h 0"/>
                <a:gd name="connsiteX1" fmla="*/ 171450 w 1714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450">
                  <a:moveTo>
                    <a:pt x="0" y="0"/>
                  </a:moveTo>
                  <a:lnTo>
                    <a:pt x="171450" y="0"/>
                  </a:lnTo>
                </a:path>
              </a:pathLst>
            </a:custGeom>
            <a:noFill/>
            <a:ln w="12700">
              <a:solidFill>
                <a:schemeClr val="tx2"/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242" name="Straight Arrow Connector 241">
            <a:extLst>
              <a:ext uri="{FF2B5EF4-FFF2-40B4-BE49-F238E27FC236}">
                <a16:creationId xmlns:a16="http://schemas.microsoft.com/office/drawing/2014/main" id="{B1F83E43-B438-4CC2-9C70-2EA0E3C0D346}"/>
              </a:ext>
            </a:extLst>
          </p:cNvPr>
          <p:cNvCxnSpPr>
            <a:cxnSpLocks/>
          </p:cNvCxnSpPr>
          <p:nvPr/>
        </p:nvCxnSpPr>
        <p:spPr>
          <a:xfrm>
            <a:off x="9086563" y="4443687"/>
            <a:ext cx="856879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Arrow Connector 244">
            <a:extLst>
              <a:ext uri="{FF2B5EF4-FFF2-40B4-BE49-F238E27FC236}">
                <a16:creationId xmlns:a16="http://schemas.microsoft.com/office/drawing/2014/main" id="{D9E813E0-412C-4A79-92EA-2E01CAB62435}"/>
              </a:ext>
            </a:extLst>
          </p:cNvPr>
          <p:cNvCxnSpPr>
            <a:cxnSpLocks/>
          </p:cNvCxnSpPr>
          <p:nvPr/>
        </p:nvCxnSpPr>
        <p:spPr>
          <a:xfrm>
            <a:off x="6381287" y="4083563"/>
            <a:ext cx="0" cy="518104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tangle 171">
            <a:extLst>
              <a:ext uri="{FF2B5EF4-FFF2-40B4-BE49-F238E27FC236}">
                <a16:creationId xmlns:a16="http://schemas.microsoft.com/office/drawing/2014/main" id="{1234332F-CF2C-4E51-B83A-3F9A1E4F4E69}"/>
              </a:ext>
            </a:extLst>
          </p:cNvPr>
          <p:cNvSpPr/>
          <p:nvPr/>
        </p:nvSpPr>
        <p:spPr>
          <a:xfrm>
            <a:off x="2242430" y="4579578"/>
            <a:ext cx="97158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Event Hub</a:t>
            </a:r>
          </a:p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IoT Hub</a:t>
            </a:r>
          </a:p>
        </p:txBody>
      </p: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237BF570-83FA-45B2-9D97-83277C1D369D}"/>
              </a:ext>
            </a:extLst>
          </p:cNvPr>
          <p:cNvCxnSpPr>
            <a:cxnSpLocks/>
          </p:cNvCxnSpPr>
          <p:nvPr/>
        </p:nvCxnSpPr>
        <p:spPr>
          <a:xfrm>
            <a:off x="2773830" y="3757818"/>
            <a:ext cx="1060515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9D79C7B-4D95-4676-AF76-A342F365709C}"/>
              </a:ext>
            </a:extLst>
          </p:cNvPr>
          <p:cNvSpPr/>
          <p:nvPr/>
        </p:nvSpPr>
        <p:spPr>
          <a:xfrm>
            <a:off x="8223812" y="3627725"/>
            <a:ext cx="116388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QL Database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9293B4D1-A604-4045-B92A-E8D9EBF0494D}"/>
              </a:ext>
            </a:extLst>
          </p:cNvPr>
          <p:cNvCxnSpPr>
            <a:cxnSpLocks/>
          </p:cNvCxnSpPr>
          <p:nvPr/>
        </p:nvCxnSpPr>
        <p:spPr>
          <a:xfrm>
            <a:off x="9276369" y="3757818"/>
            <a:ext cx="667073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75D8FE7D-B2EB-4D3C-95D3-25D5D1A49754}"/>
              </a:ext>
            </a:extLst>
          </p:cNvPr>
          <p:cNvCxnSpPr>
            <a:cxnSpLocks/>
          </p:cNvCxnSpPr>
          <p:nvPr/>
        </p:nvCxnSpPr>
        <p:spPr>
          <a:xfrm>
            <a:off x="8559920" y="3897772"/>
            <a:ext cx="0" cy="303023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Arrow Connector 194">
            <a:extLst>
              <a:ext uri="{FF2B5EF4-FFF2-40B4-BE49-F238E27FC236}">
                <a16:creationId xmlns:a16="http://schemas.microsoft.com/office/drawing/2014/main" id="{DA4A6BBE-8BF6-4DC6-B035-7DCE23D7EEB3}"/>
              </a:ext>
            </a:extLst>
          </p:cNvPr>
          <p:cNvCxnSpPr>
            <a:cxnSpLocks/>
          </p:cNvCxnSpPr>
          <p:nvPr/>
        </p:nvCxnSpPr>
        <p:spPr>
          <a:xfrm>
            <a:off x="8559920" y="3245233"/>
            <a:ext cx="0" cy="303023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0" name="Group 279">
            <a:extLst>
              <a:ext uri="{FF2B5EF4-FFF2-40B4-BE49-F238E27FC236}">
                <a16:creationId xmlns:a16="http://schemas.microsoft.com/office/drawing/2014/main" id="{61C6692B-58A5-4E9B-A5CB-63A6E3C09744}"/>
              </a:ext>
            </a:extLst>
          </p:cNvPr>
          <p:cNvGrpSpPr/>
          <p:nvPr/>
        </p:nvGrpSpPr>
        <p:grpSpPr>
          <a:xfrm>
            <a:off x="10091938" y="1764981"/>
            <a:ext cx="1627965" cy="3821788"/>
            <a:chOff x="9888738" y="1697248"/>
            <a:chExt cx="1627965" cy="3821788"/>
          </a:xfrm>
        </p:grpSpPr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50E4ACD9-D4C9-4C86-AA94-F48231962823}"/>
                </a:ext>
              </a:extLst>
            </p:cNvPr>
            <p:cNvGrpSpPr/>
            <p:nvPr/>
          </p:nvGrpSpPr>
          <p:grpSpPr>
            <a:xfrm>
              <a:off x="9888738" y="2321508"/>
              <a:ext cx="1627965" cy="3197528"/>
              <a:chOff x="9890197" y="2012459"/>
              <a:chExt cx="1647758" cy="3499846"/>
            </a:xfrm>
          </p:grpSpPr>
          <p:sp>
            <p:nvSpPr>
              <p:cNvPr id="299" name="Shape 101"/>
              <p:cNvSpPr txBox="1"/>
              <p:nvPr/>
            </p:nvSpPr>
            <p:spPr>
              <a:xfrm>
                <a:off x="9950280" y="5234427"/>
                <a:ext cx="1534447" cy="2778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45700" rIns="91425" bIns="45700" anchor="t" anchorCtr="0">
                <a:spAutoFit/>
              </a:bodyPr>
              <a:lstStyle/>
              <a:p>
                <a:pPr marL="0" marR="0" lvl="0" indent="0" algn="l" defTabSz="9325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  <a:sym typeface="Calibri"/>
                  </a:rPr>
                  <a:t>Analytical dashboards</a:t>
                </a:r>
              </a:p>
            </p:txBody>
          </p:sp>
          <p:sp>
            <p:nvSpPr>
              <p:cNvPr id="308" name="Shape 101"/>
              <p:cNvSpPr txBox="1"/>
              <p:nvPr/>
            </p:nvSpPr>
            <p:spPr>
              <a:xfrm>
                <a:off x="9890197" y="2997577"/>
                <a:ext cx="1647758" cy="2778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45700" rIns="91425" bIns="45700" anchor="t" anchorCtr="0">
                <a:spAutoFit/>
              </a:bodyPr>
              <a:lstStyle/>
              <a:p>
                <a:pPr marL="0" marR="0" lvl="0" indent="0" algn="ctr" defTabSz="9325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  <a:sym typeface="Calibri"/>
                  </a:rPr>
                  <a:t>Predictive apps</a:t>
                </a:r>
              </a:p>
            </p:txBody>
          </p:sp>
          <p:grpSp>
            <p:nvGrpSpPr>
              <p:cNvPr id="141" name="Group 140">
                <a:extLst>
                  <a:ext uri="{FF2B5EF4-FFF2-40B4-BE49-F238E27FC236}">
                    <a16:creationId xmlns:a16="http://schemas.microsoft.com/office/drawing/2014/main" id="{22E8DFDF-851C-4A6F-81C3-B619382A1014}"/>
                  </a:ext>
                </a:extLst>
              </p:cNvPr>
              <p:cNvGrpSpPr/>
              <p:nvPr/>
            </p:nvGrpSpPr>
            <p:grpSpPr>
              <a:xfrm>
                <a:off x="10295203" y="2012459"/>
                <a:ext cx="825028" cy="901901"/>
                <a:chOff x="9095124" y="3288299"/>
                <a:chExt cx="916056" cy="1001411"/>
              </a:xfrm>
            </p:grpSpPr>
            <p:grpSp>
              <p:nvGrpSpPr>
                <p:cNvPr id="142" name="Group 141">
                  <a:extLst>
                    <a:ext uri="{FF2B5EF4-FFF2-40B4-BE49-F238E27FC236}">
                      <a16:creationId xmlns:a16="http://schemas.microsoft.com/office/drawing/2014/main" id="{F697DCF1-93EF-4827-A8D8-C2A9855298C3}"/>
                    </a:ext>
                  </a:extLst>
                </p:cNvPr>
                <p:cNvGrpSpPr/>
                <p:nvPr/>
              </p:nvGrpSpPr>
              <p:grpSpPr>
                <a:xfrm>
                  <a:off x="9615713" y="3659076"/>
                  <a:ext cx="288492" cy="206742"/>
                  <a:chOff x="3751869" y="1754414"/>
                  <a:chExt cx="4688258" cy="3381830"/>
                </a:xfrm>
              </p:grpSpPr>
              <p:sp>
                <p:nvSpPr>
                  <p:cNvPr id="162" name="Freeform: Shape 132">
                    <a:extLst>
                      <a:ext uri="{FF2B5EF4-FFF2-40B4-BE49-F238E27FC236}">
                        <a16:creationId xmlns:a16="http://schemas.microsoft.com/office/drawing/2014/main" id="{7E447AF6-8D0A-4471-AEB3-C6EF097B224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751869" y="1754414"/>
                    <a:ext cx="1605717" cy="3381830"/>
                  </a:xfrm>
                  <a:custGeom>
                    <a:avLst/>
                    <a:gdLst>
                      <a:gd name="connsiteX0" fmla="*/ 1605716 w 1884207"/>
                      <a:gd name="connsiteY0" fmla="*/ 0 h 3381830"/>
                      <a:gd name="connsiteX1" fmla="*/ 1884206 w 1884207"/>
                      <a:gd name="connsiteY1" fmla="*/ 278490 h 3381830"/>
                      <a:gd name="connsiteX2" fmla="*/ 471783 w 1884207"/>
                      <a:gd name="connsiteY2" fmla="*/ 1690914 h 3381830"/>
                      <a:gd name="connsiteX3" fmla="*/ 1884207 w 1884207"/>
                      <a:gd name="connsiteY3" fmla="*/ 3103339 h 3381830"/>
                      <a:gd name="connsiteX4" fmla="*/ 1605717 w 1884207"/>
                      <a:gd name="connsiteY4" fmla="*/ 3381830 h 3381830"/>
                      <a:gd name="connsiteX5" fmla="*/ 60246 w 1884207"/>
                      <a:gd name="connsiteY5" fmla="*/ 1836358 h 3381830"/>
                      <a:gd name="connsiteX6" fmla="*/ 60246 w 1884207"/>
                      <a:gd name="connsiteY6" fmla="*/ 1545470 h 3381830"/>
                      <a:gd name="connsiteX7" fmla="*/ 1605716 w 1884207"/>
                      <a:gd name="connsiteY7" fmla="*/ 0 h 3381830"/>
                      <a:gd name="connsiteX0" fmla="*/ 1605716 w 1884207"/>
                      <a:gd name="connsiteY0" fmla="*/ 0 h 3381830"/>
                      <a:gd name="connsiteX1" fmla="*/ 1884206 w 1884207"/>
                      <a:gd name="connsiteY1" fmla="*/ 278490 h 3381830"/>
                      <a:gd name="connsiteX2" fmla="*/ 1884207 w 1884207"/>
                      <a:gd name="connsiteY2" fmla="*/ 3103339 h 3381830"/>
                      <a:gd name="connsiteX3" fmla="*/ 1605717 w 1884207"/>
                      <a:gd name="connsiteY3" fmla="*/ 3381830 h 3381830"/>
                      <a:gd name="connsiteX4" fmla="*/ 60246 w 1884207"/>
                      <a:gd name="connsiteY4" fmla="*/ 1836358 h 3381830"/>
                      <a:gd name="connsiteX5" fmla="*/ 60246 w 1884207"/>
                      <a:gd name="connsiteY5" fmla="*/ 1545470 h 3381830"/>
                      <a:gd name="connsiteX6" fmla="*/ 1605716 w 1884207"/>
                      <a:gd name="connsiteY6" fmla="*/ 0 h 3381830"/>
                      <a:gd name="connsiteX0" fmla="*/ 1884207 w 1975647"/>
                      <a:gd name="connsiteY0" fmla="*/ 3103339 h 3381830"/>
                      <a:gd name="connsiteX1" fmla="*/ 1605717 w 1975647"/>
                      <a:gd name="connsiteY1" fmla="*/ 3381830 h 3381830"/>
                      <a:gd name="connsiteX2" fmla="*/ 60246 w 1975647"/>
                      <a:gd name="connsiteY2" fmla="*/ 1836358 h 3381830"/>
                      <a:gd name="connsiteX3" fmla="*/ 60246 w 1975647"/>
                      <a:gd name="connsiteY3" fmla="*/ 1545470 h 3381830"/>
                      <a:gd name="connsiteX4" fmla="*/ 1605716 w 1975647"/>
                      <a:gd name="connsiteY4" fmla="*/ 0 h 3381830"/>
                      <a:gd name="connsiteX5" fmla="*/ 1884206 w 1975647"/>
                      <a:gd name="connsiteY5" fmla="*/ 278490 h 3381830"/>
                      <a:gd name="connsiteX6" fmla="*/ 1975647 w 1975647"/>
                      <a:gd name="connsiteY6" fmla="*/ 3194779 h 3381830"/>
                      <a:gd name="connsiteX0" fmla="*/ 1884207 w 1884207"/>
                      <a:gd name="connsiteY0" fmla="*/ 3103339 h 3381830"/>
                      <a:gd name="connsiteX1" fmla="*/ 1605717 w 1884207"/>
                      <a:gd name="connsiteY1" fmla="*/ 3381830 h 3381830"/>
                      <a:gd name="connsiteX2" fmla="*/ 60246 w 1884207"/>
                      <a:gd name="connsiteY2" fmla="*/ 1836358 h 3381830"/>
                      <a:gd name="connsiteX3" fmla="*/ 60246 w 1884207"/>
                      <a:gd name="connsiteY3" fmla="*/ 1545470 h 3381830"/>
                      <a:gd name="connsiteX4" fmla="*/ 1605716 w 1884207"/>
                      <a:gd name="connsiteY4" fmla="*/ 0 h 3381830"/>
                      <a:gd name="connsiteX5" fmla="*/ 1884206 w 1884207"/>
                      <a:gd name="connsiteY5" fmla="*/ 278490 h 3381830"/>
                      <a:gd name="connsiteX0" fmla="*/ 1884207 w 1884207"/>
                      <a:gd name="connsiteY0" fmla="*/ 3103339 h 3381830"/>
                      <a:gd name="connsiteX1" fmla="*/ 1605717 w 1884207"/>
                      <a:gd name="connsiteY1" fmla="*/ 3381830 h 3381830"/>
                      <a:gd name="connsiteX2" fmla="*/ 60246 w 1884207"/>
                      <a:gd name="connsiteY2" fmla="*/ 1836358 h 3381830"/>
                      <a:gd name="connsiteX3" fmla="*/ 60246 w 1884207"/>
                      <a:gd name="connsiteY3" fmla="*/ 1545470 h 3381830"/>
                      <a:gd name="connsiteX4" fmla="*/ 1605716 w 1884207"/>
                      <a:gd name="connsiteY4" fmla="*/ 0 h 3381830"/>
                      <a:gd name="connsiteX0" fmla="*/ 1605717 w 1605717"/>
                      <a:gd name="connsiteY0" fmla="*/ 3381830 h 3381830"/>
                      <a:gd name="connsiteX1" fmla="*/ 60246 w 1605717"/>
                      <a:gd name="connsiteY1" fmla="*/ 1836358 h 3381830"/>
                      <a:gd name="connsiteX2" fmla="*/ 60246 w 1605717"/>
                      <a:gd name="connsiteY2" fmla="*/ 1545470 h 3381830"/>
                      <a:gd name="connsiteX3" fmla="*/ 1605716 w 1605717"/>
                      <a:gd name="connsiteY3" fmla="*/ 0 h 33818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05717" h="3381830">
                        <a:moveTo>
                          <a:pt x="1605717" y="3381830"/>
                        </a:moveTo>
                        <a:lnTo>
                          <a:pt x="60246" y="1836358"/>
                        </a:lnTo>
                        <a:cubicBezTo>
                          <a:pt x="-20081" y="1756032"/>
                          <a:pt x="-20081" y="1625797"/>
                          <a:pt x="60246" y="1545470"/>
                        </a:cubicBezTo>
                        <a:lnTo>
                          <a:pt x="1605716" y="0"/>
                        </a:lnTo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63" name="Freeform: Shape 133">
                    <a:extLst>
                      <a:ext uri="{FF2B5EF4-FFF2-40B4-BE49-F238E27FC236}">
                        <a16:creationId xmlns:a16="http://schemas.microsoft.com/office/drawing/2014/main" id="{EA62FB34-E7A9-46D8-BD2C-EA9A8BEF017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834412" y="1754415"/>
                    <a:ext cx="1605715" cy="3381828"/>
                  </a:xfrm>
                  <a:custGeom>
                    <a:avLst/>
                    <a:gdLst>
                      <a:gd name="connsiteX0" fmla="*/ 278491 w 1884205"/>
                      <a:gd name="connsiteY0" fmla="*/ 0 h 3381828"/>
                      <a:gd name="connsiteX1" fmla="*/ 1823961 w 1884205"/>
                      <a:gd name="connsiteY1" fmla="*/ 1545469 h 3381828"/>
                      <a:gd name="connsiteX2" fmla="*/ 1823961 w 1884205"/>
                      <a:gd name="connsiteY2" fmla="*/ 1836357 h 3381828"/>
                      <a:gd name="connsiteX3" fmla="*/ 278490 w 1884205"/>
                      <a:gd name="connsiteY3" fmla="*/ 3381828 h 3381828"/>
                      <a:gd name="connsiteX4" fmla="*/ 0 w 1884205"/>
                      <a:gd name="connsiteY4" fmla="*/ 3103337 h 3381828"/>
                      <a:gd name="connsiteX5" fmla="*/ 1412423 w 1884205"/>
                      <a:gd name="connsiteY5" fmla="*/ 1690912 h 3381828"/>
                      <a:gd name="connsiteX6" fmla="*/ 1 w 1884205"/>
                      <a:gd name="connsiteY6" fmla="*/ 278491 h 3381828"/>
                      <a:gd name="connsiteX7" fmla="*/ 278491 w 1884205"/>
                      <a:gd name="connsiteY7" fmla="*/ 0 h 3381828"/>
                      <a:gd name="connsiteX0" fmla="*/ 1412423 w 1884205"/>
                      <a:gd name="connsiteY0" fmla="*/ 1690912 h 3381828"/>
                      <a:gd name="connsiteX1" fmla="*/ 1 w 1884205"/>
                      <a:gd name="connsiteY1" fmla="*/ 278491 h 3381828"/>
                      <a:gd name="connsiteX2" fmla="*/ 278491 w 1884205"/>
                      <a:gd name="connsiteY2" fmla="*/ 0 h 3381828"/>
                      <a:gd name="connsiteX3" fmla="*/ 1823961 w 1884205"/>
                      <a:gd name="connsiteY3" fmla="*/ 1545469 h 3381828"/>
                      <a:gd name="connsiteX4" fmla="*/ 1823961 w 1884205"/>
                      <a:gd name="connsiteY4" fmla="*/ 1836357 h 3381828"/>
                      <a:gd name="connsiteX5" fmla="*/ 278490 w 1884205"/>
                      <a:gd name="connsiteY5" fmla="*/ 3381828 h 3381828"/>
                      <a:gd name="connsiteX6" fmla="*/ 0 w 1884205"/>
                      <a:gd name="connsiteY6" fmla="*/ 3103337 h 3381828"/>
                      <a:gd name="connsiteX7" fmla="*/ 1503863 w 1884205"/>
                      <a:gd name="connsiteY7" fmla="*/ 1782352 h 3381828"/>
                      <a:gd name="connsiteX0" fmla="*/ 1412423 w 1884205"/>
                      <a:gd name="connsiteY0" fmla="*/ 1690912 h 3381828"/>
                      <a:gd name="connsiteX1" fmla="*/ 1 w 1884205"/>
                      <a:gd name="connsiteY1" fmla="*/ 278491 h 3381828"/>
                      <a:gd name="connsiteX2" fmla="*/ 278491 w 1884205"/>
                      <a:gd name="connsiteY2" fmla="*/ 0 h 3381828"/>
                      <a:gd name="connsiteX3" fmla="*/ 1823961 w 1884205"/>
                      <a:gd name="connsiteY3" fmla="*/ 1545469 h 3381828"/>
                      <a:gd name="connsiteX4" fmla="*/ 1823961 w 1884205"/>
                      <a:gd name="connsiteY4" fmla="*/ 1836357 h 3381828"/>
                      <a:gd name="connsiteX5" fmla="*/ 278490 w 1884205"/>
                      <a:gd name="connsiteY5" fmla="*/ 3381828 h 3381828"/>
                      <a:gd name="connsiteX6" fmla="*/ 0 w 1884205"/>
                      <a:gd name="connsiteY6" fmla="*/ 3103337 h 3381828"/>
                      <a:gd name="connsiteX0" fmla="*/ 1 w 1884205"/>
                      <a:gd name="connsiteY0" fmla="*/ 278491 h 3381828"/>
                      <a:gd name="connsiteX1" fmla="*/ 278491 w 1884205"/>
                      <a:gd name="connsiteY1" fmla="*/ 0 h 3381828"/>
                      <a:gd name="connsiteX2" fmla="*/ 1823961 w 1884205"/>
                      <a:gd name="connsiteY2" fmla="*/ 1545469 h 3381828"/>
                      <a:gd name="connsiteX3" fmla="*/ 1823961 w 1884205"/>
                      <a:gd name="connsiteY3" fmla="*/ 1836357 h 3381828"/>
                      <a:gd name="connsiteX4" fmla="*/ 278490 w 1884205"/>
                      <a:gd name="connsiteY4" fmla="*/ 3381828 h 3381828"/>
                      <a:gd name="connsiteX5" fmla="*/ 0 w 1884205"/>
                      <a:gd name="connsiteY5" fmla="*/ 3103337 h 3381828"/>
                      <a:gd name="connsiteX0" fmla="*/ 0 w 1884204"/>
                      <a:gd name="connsiteY0" fmla="*/ 278491 h 3381828"/>
                      <a:gd name="connsiteX1" fmla="*/ 278490 w 1884204"/>
                      <a:gd name="connsiteY1" fmla="*/ 0 h 3381828"/>
                      <a:gd name="connsiteX2" fmla="*/ 1823960 w 1884204"/>
                      <a:gd name="connsiteY2" fmla="*/ 1545469 h 3381828"/>
                      <a:gd name="connsiteX3" fmla="*/ 1823960 w 1884204"/>
                      <a:gd name="connsiteY3" fmla="*/ 1836357 h 3381828"/>
                      <a:gd name="connsiteX4" fmla="*/ 278489 w 1884204"/>
                      <a:gd name="connsiteY4" fmla="*/ 3381828 h 3381828"/>
                      <a:gd name="connsiteX0" fmla="*/ 1 w 1605715"/>
                      <a:gd name="connsiteY0" fmla="*/ 0 h 3381828"/>
                      <a:gd name="connsiteX1" fmla="*/ 1545471 w 1605715"/>
                      <a:gd name="connsiteY1" fmla="*/ 1545469 h 3381828"/>
                      <a:gd name="connsiteX2" fmla="*/ 1545471 w 1605715"/>
                      <a:gd name="connsiteY2" fmla="*/ 1836357 h 3381828"/>
                      <a:gd name="connsiteX3" fmla="*/ 0 w 1605715"/>
                      <a:gd name="connsiteY3" fmla="*/ 3381828 h 33818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05715" h="3381828">
                        <a:moveTo>
                          <a:pt x="1" y="0"/>
                        </a:moveTo>
                        <a:lnTo>
                          <a:pt x="1545471" y="1545469"/>
                        </a:lnTo>
                        <a:cubicBezTo>
                          <a:pt x="1625797" y="1625796"/>
                          <a:pt x="1625797" y="1756031"/>
                          <a:pt x="1545471" y="1836357"/>
                        </a:cubicBezTo>
                        <a:lnTo>
                          <a:pt x="0" y="3381828"/>
                        </a:lnTo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64" name="Freeform: Shape 134">
                    <a:extLst>
                      <a:ext uri="{FF2B5EF4-FFF2-40B4-BE49-F238E27FC236}">
                        <a16:creationId xmlns:a16="http://schemas.microsoft.com/office/drawing/2014/main" id="{951E7792-D8A9-4F6C-A8ED-9ACF3688E6E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5154384" y="3131457"/>
                    <a:ext cx="627742" cy="627742"/>
                  </a:xfrm>
                  <a:custGeom>
                    <a:avLst/>
                    <a:gdLst>
                      <a:gd name="connsiteX0" fmla="*/ 250371 w 500742"/>
                      <a:gd name="connsiteY0" fmla="*/ 0 h 500742"/>
                      <a:gd name="connsiteX1" fmla="*/ 500742 w 500742"/>
                      <a:gd name="connsiteY1" fmla="*/ 250371 h 500742"/>
                      <a:gd name="connsiteX2" fmla="*/ 250371 w 500742"/>
                      <a:gd name="connsiteY2" fmla="*/ 500742 h 500742"/>
                      <a:gd name="connsiteX3" fmla="*/ 0 w 500742"/>
                      <a:gd name="connsiteY3" fmla="*/ 250371 h 500742"/>
                      <a:gd name="connsiteX4" fmla="*/ 250371 w 500742"/>
                      <a:gd name="connsiteY4" fmla="*/ 0 h 5007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0742" h="500742">
                        <a:moveTo>
                          <a:pt x="250371" y="0"/>
                        </a:moveTo>
                        <a:cubicBezTo>
                          <a:pt x="388647" y="0"/>
                          <a:pt x="500742" y="112095"/>
                          <a:pt x="500742" y="250371"/>
                        </a:cubicBezTo>
                        <a:cubicBezTo>
                          <a:pt x="500742" y="388647"/>
                          <a:pt x="388647" y="500742"/>
                          <a:pt x="250371" y="500742"/>
                        </a:cubicBezTo>
                        <a:cubicBezTo>
                          <a:pt x="112095" y="500742"/>
                          <a:pt x="0" y="388647"/>
                          <a:pt x="0" y="250371"/>
                        </a:cubicBezTo>
                        <a:cubicBezTo>
                          <a:pt x="0" y="112095"/>
                          <a:pt x="112095" y="0"/>
                          <a:pt x="250371" y="0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65" name="Freeform: Shape 135">
                    <a:extLst>
                      <a:ext uri="{FF2B5EF4-FFF2-40B4-BE49-F238E27FC236}">
                        <a16:creationId xmlns:a16="http://schemas.microsoft.com/office/drawing/2014/main" id="{DB12C2FC-53B5-4533-964B-4FFA3F46AD5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409870" y="3131457"/>
                    <a:ext cx="627742" cy="627742"/>
                  </a:xfrm>
                  <a:custGeom>
                    <a:avLst/>
                    <a:gdLst>
                      <a:gd name="connsiteX0" fmla="*/ 250371 w 500742"/>
                      <a:gd name="connsiteY0" fmla="*/ 0 h 500742"/>
                      <a:gd name="connsiteX1" fmla="*/ 500742 w 500742"/>
                      <a:gd name="connsiteY1" fmla="*/ 250371 h 500742"/>
                      <a:gd name="connsiteX2" fmla="*/ 250371 w 500742"/>
                      <a:gd name="connsiteY2" fmla="*/ 500742 h 500742"/>
                      <a:gd name="connsiteX3" fmla="*/ 0 w 500742"/>
                      <a:gd name="connsiteY3" fmla="*/ 250371 h 500742"/>
                      <a:gd name="connsiteX4" fmla="*/ 250371 w 500742"/>
                      <a:gd name="connsiteY4" fmla="*/ 0 h 5007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0742" h="500742">
                        <a:moveTo>
                          <a:pt x="250371" y="0"/>
                        </a:moveTo>
                        <a:cubicBezTo>
                          <a:pt x="388647" y="0"/>
                          <a:pt x="500742" y="112095"/>
                          <a:pt x="500742" y="250371"/>
                        </a:cubicBezTo>
                        <a:cubicBezTo>
                          <a:pt x="500742" y="388647"/>
                          <a:pt x="388647" y="500742"/>
                          <a:pt x="250371" y="500742"/>
                        </a:cubicBezTo>
                        <a:cubicBezTo>
                          <a:pt x="112095" y="500742"/>
                          <a:pt x="0" y="388647"/>
                          <a:pt x="0" y="250371"/>
                        </a:cubicBezTo>
                        <a:cubicBezTo>
                          <a:pt x="0" y="112095"/>
                          <a:pt x="112095" y="0"/>
                          <a:pt x="250371" y="0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grpSp>
              <p:nvGrpSpPr>
                <p:cNvPr id="143" name="Group 142">
                  <a:extLst>
                    <a:ext uri="{FF2B5EF4-FFF2-40B4-BE49-F238E27FC236}">
                      <a16:creationId xmlns:a16="http://schemas.microsoft.com/office/drawing/2014/main" id="{765AC8AD-A6DB-42E1-A88A-6136F61E9EF6}"/>
                    </a:ext>
                  </a:extLst>
                </p:cNvPr>
                <p:cNvGrpSpPr/>
                <p:nvPr/>
              </p:nvGrpSpPr>
              <p:grpSpPr>
                <a:xfrm>
                  <a:off x="9529086" y="3345220"/>
                  <a:ext cx="202925" cy="182040"/>
                  <a:chOff x="2974863" y="1824177"/>
                  <a:chExt cx="285701" cy="257980"/>
                </a:xfrm>
                <a:noFill/>
              </p:grpSpPr>
              <p:sp>
                <p:nvSpPr>
                  <p:cNvPr id="157" name="Rectangle 48">
                    <a:extLst>
                      <a:ext uri="{FF2B5EF4-FFF2-40B4-BE49-F238E27FC236}">
                        <a16:creationId xmlns:a16="http://schemas.microsoft.com/office/drawing/2014/main" id="{846B51E2-F4BD-4E4E-84D8-E30258A2040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974866" y="1824177"/>
                    <a:ext cx="285698" cy="257980"/>
                  </a:xfrm>
                  <a:prstGeom prst="rect">
                    <a:avLst/>
                  </a:pr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8" name="Freeform 49">
                    <a:extLst>
                      <a:ext uri="{FF2B5EF4-FFF2-40B4-BE49-F238E27FC236}">
                        <a16:creationId xmlns:a16="http://schemas.microsoft.com/office/drawing/2014/main" id="{8DE7FEB3-ACF2-460F-A271-A2BBA7F631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74863" y="1929714"/>
                    <a:ext cx="285697" cy="140716"/>
                  </a:xfrm>
                  <a:custGeom>
                    <a:avLst/>
                    <a:gdLst>
                      <a:gd name="T0" fmla="*/ 268 w 268"/>
                      <a:gd name="T1" fmla="*/ 132 h 132"/>
                      <a:gd name="T2" fmla="*/ 179 w 268"/>
                      <a:gd name="T3" fmla="*/ 44 h 132"/>
                      <a:gd name="T4" fmla="*/ 156 w 268"/>
                      <a:gd name="T5" fmla="*/ 66 h 132"/>
                      <a:gd name="T6" fmla="*/ 89 w 268"/>
                      <a:gd name="T7" fmla="*/ 0 h 132"/>
                      <a:gd name="T8" fmla="*/ 0 w 268"/>
                      <a:gd name="T9" fmla="*/ 88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8" h="132">
                        <a:moveTo>
                          <a:pt x="268" y="132"/>
                        </a:moveTo>
                        <a:lnTo>
                          <a:pt x="179" y="44"/>
                        </a:lnTo>
                        <a:lnTo>
                          <a:pt x="156" y="66"/>
                        </a:lnTo>
                        <a:lnTo>
                          <a:pt x="89" y="0"/>
                        </a:lnTo>
                        <a:lnTo>
                          <a:pt x="0" y="88"/>
                        </a:lnTo>
                      </a:path>
                    </a:pathLst>
                  </a:cu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1" name="Oval 160">
                    <a:extLst>
                      <a:ext uri="{FF2B5EF4-FFF2-40B4-BE49-F238E27FC236}">
                        <a16:creationId xmlns:a16="http://schemas.microsoft.com/office/drawing/2014/main" id="{DD3FA9B3-6754-48CC-8D7C-C67C08C6F3E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165681" y="1871082"/>
                    <a:ext cx="47971" cy="46905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4" name="Freeform 9">
                  <a:extLst>
                    <a:ext uri="{FF2B5EF4-FFF2-40B4-BE49-F238E27FC236}">
                      <a16:creationId xmlns:a16="http://schemas.microsoft.com/office/drawing/2014/main" id="{5754EDA7-6DCC-4DD7-BCB4-09104A48C1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095124" y="4049312"/>
                  <a:ext cx="325830" cy="237430"/>
                </a:xfrm>
                <a:custGeom>
                  <a:avLst/>
                  <a:gdLst>
                    <a:gd name="T0" fmla="*/ 3748 w 3748"/>
                    <a:gd name="T1" fmla="*/ 2562 h 2749"/>
                    <a:gd name="T2" fmla="*/ 3561 w 3748"/>
                    <a:gd name="T3" fmla="*/ 2749 h 2749"/>
                    <a:gd name="T4" fmla="*/ 187 w 3748"/>
                    <a:gd name="T5" fmla="*/ 2749 h 2749"/>
                    <a:gd name="T6" fmla="*/ 0 w 3748"/>
                    <a:gd name="T7" fmla="*/ 2562 h 2749"/>
                    <a:gd name="T8" fmla="*/ 0 w 3748"/>
                    <a:gd name="T9" fmla="*/ 187 h 2749"/>
                    <a:gd name="T10" fmla="*/ 187 w 3748"/>
                    <a:gd name="T11" fmla="*/ 0 h 2749"/>
                    <a:gd name="T12" fmla="*/ 3561 w 3748"/>
                    <a:gd name="T13" fmla="*/ 0 h 2749"/>
                    <a:gd name="T14" fmla="*/ 3748 w 3748"/>
                    <a:gd name="T15" fmla="*/ 187 h 2749"/>
                    <a:gd name="T16" fmla="*/ 3748 w 3748"/>
                    <a:gd name="T17" fmla="*/ 2562 h 2749"/>
                    <a:gd name="T18" fmla="*/ 2124 w 3748"/>
                    <a:gd name="T19" fmla="*/ 2249 h 2749"/>
                    <a:gd name="T20" fmla="*/ 1624 w 3748"/>
                    <a:gd name="T21" fmla="*/ 2249 h 27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748" h="2749">
                      <a:moveTo>
                        <a:pt x="3748" y="2562"/>
                      </a:moveTo>
                      <a:cubicBezTo>
                        <a:pt x="3748" y="2665"/>
                        <a:pt x="3665" y="2749"/>
                        <a:pt x="3561" y="2749"/>
                      </a:cubicBezTo>
                      <a:cubicBezTo>
                        <a:pt x="187" y="2749"/>
                        <a:pt x="187" y="2749"/>
                        <a:pt x="187" y="2749"/>
                      </a:cubicBezTo>
                      <a:cubicBezTo>
                        <a:pt x="83" y="2749"/>
                        <a:pt x="0" y="2665"/>
                        <a:pt x="0" y="2562"/>
                      </a:cubicBezTo>
                      <a:cubicBezTo>
                        <a:pt x="0" y="187"/>
                        <a:pt x="0" y="187"/>
                        <a:pt x="0" y="187"/>
                      </a:cubicBezTo>
                      <a:cubicBezTo>
                        <a:pt x="0" y="84"/>
                        <a:pt x="83" y="0"/>
                        <a:pt x="187" y="0"/>
                      </a:cubicBezTo>
                      <a:cubicBezTo>
                        <a:pt x="3561" y="0"/>
                        <a:pt x="3561" y="0"/>
                        <a:pt x="3561" y="0"/>
                      </a:cubicBezTo>
                      <a:cubicBezTo>
                        <a:pt x="3665" y="0"/>
                        <a:pt x="3748" y="84"/>
                        <a:pt x="3748" y="187"/>
                      </a:cubicBezTo>
                      <a:lnTo>
                        <a:pt x="3748" y="2562"/>
                      </a:lnTo>
                      <a:close/>
                      <a:moveTo>
                        <a:pt x="2124" y="2249"/>
                      </a:moveTo>
                      <a:cubicBezTo>
                        <a:pt x="1624" y="2249"/>
                        <a:pt x="1624" y="2249"/>
                        <a:pt x="1624" y="2249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448">
                  <a:extLst>
                    <a:ext uri="{FF2B5EF4-FFF2-40B4-BE49-F238E27FC236}">
                      <a16:creationId xmlns:a16="http://schemas.microsoft.com/office/drawing/2014/main" id="{6F05E337-A7C1-4B42-BD87-779E57B660F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095124" y="3644731"/>
                  <a:ext cx="437121" cy="289564"/>
                </a:xfrm>
                <a:custGeom>
                  <a:avLst/>
                  <a:gdLst>
                    <a:gd name="T0" fmla="*/ 3250 w 3750"/>
                    <a:gd name="T1" fmla="*/ 1750 h 2500"/>
                    <a:gd name="T2" fmla="*/ 500 w 3750"/>
                    <a:gd name="T3" fmla="*/ 1750 h 2500"/>
                    <a:gd name="T4" fmla="*/ 500 w 3750"/>
                    <a:gd name="T5" fmla="*/ 0 h 2500"/>
                    <a:gd name="T6" fmla="*/ 3250 w 3750"/>
                    <a:gd name="T7" fmla="*/ 0 h 2500"/>
                    <a:gd name="T8" fmla="*/ 3250 w 3750"/>
                    <a:gd name="T9" fmla="*/ 1750 h 2500"/>
                    <a:gd name="T10" fmla="*/ 0 w 3750"/>
                    <a:gd name="T11" fmla="*/ 2375 h 2500"/>
                    <a:gd name="T12" fmla="*/ 125 w 3750"/>
                    <a:gd name="T13" fmla="*/ 2500 h 2500"/>
                    <a:gd name="T14" fmla="*/ 3625 w 3750"/>
                    <a:gd name="T15" fmla="*/ 2500 h 2500"/>
                    <a:gd name="T16" fmla="*/ 3750 w 3750"/>
                    <a:gd name="T17" fmla="*/ 2375 h 2500"/>
                    <a:gd name="T18" fmla="*/ 3688 w 3750"/>
                    <a:gd name="T19" fmla="*/ 2187 h 2500"/>
                    <a:gd name="T20" fmla="*/ 3250 w 3750"/>
                    <a:gd name="T21" fmla="*/ 1750 h 2500"/>
                    <a:gd name="T22" fmla="*/ 500 w 3750"/>
                    <a:gd name="T23" fmla="*/ 1750 h 2500"/>
                    <a:gd name="T24" fmla="*/ 63 w 3750"/>
                    <a:gd name="T25" fmla="*/ 2187 h 2500"/>
                    <a:gd name="T26" fmla="*/ 0 w 3750"/>
                    <a:gd name="T27" fmla="*/ 2375 h 2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750" h="2500">
                      <a:moveTo>
                        <a:pt x="3250" y="1750"/>
                      </a:moveTo>
                      <a:cubicBezTo>
                        <a:pt x="500" y="1750"/>
                        <a:pt x="500" y="1750"/>
                        <a:pt x="500" y="1750"/>
                      </a:cubicBezTo>
                      <a:cubicBezTo>
                        <a:pt x="500" y="0"/>
                        <a:pt x="500" y="0"/>
                        <a:pt x="500" y="0"/>
                      </a:cubicBezTo>
                      <a:cubicBezTo>
                        <a:pt x="3250" y="0"/>
                        <a:pt x="3250" y="0"/>
                        <a:pt x="3250" y="0"/>
                      </a:cubicBezTo>
                      <a:lnTo>
                        <a:pt x="3250" y="1750"/>
                      </a:lnTo>
                      <a:close/>
                      <a:moveTo>
                        <a:pt x="0" y="2375"/>
                      </a:moveTo>
                      <a:cubicBezTo>
                        <a:pt x="0" y="2444"/>
                        <a:pt x="56" y="2500"/>
                        <a:pt x="125" y="2500"/>
                      </a:cubicBezTo>
                      <a:cubicBezTo>
                        <a:pt x="3625" y="2500"/>
                        <a:pt x="3625" y="2500"/>
                        <a:pt x="3625" y="2500"/>
                      </a:cubicBezTo>
                      <a:cubicBezTo>
                        <a:pt x="3694" y="2500"/>
                        <a:pt x="3750" y="2444"/>
                        <a:pt x="3750" y="2375"/>
                      </a:cubicBezTo>
                      <a:cubicBezTo>
                        <a:pt x="3750" y="2302"/>
                        <a:pt x="3726" y="2235"/>
                        <a:pt x="3688" y="2187"/>
                      </a:cubicBezTo>
                      <a:cubicBezTo>
                        <a:pt x="3250" y="1750"/>
                        <a:pt x="3250" y="1750"/>
                        <a:pt x="3250" y="1750"/>
                      </a:cubicBezTo>
                      <a:cubicBezTo>
                        <a:pt x="500" y="1750"/>
                        <a:pt x="500" y="1750"/>
                        <a:pt x="500" y="1750"/>
                      </a:cubicBezTo>
                      <a:cubicBezTo>
                        <a:pt x="63" y="2187"/>
                        <a:pt x="63" y="2187"/>
                        <a:pt x="63" y="2187"/>
                      </a:cubicBezTo>
                      <a:cubicBezTo>
                        <a:pt x="24" y="2235"/>
                        <a:pt x="0" y="2302"/>
                        <a:pt x="0" y="2375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5">
                  <a:extLst>
                    <a:ext uri="{FF2B5EF4-FFF2-40B4-BE49-F238E27FC236}">
                      <a16:creationId xmlns:a16="http://schemas.microsoft.com/office/drawing/2014/main" id="{EE6651DF-F377-40AC-99C6-D2914BF0CBD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42303" y="3288299"/>
                  <a:ext cx="142762" cy="235885"/>
                </a:xfrm>
                <a:custGeom>
                  <a:avLst/>
                  <a:gdLst>
                    <a:gd name="T0" fmla="*/ 2125 w 2250"/>
                    <a:gd name="T1" fmla="*/ 3750 h 3750"/>
                    <a:gd name="T2" fmla="*/ 125 w 2250"/>
                    <a:gd name="T3" fmla="*/ 3750 h 3750"/>
                    <a:gd name="T4" fmla="*/ 0 w 2250"/>
                    <a:gd name="T5" fmla="*/ 3625 h 3750"/>
                    <a:gd name="T6" fmla="*/ 0 w 2250"/>
                    <a:gd name="T7" fmla="*/ 125 h 3750"/>
                    <a:gd name="T8" fmla="*/ 125 w 2250"/>
                    <a:gd name="T9" fmla="*/ 0 h 3750"/>
                    <a:gd name="T10" fmla="*/ 2125 w 2250"/>
                    <a:gd name="T11" fmla="*/ 0 h 3750"/>
                    <a:gd name="T12" fmla="*/ 2250 w 2250"/>
                    <a:gd name="T13" fmla="*/ 125 h 3750"/>
                    <a:gd name="T14" fmla="*/ 2250 w 2250"/>
                    <a:gd name="T15" fmla="*/ 3625 h 3750"/>
                    <a:gd name="T16" fmla="*/ 2125 w 2250"/>
                    <a:gd name="T17" fmla="*/ 3750 h 3750"/>
                    <a:gd name="T18" fmla="*/ 875 w 2250"/>
                    <a:gd name="T19" fmla="*/ 3250 h 3750"/>
                    <a:gd name="T20" fmla="*/ 1375 w 2250"/>
                    <a:gd name="T21" fmla="*/ 3250 h 37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250" h="3750">
                      <a:moveTo>
                        <a:pt x="2125" y="3750"/>
                      </a:moveTo>
                      <a:cubicBezTo>
                        <a:pt x="125" y="3750"/>
                        <a:pt x="125" y="3750"/>
                        <a:pt x="125" y="3750"/>
                      </a:cubicBezTo>
                      <a:cubicBezTo>
                        <a:pt x="56" y="3750"/>
                        <a:pt x="0" y="3694"/>
                        <a:pt x="0" y="3625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56"/>
                        <a:pt x="56" y="0"/>
                        <a:pt x="125" y="0"/>
                      </a:cubicBezTo>
                      <a:cubicBezTo>
                        <a:pt x="2125" y="0"/>
                        <a:pt x="2125" y="0"/>
                        <a:pt x="2125" y="0"/>
                      </a:cubicBezTo>
                      <a:cubicBezTo>
                        <a:pt x="2194" y="0"/>
                        <a:pt x="2250" y="56"/>
                        <a:pt x="2250" y="125"/>
                      </a:cubicBezTo>
                      <a:cubicBezTo>
                        <a:pt x="2250" y="3625"/>
                        <a:pt x="2250" y="3625"/>
                        <a:pt x="2250" y="3625"/>
                      </a:cubicBezTo>
                      <a:cubicBezTo>
                        <a:pt x="2250" y="3694"/>
                        <a:pt x="2194" y="3750"/>
                        <a:pt x="2125" y="3750"/>
                      </a:cubicBezTo>
                      <a:close/>
                      <a:moveTo>
                        <a:pt x="875" y="3250"/>
                      </a:moveTo>
                      <a:cubicBezTo>
                        <a:pt x="1375" y="3250"/>
                        <a:pt x="1375" y="3250"/>
                        <a:pt x="1375" y="3250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49" name="Group 148">
                  <a:extLst>
                    <a:ext uri="{FF2B5EF4-FFF2-40B4-BE49-F238E27FC236}">
                      <a16:creationId xmlns:a16="http://schemas.microsoft.com/office/drawing/2014/main" id="{D44B5479-DAD6-43B8-8D79-661AC7D5A4A0}"/>
                    </a:ext>
                  </a:extLst>
                </p:cNvPr>
                <p:cNvGrpSpPr/>
                <p:nvPr/>
              </p:nvGrpSpPr>
              <p:grpSpPr>
                <a:xfrm>
                  <a:off x="9528781" y="4077410"/>
                  <a:ext cx="97135" cy="181233"/>
                  <a:chOff x="4064485" y="1802065"/>
                  <a:chExt cx="240628" cy="227361"/>
                </a:xfrm>
                <a:noFill/>
              </p:grpSpPr>
              <p:sp>
                <p:nvSpPr>
                  <p:cNvPr id="154" name="Line 46">
                    <a:extLst>
                      <a:ext uri="{FF2B5EF4-FFF2-40B4-BE49-F238E27FC236}">
                        <a16:creationId xmlns:a16="http://schemas.microsoft.com/office/drawing/2014/main" id="{43779392-D854-4996-AF6F-14730796366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064485" y="1802065"/>
                    <a:ext cx="240620" cy="0"/>
                  </a:xfrm>
                  <a:prstGeom prst="line">
                    <a:avLst/>
                  </a:pr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5" name="Line 47">
                    <a:extLst>
                      <a:ext uri="{FF2B5EF4-FFF2-40B4-BE49-F238E27FC236}">
                        <a16:creationId xmlns:a16="http://schemas.microsoft.com/office/drawing/2014/main" id="{2555A14C-24D9-4B02-801C-25FC0A837D9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64489" y="1917069"/>
                    <a:ext cx="240620" cy="0"/>
                  </a:xfrm>
                  <a:prstGeom prst="line">
                    <a:avLst/>
                  </a:pr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Line 54">
                    <a:extLst>
                      <a:ext uri="{FF2B5EF4-FFF2-40B4-BE49-F238E27FC236}">
                        <a16:creationId xmlns:a16="http://schemas.microsoft.com/office/drawing/2014/main" id="{CA5D1864-B8FE-496B-82AB-568FC6B88C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064493" y="2029426"/>
                    <a:ext cx="240620" cy="0"/>
                  </a:xfrm>
                  <a:prstGeom prst="line">
                    <a:avLst/>
                  </a:pr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50" name="Freeform: Shape 168">
                  <a:extLst>
                    <a:ext uri="{FF2B5EF4-FFF2-40B4-BE49-F238E27FC236}">
                      <a16:creationId xmlns:a16="http://schemas.microsoft.com/office/drawing/2014/main" id="{139D9A4F-93FF-4E72-9AFD-367A63FA43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9720227" y="4046344"/>
                  <a:ext cx="290953" cy="243366"/>
                </a:xfrm>
                <a:custGeom>
                  <a:avLst/>
                  <a:gdLst>
                    <a:gd name="connsiteX0" fmla="*/ 0 w 541845"/>
                    <a:gd name="connsiteY0" fmla="*/ 0 h 456200"/>
                    <a:gd name="connsiteX1" fmla="*/ 541845 w 541845"/>
                    <a:gd name="connsiteY1" fmla="*/ 0 h 456200"/>
                    <a:gd name="connsiteX2" fmla="*/ 541845 w 541845"/>
                    <a:gd name="connsiteY2" fmla="*/ 336005 h 456200"/>
                    <a:gd name="connsiteX3" fmla="*/ 170403 w 541845"/>
                    <a:gd name="connsiteY3" fmla="*/ 336005 h 456200"/>
                    <a:gd name="connsiteX4" fmla="*/ 50208 w 541845"/>
                    <a:gd name="connsiteY4" fmla="*/ 456200 h 456200"/>
                    <a:gd name="connsiteX5" fmla="*/ 50208 w 541845"/>
                    <a:gd name="connsiteY5" fmla="*/ 336005 h 456200"/>
                    <a:gd name="connsiteX6" fmla="*/ 0 w 541845"/>
                    <a:gd name="connsiteY6" fmla="*/ 336005 h 45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1845" h="456200">
                      <a:moveTo>
                        <a:pt x="0" y="0"/>
                      </a:moveTo>
                      <a:lnTo>
                        <a:pt x="541845" y="0"/>
                      </a:lnTo>
                      <a:lnTo>
                        <a:pt x="541845" y="336005"/>
                      </a:lnTo>
                      <a:lnTo>
                        <a:pt x="170403" y="336005"/>
                      </a:lnTo>
                      <a:lnTo>
                        <a:pt x="50208" y="456200"/>
                      </a:lnTo>
                      <a:lnTo>
                        <a:pt x="50208" y="336005"/>
                      </a:lnTo>
                      <a:lnTo>
                        <a:pt x="0" y="336005"/>
                      </a:lnTo>
                      <a:close/>
                    </a:path>
                  </a:pathLst>
                </a:custGeom>
                <a:noFill/>
                <a:ln w="127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51" name="Group 150">
                  <a:extLst>
                    <a:ext uri="{FF2B5EF4-FFF2-40B4-BE49-F238E27FC236}">
                      <a16:creationId xmlns:a16="http://schemas.microsoft.com/office/drawing/2014/main" id="{DA2FE695-946F-4718-9A54-74BDF917701A}"/>
                    </a:ext>
                  </a:extLst>
                </p:cNvPr>
                <p:cNvGrpSpPr/>
                <p:nvPr/>
              </p:nvGrpSpPr>
              <p:grpSpPr>
                <a:xfrm>
                  <a:off x="9855639" y="3437294"/>
                  <a:ext cx="97133" cy="89562"/>
                  <a:chOff x="9766486" y="4221497"/>
                  <a:chExt cx="118215" cy="109717"/>
                </a:xfrm>
              </p:grpSpPr>
              <p:sp>
                <p:nvSpPr>
                  <p:cNvPr id="152" name="Line 47">
                    <a:extLst>
                      <a:ext uri="{FF2B5EF4-FFF2-40B4-BE49-F238E27FC236}">
                        <a16:creationId xmlns:a16="http://schemas.microsoft.com/office/drawing/2014/main" id="{0198489B-9170-4826-85D9-2BEC8C6FF9E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766486" y="4221497"/>
                    <a:ext cx="118214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3" name="Line 54">
                    <a:extLst>
                      <a:ext uri="{FF2B5EF4-FFF2-40B4-BE49-F238E27FC236}">
                        <a16:creationId xmlns:a16="http://schemas.microsoft.com/office/drawing/2014/main" id="{F701F9A3-75E6-423A-9A70-E79733C6611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9766486" y="4331214"/>
                    <a:ext cx="118215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B9405865-ED16-4FD1-84FE-0C0FB359E8AA}"/>
                  </a:ext>
                </a:extLst>
              </p:cNvPr>
              <p:cNvGrpSpPr/>
              <p:nvPr/>
            </p:nvGrpSpPr>
            <p:grpSpPr>
              <a:xfrm>
                <a:off x="10362583" y="4585161"/>
                <a:ext cx="677513" cy="576345"/>
                <a:chOff x="10725498" y="5087603"/>
                <a:chExt cx="498940" cy="424437"/>
              </a:xfrm>
            </p:grpSpPr>
            <p:sp>
              <p:nvSpPr>
                <p:cNvPr id="194" name="graph_2">
                  <a:extLst>
                    <a:ext uri="{FF2B5EF4-FFF2-40B4-BE49-F238E27FC236}">
                      <a16:creationId xmlns:a16="http://schemas.microsoft.com/office/drawing/2014/main" id="{55D37732-EEBF-4B63-B2DB-EC15152E8E3E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10829194" y="5267741"/>
                  <a:ext cx="291548" cy="170948"/>
                </a:xfrm>
                <a:custGeom>
                  <a:avLst/>
                  <a:gdLst>
                    <a:gd name="T0" fmla="*/ 195 w 249"/>
                    <a:gd name="T1" fmla="*/ 0 h 146"/>
                    <a:gd name="T2" fmla="*/ 244 w 249"/>
                    <a:gd name="T3" fmla="*/ 0 h 146"/>
                    <a:gd name="T4" fmla="*/ 244 w 249"/>
                    <a:gd name="T5" fmla="*/ 50 h 146"/>
                    <a:gd name="T6" fmla="*/ 244 w 249"/>
                    <a:gd name="T7" fmla="*/ 0 h 146"/>
                    <a:gd name="T8" fmla="*/ 141 w 249"/>
                    <a:gd name="T9" fmla="*/ 106 h 146"/>
                    <a:gd name="T10" fmla="*/ 109 w 249"/>
                    <a:gd name="T11" fmla="*/ 106 h 146"/>
                    <a:gd name="T12" fmla="*/ 0 w 249"/>
                    <a:gd name="T13" fmla="*/ 146 h 146"/>
                    <a:gd name="T14" fmla="*/ 249 w 249"/>
                    <a:gd name="T15" fmla="*/ 146 h 146"/>
                    <a:gd name="T16" fmla="*/ 88 w 249"/>
                    <a:gd name="T17" fmla="*/ 106 h 146"/>
                    <a:gd name="T18" fmla="*/ 54 w 249"/>
                    <a:gd name="T19" fmla="*/ 106 h 146"/>
                    <a:gd name="T20" fmla="*/ 35 w 249"/>
                    <a:gd name="T21" fmla="*/ 106 h 146"/>
                    <a:gd name="T22" fmla="*/ 1 w 249"/>
                    <a:gd name="T23" fmla="*/ 10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9" h="146">
                      <a:moveTo>
                        <a:pt x="195" y="0"/>
                      </a:moveTo>
                      <a:lnTo>
                        <a:pt x="244" y="0"/>
                      </a:lnTo>
                      <a:lnTo>
                        <a:pt x="244" y="50"/>
                      </a:lnTo>
                      <a:moveTo>
                        <a:pt x="244" y="0"/>
                      </a:moveTo>
                      <a:lnTo>
                        <a:pt x="141" y="106"/>
                      </a:lnTo>
                      <a:lnTo>
                        <a:pt x="109" y="106"/>
                      </a:lnTo>
                      <a:moveTo>
                        <a:pt x="0" y="146"/>
                      </a:moveTo>
                      <a:lnTo>
                        <a:pt x="249" y="146"/>
                      </a:lnTo>
                      <a:moveTo>
                        <a:pt x="88" y="106"/>
                      </a:moveTo>
                      <a:lnTo>
                        <a:pt x="54" y="106"/>
                      </a:lnTo>
                      <a:moveTo>
                        <a:pt x="35" y="106"/>
                      </a:moveTo>
                      <a:lnTo>
                        <a:pt x="1" y="106"/>
                      </a:ln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F6BAF35B-F1C6-47AB-B29C-ED6C9DC63ED7}"/>
                    </a:ext>
                  </a:extLst>
                </p:cNvPr>
                <p:cNvGrpSpPr/>
                <p:nvPr/>
              </p:nvGrpSpPr>
              <p:grpSpPr>
                <a:xfrm>
                  <a:off x="10725498" y="5087603"/>
                  <a:ext cx="498940" cy="424437"/>
                  <a:chOff x="10725498" y="5087603"/>
                  <a:chExt cx="498940" cy="424437"/>
                </a:xfrm>
              </p:grpSpPr>
              <p:sp>
                <p:nvSpPr>
                  <p:cNvPr id="198" name="Rectangle 9">
                    <a:extLst>
                      <a:ext uri="{FF2B5EF4-FFF2-40B4-BE49-F238E27FC236}">
                        <a16:creationId xmlns:a16="http://schemas.microsoft.com/office/drawing/2014/main" id="{C94AE980-EB38-46BD-8FB2-9D3E3E57FD5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0725498" y="5087603"/>
                    <a:ext cx="498940" cy="424437"/>
                  </a:xfrm>
                  <a:prstGeom prst="rect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9" name="Line 10">
                    <a:extLst>
                      <a:ext uri="{FF2B5EF4-FFF2-40B4-BE49-F238E27FC236}">
                        <a16:creationId xmlns:a16="http://schemas.microsoft.com/office/drawing/2014/main" id="{0CD8DEDD-5B74-45A7-A005-61BFAD569DF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0725498" y="5202743"/>
                    <a:ext cx="498940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0" name="Oval 11">
                    <a:extLst>
                      <a:ext uri="{FF2B5EF4-FFF2-40B4-BE49-F238E27FC236}">
                        <a16:creationId xmlns:a16="http://schemas.microsoft.com/office/drawing/2014/main" id="{DF3C3C4E-8CFF-4176-A7D9-971EDB16533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014477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1" name="Oval 12">
                    <a:extLst>
                      <a:ext uri="{FF2B5EF4-FFF2-40B4-BE49-F238E27FC236}">
                        <a16:creationId xmlns:a16="http://schemas.microsoft.com/office/drawing/2014/main" id="{F46D44F1-B6E5-4C02-80E4-0FF710690B3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070918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2" name="Oval 13">
                    <a:extLst>
                      <a:ext uri="{FF2B5EF4-FFF2-40B4-BE49-F238E27FC236}">
                        <a16:creationId xmlns:a16="http://schemas.microsoft.com/office/drawing/2014/main" id="{439A2BC6-7F24-4009-A587-F12B6D45166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129617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238" name="Shape 101">
                <a:extLst>
                  <a:ext uri="{FF2B5EF4-FFF2-40B4-BE49-F238E27FC236}">
                    <a16:creationId xmlns:a16="http://schemas.microsoft.com/office/drawing/2014/main" id="{B2737DD1-7D22-451D-A367-0EDC6532EE0B}"/>
                  </a:ext>
                </a:extLst>
              </p:cNvPr>
              <p:cNvSpPr txBox="1"/>
              <p:nvPr/>
            </p:nvSpPr>
            <p:spPr>
              <a:xfrm>
                <a:off x="9946442" y="4104917"/>
                <a:ext cx="1534447" cy="2778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325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  <a:sym typeface="Calibri"/>
                  </a:rPr>
                  <a:t>Operational reports</a:t>
                </a:r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1DD3BEF8-F2D3-4A68-9B30-12258C9969AC}"/>
                  </a:ext>
                </a:extLst>
              </p:cNvPr>
              <p:cNvGrpSpPr/>
              <p:nvPr/>
            </p:nvGrpSpPr>
            <p:grpSpPr>
              <a:xfrm>
                <a:off x="10349269" y="3465702"/>
                <a:ext cx="677513" cy="576345"/>
                <a:chOff x="10295202" y="3465702"/>
                <a:chExt cx="677513" cy="576345"/>
              </a:xfrm>
            </p:grpSpPr>
            <p:grpSp>
              <p:nvGrpSpPr>
                <p:cNvPr id="231" name="Group 230">
                  <a:extLst>
                    <a:ext uri="{FF2B5EF4-FFF2-40B4-BE49-F238E27FC236}">
                      <a16:creationId xmlns:a16="http://schemas.microsoft.com/office/drawing/2014/main" id="{2B6089EC-A82E-4D63-94B4-56F7B0236774}"/>
                    </a:ext>
                  </a:extLst>
                </p:cNvPr>
                <p:cNvGrpSpPr/>
                <p:nvPr/>
              </p:nvGrpSpPr>
              <p:grpSpPr>
                <a:xfrm>
                  <a:off x="10295202" y="3465702"/>
                  <a:ext cx="677513" cy="576345"/>
                  <a:chOff x="10725498" y="5087603"/>
                  <a:chExt cx="498940" cy="424437"/>
                </a:xfrm>
              </p:grpSpPr>
              <p:sp>
                <p:nvSpPr>
                  <p:cNvPr id="233" name="Rectangle 9">
                    <a:extLst>
                      <a:ext uri="{FF2B5EF4-FFF2-40B4-BE49-F238E27FC236}">
                        <a16:creationId xmlns:a16="http://schemas.microsoft.com/office/drawing/2014/main" id="{64DF5A8B-8562-43DF-A75F-01BE6030547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0725498" y="5087603"/>
                    <a:ext cx="498940" cy="424437"/>
                  </a:xfrm>
                  <a:prstGeom prst="rect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Line 10">
                    <a:extLst>
                      <a:ext uri="{FF2B5EF4-FFF2-40B4-BE49-F238E27FC236}">
                        <a16:creationId xmlns:a16="http://schemas.microsoft.com/office/drawing/2014/main" id="{55D2C6BD-31EC-43D4-8BD4-3D073D4A0B4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0725498" y="5202743"/>
                    <a:ext cx="498940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Oval 11">
                    <a:extLst>
                      <a:ext uri="{FF2B5EF4-FFF2-40B4-BE49-F238E27FC236}">
                        <a16:creationId xmlns:a16="http://schemas.microsoft.com/office/drawing/2014/main" id="{2FB7F8B0-3B91-4436-BCE0-C9174BA3C4C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014477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Oval 12">
                    <a:extLst>
                      <a:ext uri="{FF2B5EF4-FFF2-40B4-BE49-F238E27FC236}">
                        <a16:creationId xmlns:a16="http://schemas.microsoft.com/office/drawing/2014/main" id="{F482BAFD-6614-47C8-A692-AEF4463D03B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070918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Oval 13">
                    <a:extLst>
                      <a:ext uri="{FF2B5EF4-FFF2-40B4-BE49-F238E27FC236}">
                        <a16:creationId xmlns:a16="http://schemas.microsoft.com/office/drawing/2014/main" id="{64AAA125-35D5-4E98-8591-D42E3055136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129617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39" name="Rectangle 6">
                  <a:extLst>
                    <a:ext uri="{FF2B5EF4-FFF2-40B4-BE49-F238E27FC236}">
                      <a16:creationId xmlns:a16="http://schemas.microsoft.com/office/drawing/2014/main" id="{E5E9C6B9-DE53-4643-9C4A-7728FC14FA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521830" y="3822836"/>
                  <a:ext cx="52858" cy="175091"/>
                </a:xfrm>
                <a:prstGeom prst="rect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72421" tIns="36211" rIns="72421" bIns="3621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4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Rectangle 7">
                  <a:extLst>
                    <a:ext uri="{FF2B5EF4-FFF2-40B4-BE49-F238E27FC236}">
                      <a16:creationId xmlns:a16="http://schemas.microsoft.com/office/drawing/2014/main" id="{ACD3FB5E-29BB-4681-A71E-6B9903AD0E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625894" y="3669218"/>
                  <a:ext cx="54510" cy="328709"/>
                </a:xfrm>
                <a:prstGeom prst="rect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72421" tIns="36211" rIns="72421" bIns="3621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4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Rectangle 8">
                  <a:extLst>
                    <a:ext uri="{FF2B5EF4-FFF2-40B4-BE49-F238E27FC236}">
                      <a16:creationId xmlns:a16="http://schemas.microsoft.com/office/drawing/2014/main" id="{9D3E2615-C536-4356-B157-AC746377EE7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731610" y="3736942"/>
                  <a:ext cx="54510" cy="260985"/>
                </a:xfrm>
                <a:prstGeom prst="rect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72421" tIns="36211" rIns="72421" bIns="3621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4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95611ECB-8432-467F-832C-AF9FA82323EC}"/>
                </a:ext>
              </a:extLst>
            </p:cNvPr>
            <p:cNvSpPr/>
            <p:nvPr/>
          </p:nvSpPr>
          <p:spPr bwMode="auto">
            <a:xfrm>
              <a:off x="9960535" y="1697248"/>
              <a:ext cx="1432897" cy="307777"/>
            </a:xfrm>
            <a:prstGeom prst="rect">
              <a:avLst/>
            </a:prstGeom>
            <a:noFill/>
            <a:ln w="3175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spAutoFit/>
            </a:bodyPr>
            <a:lstStyle/>
            <a:p>
              <a:pPr marL="0" marR="0" lvl="0" indent="0" algn="ctr" defTabSz="71059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Intelligence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26F7D452-0040-4DAD-BA87-7BE5B8388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</a:pPr>
            <a:r>
              <a:rPr lang="en-US" sz="2800" spc="500" dirty="0">
                <a:solidFill>
                  <a:srgbClr val="0078D7"/>
                </a:solidFill>
                <a:latin typeface="Segoe UI Semilight" charset="0"/>
                <a:ea typeface=""/>
                <a:cs typeface="Segoe UI Semilight" charset="0"/>
              </a:rPr>
              <a:t>Big Data &amp; Advanced Analytics at a glance</a:t>
            </a:r>
            <a:endParaRPr lang="en-US" sz="2800" spc="500" dirty="0">
              <a:solidFill>
                <a:srgbClr val="0078D7"/>
              </a:solidFill>
              <a:latin typeface="Segoe UI Semilight" charset="0"/>
              <a:cs typeface="Segoe UI Semilight" charset="0"/>
            </a:endParaRP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BD3EE901-8B1D-4515-8F43-40D02C09AC24}"/>
              </a:ext>
            </a:extLst>
          </p:cNvPr>
          <p:cNvCxnSpPr>
            <a:cxnSpLocks/>
          </p:cNvCxnSpPr>
          <p:nvPr/>
        </p:nvCxnSpPr>
        <p:spPr>
          <a:xfrm rot="10800000" flipV="1">
            <a:off x="7797312" y="3057069"/>
            <a:ext cx="12700" cy="1384913"/>
          </a:xfrm>
          <a:prstGeom prst="bentConnector3">
            <a:avLst>
              <a:gd name="adj1" fmla="val 1800000"/>
            </a:avLst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E57DD79A-C5E6-4E07-8EFA-42AB880854A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57" y="1614888"/>
            <a:ext cx="416196" cy="406286"/>
            <a:chOff x="1759" y="236"/>
            <a:chExt cx="252" cy="246"/>
          </a:xfrm>
          <a:noFill/>
        </p:grpSpPr>
        <p:sp>
          <p:nvSpPr>
            <p:cNvPr id="168" name="Freeform 106">
              <a:extLst>
                <a:ext uri="{FF2B5EF4-FFF2-40B4-BE49-F238E27FC236}">
                  <a16:creationId xmlns:a16="http://schemas.microsoft.com/office/drawing/2014/main" id="{2C21B8F4-D961-4AAE-BD18-A747067D6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" y="236"/>
              <a:ext cx="252" cy="246"/>
            </a:xfrm>
            <a:custGeom>
              <a:avLst/>
              <a:gdLst>
                <a:gd name="T0" fmla="*/ 0 w 252"/>
                <a:gd name="T1" fmla="*/ 0 h 246"/>
                <a:gd name="T2" fmla="*/ 0 w 252"/>
                <a:gd name="T3" fmla="*/ 246 h 246"/>
                <a:gd name="T4" fmla="*/ 252 w 252"/>
                <a:gd name="T5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2" h="246">
                  <a:moveTo>
                    <a:pt x="0" y="0"/>
                  </a:moveTo>
                  <a:lnTo>
                    <a:pt x="0" y="246"/>
                  </a:lnTo>
                  <a:lnTo>
                    <a:pt x="252" y="246"/>
                  </a:lnTo>
                </a:path>
              </a:pathLst>
            </a:cu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72411" tIns="36206" rIns="72411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3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32F3A4B-33C1-45CB-A0F0-210E799046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9" y="376"/>
              <a:ext cx="32" cy="106"/>
            </a:xfrm>
            <a:prstGeom prst="rect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72411" tIns="36206" rIns="72411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3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88761354-A028-4A1B-8B85-CABA5C5B18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2" y="283"/>
              <a:ext cx="33" cy="199"/>
            </a:xfrm>
            <a:prstGeom prst="rect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72411" tIns="36206" rIns="72411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3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FD585D5E-4C4B-4E11-9D00-DE4F413DDD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6" y="324"/>
              <a:ext cx="33" cy="158"/>
            </a:xfrm>
            <a:prstGeom prst="rect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72411" tIns="36206" rIns="72411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3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sp>
        <p:nvSpPr>
          <p:cNvPr id="179" name="TextBox 178">
            <a:extLst>
              <a:ext uri="{FF2B5EF4-FFF2-40B4-BE49-F238E27FC236}">
                <a16:creationId xmlns:a16="http://schemas.microsoft.com/office/drawing/2014/main" id="{30693531-66D0-45AA-B0FD-1BDFD5C1056A}"/>
              </a:ext>
            </a:extLst>
          </p:cNvPr>
          <p:cNvSpPr txBox="1"/>
          <p:nvPr/>
        </p:nvSpPr>
        <p:spPr>
          <a:xfrm>
            <a:off x="467317" y="2074518"/>
            <a:ext cx="77328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5897BC48-3227-4115-B75F-6883BF73317A}"/>
              </a:ext>
            </a:extLst>
          </p:cNvPr>
          <p:cNvGrpSpPr/>
          <p:nvPr/>
        </p:nvGrpSpPr>
        <p:grpSpPr>
          <a:xfrm>
            <a:off x="2146238" y="2287772"/>
            <a:ext cx="231202" cy="232210"/>
            <a:chOff x="5279190" y="5401430"/>
            <a:chExt cx="1101836" cy="1106637"/>
          </a:xfrm>
        </p:grpSpPr>
        <p:sp>
          <p:nvSpPr>
            <p:cNvPr id="122" name="Freeform: Shape 815">
              <a:extLst>
                <a:ext uri="{FF2B5EF4-FFF2-40B4-BE49-F238E27FC236}">
                  <a16:creationId xmlns:a16="http://schemas.microsoft.com/office/drawing/2014/main" id="{01BD0F51-1A3F-43E4-AC48-CFF2C9E8C28D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3" name="Freeform: Shape 816">
              <a:extLst>
                <a:ext uri="{FF2B5EF4-FFF2-40B4-BE49-F238E27FC236}">
                  <a16:creationId xmlns:a16="http://schemas.microsoft.com/office/drawing/2014/main" id="{EEE7910A-EB26-46F9-A48E-7AD7497142E8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4" name="Freeform: Shape 817">
              <a:extLst>
                <a:ext uri="{FF2B5EF4-FFF2-40B4-BE49-F238E27FC236}">
                  <a16:creationId xmlns:a16="http://schemas.microsoft.com/office/drawing/2014/main" id="{5939A067-0BC1-4F76-9BFE-9BC592C09A6D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5" name="Freeform: Shape 818">
              <a:extLst>
                <a:ext uri="{FF2B5EF4-FFF2-40B4-BE49-F238E27FC236}">
                  <a16:creationId xmlns:a16="http://schemas.microsoft.com/office/drawing/2014/main" id="{0F6D1B4C-5DF2-4346-A194-3D43D4800F1B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126" name="Freeform: Shape 819">
              <a:extLst>
                <a:ext uri="{FF2B5EF4-FFF2-40B4-BE49-F238E27FC236}">
                  <a16:creationId xmlns:a16="http://schemas.microsoft.com/office/drawing/2014/main" id="{9A8C1A94-2668-4A35-91C0-77DA46B7CCB0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6CF4A718-DEEA-42A8-98B4-2FBF865A2C02}"/>
              </a:ext>
            </a:extLst>
          </p:cNvPr>
          <p:cNvGrpSpPr/>
          <p:nvPr/>
        </p:nvGrpSpPr>
        <p:grpSpPr>
          <a:xfrm>
            <a:off x="7880661" y="4256641"/>
            <a:ext cx="336024" cy="329990"/>
            <a:chOff x="2549926" y="1227604"/>
            <a:chExt cx="5177116" cy="5084148"/>
          </a:xfrm>
        </p:grpSpPr>
        <p:sp>
          <p:nvSpPr>
            <p:cNvPr id="130" name="Freeform: Shape 821">
              <a:extLst>
                <a:ext uri="{FF2B5EF4-FFF2-40B4-BE49-F238E27FC236}">
                  <a16:creationId xmlns:a16="http://schemas.microsoft.com/office/drawing/2014/main" id="{A65B318A-6090-4EF1-AB51-9F62861083E3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64AF47D1-0876-4616-B3B7-D9F02C6B2266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2C4FDB89-B67C-4C6B-ADC2-16F19F904BCB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158C6DFD-5891-443D-AA58-E77A406A7025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436CF3E6-8A70-4CE5-BF4B-8C6312C36564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EDB9BEAC-440E-471C-B1A6-215773C9EEF6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0896F17E-58CE-40F4-B8AB-2041951EEB84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1" name="Cylinder 828">
              <a:extLst>
                <a:ext uri="{FF2B5EF4-FFF2-40B4-BE49-F238E27FC236}">
                  <a16:creationId xmlns:a16="http://schemas.microsoft.com/office/drawing/2014/main" id="{8B3D60E1-1E16-4F9F-99CB-F45A1F6DBEE6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65F9CE2A-AE67-4255-8FCC-BD6DC7AB1B9C}"/>
              </a:ext>
            </a:extLst>
          </p:cNvPr>
          <p:cNvGrpSpPr/>
          <p:nvPr/>
        </p:nvGrpSpPr>
        <p:grpSpPr>
          <a:xfrm>
            <a:off x="3974303" y="3621025"/>
            <a:ext cx="308820" cy="275382"/>
            <a:chOff x="2922017" y="3436258"/>
            <a:chExt cx="1405852" cy="1211942"/>
          </a:xfrm>
        </p:grpSpPr>
        <p:sp>
          <p:nvSpPr>
            <p:cNvPr id="177" name="Hexagon 176">
              <a:extLst>
                <a:ext uri="{FF2B5EF4-FFF2-40B4-BE49-F238E27FC236}">
                  <a16:creationId xmlns:a16="http://schemas.microsoft.com/office/drawing/2014/main" id="{3DD86084-8BAC-4BEE-955F-47B0A90240EC}"/>
                </a:ext>
              </a:extLst>
            </p:cNvPr>
            <p:cNvSpPr/>
            <p:nvPr/>
          </p:nvSpPr>
          <p:spPr bwMode="auto">
            <a:xfrm>
              <a:off x="2922017" y="3436258"/>
              <a:ext cx="1405852" cy="1211942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C28C3048-B948-48E5-A3FC-D2A153713599}"/>
                </a:ext>
              </a:extLst>
            </p:cNvPr>
            <p:cNvGrpSpPr/>
            <p:nvPr/>
          </p:nvGrpSpPr>
          <p:grpSpPr>
            <a:xfrm flipH="1">
              <a:off x="3278165" y="3687836"/>
              <a:ext cx="693555" cy="708785"/>
              <a:chOff x="590959" y="3692672"/>
              <a:chExt cx="693555" cy="708785"/>
            </a:xfrm>
          </p:grpSpPr>
          <p:sp>
            <p:nvSpPr>
              <p:cNvPr id="182" name="Snip Single Corner Rectangle 26">
                <a:extLst>
                  <a:ext uri="{FF2B5EF4-FFF2-40B4-BE49-F238E27FC236}">
                    <a16:creationId xmlns:a16="http://schemas.microsoft.com/office/drawing/2014/main" id="{8F238A17-C9AB-48E1-9288-B5296FE19587}"/>
                  </a:ext>
                </a:extLst>
              </p:cNvPr>
              <p:cNvSpPr/>
              <p:nvPr/>
            </p:nvSpPr>
            <p:spPr bwMode="auto">
              <a:xfrm flipH="1">
                <a:off x="590959" y="3692672"/>
                <a:ext cx="693555" cy="708785"/>
              </a:xfrm>
              <a:prstGeom prst="snip1Rect">
                <a:avLst>
                  <a:gd name="adj" fmla="val 28736"/>
                </a:avLst>
              </a:prstGeom>
              <a:noFill/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charset="0"/>
                    <a:ea typeface="Segoe UI Semibold" charset="0"/>
                    <a:cs typeface="Segoe UI Semibold" charset="0"/>
                  </a:rPr>
                  <a:t>10</a:t>
                </a:r>
                <a:b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charset="0"/>
                    <a:ea typeface="Segoe UI Semibold" charset="0"/>
                    <a:cs typeface="Segoe UI Semibold" charset="0"/>
                  </a:rPr>
                  <a:t>01</a:t>
                </a:r>
              </a:p>
            </p:txBody>
          </p:sp>
          <p:sp>
            <p:nvSpPr>
              <p:cNvPr id="184" name="Triangle 27">
                <a:extLst>
                  <a:ext uri="{FF2B5EF4-FFF2-40B4-BE49-F238E27FC236}">
                    <a16:creationId xmlns:a16="http://schemas.microsoft.com/office/drawing/2014/main" id="{C2550049-2B35-4674-BA3D-DC5E93833388}"/>
                  </a:ext>
                </a:extLst>
              </p:cNvPr>
              <p:cNvSpPr/>
              <p:nvPr/>
            </p:nvSpPr>
            <p:spPr bwMode="auto">
              <a:xfrm rot="8100000">
                <a:off x="605734" y="3761863"/>
                <a:ext cx="275229" cy="116186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2A0E6F24-23F5-43D6-A1F2-A55E118BF181}"/>
              </a:ext>
            </a:extLst>
          </p:cNvPr>
          <p:cNvGrpSpPr/>
          <p:nvPr/>
        </p:nvGrpSpPr>
        <p:grpSpPr>
          <a:xfrm>
            <a:off x="7863840" y="2938103"/>
            <a:ext cx="350996" cy="302532"/>
            <a:chOff x="8376458" y="5925518"/>
            <a:chExt cx="1045926" cy="901512"/>
          </a:xfrm>
        </p:grpSpPr>
        <p:sp>
          <p:nvSpPr>
            <p:cNvPr id="203" name="Star: 4 Points 8">
              <a:extLst>
                <a:ext uri="{FF2B5EF4-FFF2-40B4-BE49-F238E27FC236}">
                  <a16:creationId xmlns:a16="http://schemas.microsoft.com/office/drawing/2014/main" id="{3C4CF94E-29D1-4AAF-8904-424D1E08ACC0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4" name="Star: 4 Points 8">
              <a:extLst>
                <a:ext uri="{FF2B5EF4-FFF2-40B4-BE49-F238E27FC236}">
                  <a16:creationId xmlns:a16="http://schemas.microsoft.com/office/drawing/2014/main" id="{EB14D03C-53B6-4AEA-9D85-C0C4A5968700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4747AA4-2F0B-48D3-ABA4-847E1488BD4E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6" name="Oval 9">
              <a:extLst>
                <a:ext uri="{FF2B5EF4-FFF2-40B4-BE49-F238E27FC236}">
                  <a16:creationId xmlns:a16="http://schemas.microsoft.com/office/drawing/2014/main" id="{B10D5F37-DD05-42FE-83BA-BF6A05DD34FE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49B4B3CE-35DC-44A1-9394-C811B17B443D}"/>
              </a:ext>
            </a:extLst>
          </p:cNvPr>
          <p:cNvGrpSpPr/>
          <p:nvPr/>
        </p:nvGrpSpPr>
        <p:grpSpPr>
          <a:xfrm>
            <a:off x="7932840" y="3597095"/>
            <a:ext cx="300771" cy="309224"/>
            <a:chOff x="2776302" y="4657642"/>
            <a:chExt cx="1550488" cy="1594059"/>
          </a:xfrm>
        </p:grpSpPr>
        <p:sp>
          <p:nvSpPr>
            <p:cNvPr id="215" name="Cylinder 812">
              <a:extLst>
                <a:ext uri="{FF2B5EF4-FFF2-40B4-BE49-F238E27FC236}">
                  <a16:creationId xmlns:a16="http://schemas.microsoft.com/office/drawing/2014/main" id="{97C68356-76ED-4307-828B-F8E97423BE48}"/>
                </a:ext>
              </a:extLst>
            </p:cNvPr>
            <p:cNvSpPr/>
            <p:nvPr/>
          </p:nvSpPr>
          <p:spPr bwMode="auto">
            <a:xfrm>
              <a:off x="2776302" y="4657642"/>
              <a:ext cx="1043832" cy="1371349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SQL</a:t>
              </a:r>
            </a:p>
          </p:txBody>
        </p:sp>
        <p:sp>
          <p:nvSpPr>
            <p:cNvPr id="216" name="Freeform 146">
              <a:extLst>
                <a:ext uri="{FF2B5EF4-FFF2-40B4-BE49-F238E27FC236}">
                  <a16:creationId xmlns:a16="http://schemas.microsoft.com/office/drawing/2014/main" id="{CDF4159D-F9A6-4FB6-A04C-CAB107EC8B1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11549" y="5608740"/>
              <a:ext cx="1015241" cy="642961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359ECD34-5349-4A01-8B12-4716D4AD09EF}"/>
              </a:ext>
            </a:extLst>
          </p:cNvPr>
          <p:cNvGrpSpPr/>
          <p:nvPr/>
        </p:nvGrpSpPr>
        <p:grpSpPr>
          <a:xfrm>
            <a:off x="7907732" y="5048860"/>
            <a:ext cx="294692" cy="229438"/>
            <a:chOff x="2062250" y="1828801"/>
            <a:chExt cx="438091" cy="341085"/>
          </a:xfrm>
        </p:grpSpPr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214F52F9-C31C-4581-A7A0-869CE47FABE7}"/>
                </a:ext>
              </a:extLst>
            </p:cNvPr>
            <p:cNvGrpSpPr/>
            <p:nvPr/>
          </p:nvGrpSpPr>
          <p:grpSpPr>
            <a:xfrm>
              <a:off x="2062250" y="1828801"/>
              <a:ext cx="180067" cy="140947"/>
              <a:chOff x="2438399" y="1828800"/>
              <a:chExt cx="1923143" cy="1799771"/>
            </a:xfrm>
            <a:noFill/>
          </p:grpSpPr>
          <p:sp>
            <p:nvSpPr>
              <p:cNvPr id="246" name="Rectangle 245">
                <a:extLst>
                  <a:ext uri="{FF2B5EF4-FFF2-40B4-BE49-F238E27FC236}">
                    <a16:creationId xmlns:a16="http://schemas.microsoft.com/office/drawing/2014/main" id="{1D9F5E26-DEC6-4861-AE78-6320594614D1}"/>
                  </a:ext>
                </a:extLst>
              </p:cNvPr>
              <p:cNvSpPr/>
              <p:nvPr/>
            </p:nvSpPr>
            <p:spPr bwMode="auto">
              <a:xfrm>
                <a:off x="2438399" y="1828800"/>
                <a:ext cx="1923143" cy="1799771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48" name="Straight Connector 247">
                <a:extLst>
                  <a:ext uri="{FF2B5EF4-FFF2-40B4-BE49-F238E27FC236}">
                    <a16:creationId xmlns:a16="http://schemas.microsoft.com/office/drawing/2014/main" id="{3C48D113-A7EA-46F2-92F1-74F35C5AE3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38399" y="2258786"/>
                <a:ext cx="1923143" cy="0"/>
              </a:xfrm>
              <a:prstGeom prst="line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9" name="Group 218">
              <a:extLst>
                <a:ext uri="{FF2B5EF4-FFF2-40B4-BE49-F238E27FC236}">
                  <a16:creationId xmlns:a16="http://schemas.microsoft.com/office/drawing/2014/main" id="{CC6DBDA0-BE55-451E-AC0A-5F9089758D69}"/>
                </a:ext>
              </a:extLst>
            </p:cNvPr>
            <p:cNvGrpSpPr/>
            <p:nvPr/>
          </p:nvGrpSpPr>
          <p:grpSpPr>
            <a:xfrm>
              <a:off x="2093480" y="2028939"/>
              <a:ext cx="180067" cy="140947"/>
              <a:chOff x="2438399" y="1828800"/>
              <a:chExt cx="1923143" cy="1799771"/>
            </a:xfrm>
            <a:noFill/>
          </p:grpSpPr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5DF8F080-AEB8-43A1-9E04-5524CC17E710}"/>
                  </a:ext>
                </a:extLst>
              </p:cNvPr>
              <p:cNvSpPr/>
              <p:nvPr/>
            </p:nvSpPr>
            <p:spPr bwMode="auto">
              <a:xfrm>
                <a:off x="2438399" y="1828800"/>
                <a:ext cx="1923143" cy="1799771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44" name="Straight Connector 243">
                <a:extLst>
                  <a:ext uri="{FF2B5EF4-FFF2-40B4-BE49-F238E27FC236}">
                    <a16:creationId xmlns:a16="http://schemas.microsoft.com/office/drawing/2014/main" id="{0B515CC7-3D8D-435E-AD2E-790630E2ED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38399" y="2258786"/>
                <a:ext cx="1923143" cy="0"/>
              </a:xfrm>
              <a:prstGeom prst="line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D6757B6C-E89B-44ED-9280-204CD272AE8B}"/>
                </a:ext>
              </a:extLst>
            </p:cNvPr>
            <p:cNvGrpSpPr/>
            <p:nvPr/>
          </p:nvGrpSpPr>
          <p:grpSpPr>
            <a:xfrm>
              <a:off x="2320274" y="1907031"/>
              <a:ext cx="180067" cy="140947"/>
              <a:chOff x="2438399" y="1828800"/>
              <a:chExt cx="1923143" cy="1799771"/>
            </a:xfrm>
            <a:noFill/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82A20462-5D81-4B20-9A1E-F90E8324A665}"/>
                  </a:ext>
                </a:extLst>
              </p:cNvPr>
              <p:cNvSpPr/>
              <p:nvPr/>
            </p:nvSpPr>
            <p:spPr bwMode="auto">
              <a:xfrm>
                <a:off x="2438399" y="1828800"/>
                <a:ext cx="1923143" cy="1799771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687507D5-9C09-49BB-9D6E-ED4AE035AC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38399" y="2258786"/>
                <a:ext cx="1923143" cy="0"/>
              </a:xfrm>
              <a:prstGeom prst="line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id="{DE2484B5-6AEE-43EF-AAE1-E8210FF183F4}"/>
                </a:ext>
              </a:extLst>
            </p:cNvPr>
            <p:cNvGrpSpPr/>
            <p:nvPr/>
          </p:nvGrpSpPr>
          <p:grpSpPr>
            <a:xfrm>
              <a:off x="2129218" y="1891046"/>
              <a:ext cx="303775" cy="247510"/>
              <a:chOff x="2129218" y="1898304"/>
              <a:chExt cx="303775" cy="247510"/>
            </a:xfrm>
          </p:grpSpPr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099C6926-26DD-4125-AA1B-FD0CBB2662D2}"/>
                  </a:ext>
                </a:extLst>
              </p:cNvPr>
              <p:cNvSpPr/>
              <p:nvPr/>
            </p:nvSpPr>
            <p:spPr bwMode="auto">
              <a:xfrm rot="20526251">
                <a:off x="2129218" y="1898304"/>
                <a:ext cx="45467" cy="45467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79989885-6F8B-4CEA-BD32-A8FE79FECE54}"/>
                  </a:ext>
                </a:extLst>
              </p:cNvPr>
              <p:cNvSpPr/>
              <p:nvPr/>
            </p:nvSpPr>
            <p:spPr bwMode="auto">
              <a:xfrm>
                <a:off x="2160192" y="2100347"/>
                <a:ext cx="45467" cy="45467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C24F9069-4069-469C-9A4D-A88F0960CAB1}"/>
                  </a:ext>
                </a:extLst>
              </p:cNvPr>
              <p:cNvSpPr/>
              <p:nvPr/>
            </p:nvSpPr>
            <p:spPr bwMode="auto">
              <a:xfrm rot="19893199">
                <a:off x="2387526" y="1977587"/>
                <a:ext cx="45467" cy="45467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EC37D056-9751-41C1-8B75-2552FDB761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72188" y="1931395"/>
                <a:ext cx="216280" cy="62448"/>
              </a:xfrm>
              <a:prstGeom prst="line">
                <a:avLst/>
              </a:prstGeom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979106BF-BE4E-4D22-B4A6-0141C6DF66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58937" y="1942671"/>
                <a:ext cx="23989" cy="157676"/>
              </a:xfrm>
              <a:prstGeom prst="line">
                <a:avLst/>
              </a:prstGeom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88B11CF3-40E4-45F6-81B4-5DB6279BCA2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199001" y="2011149"/>
                <a:ext cx="191271" cy="95857"/>
              </a:xfrm>
              <a:prstGeom prst="line">
                <a:avLst/>
              </a:prstGeom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C62A5D0A-5A16-4B10-86C8-A4B018550094}"/>
              </a:ext>
            </a:extLst>
          </p:cNvPr>
          <p:cNvGrpSpPr/>
          <p:nvPr/>
        </p:nvGrpSpPr>
        <p:grpSpPr>
          <a:xfrm>
            <a:off x="2020886" y="4658190"/>
            <a:ext cx="248788" cy="257154"/>
            <a:chOff x="6175919" y="4051028"/>
            <a:chExt cx="248788" cy="257154"/>
          </a:xfrm>
        </p:grpSpPr>
        <p:sp>
          <p:nvSpPr>
            <p:cNvPr id="250" name="Freeform: Shape 526">
              <a:extLst>
                <a:ext uri="{FF2B5EF4-FFF2-40B4-BE49-F238E27FC236}">
                  <a16:creationId xmlns:a16="http://schemas.microsoft.com/office/drawing/2014/main" id="{A7ED6772-FFA1-4345-A3EE-67E7B1DFD61A}"/>
                </a:ext>
              </a:extLst>
            </p:cNvPr>
            <p:cNvSpPr/>
            <p:nvPr/>
          </p:nvSpPr>
          <p:spPr bwMode="auto">
            <a:xfrm>
              <a:off x="6218786" y="4102336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1" name="Freeform: Shape 527">
              <a:extLst>
                <a:ext uri="{FF2B5EF4-FFF2-40B4-BE49-F238E27FC236}">
                  <a16:creationId xmlns:a16="http://schemas.microsoft.com/office/drawing/2014/main" id="{9168C00A-FA61-4768-BD76-63CE2850128D}"/>
                </a:ext>
              </a:extLst>
            </p:cNvPr>
            <p:cNvSpPr/>
            <p:nvPr/>
          </p:nvSpPr>
          <p:spPr bwMode="auto">
            <a:xfrm>
              <a:off x="6288613" y="4132320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3" name="Freeform: Shape 529">
              <a:extLst>
                <a:ext uri="{FF2B5EF4-FFF2-40B4-BE49-F238E27FC236}">
                  <a16:creationId xmlns:a16="http://schemas.microsoft.com/office/drawing/2014/main" id="{378F6618-6B12-4B45-BD73-E0BD8650B7C0}"/>
                </a:ext>
              </a:extLst>
            </p:cNvPr>
            <p:cNvSpPr/>
            <p:nvPr/>
          </p:nvSpPr>
          <p:spPr bwMode="auto">
            <a:xfrm>
              <a:off x="6218786" y="4162303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4" name="Freeform: Shape 530">
              <a:extLst>
                <a:ext uri="{FF2B5EF4-FFF2-40B4-BE49-F238E27FC236}">
                  <a16:creationId xmlns:a16="http://schemas.microsoft.com/office/drawing/2014/main" id="{AA4EDA8B-B55A-4B33-AFE0-7567D323FD32}"/>
                </a:ext>
              </a:extLst>
            </p:cNvPr>
            <p:cNvSpPr/>
            <p:nvPr/>
          </p:nvSpPr>
          <p:spPr bwMode="auto">
            <a:xfrm>
              <a:off x="6358440" y="4162303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5" name="Freeform: Shape 531">
              <a:extLst>
                <a:ext uri="{FF2B5EF4-FFF2-40B4-BE49-F238E27FC236}">
                  <a16:creationId xmlns:a16="http://schemas.microsoft.com/office/drawing/2014/main" id="{1CDBE46B-5A64-46EF-8BD6-7FB6548FD957}"/>
                </a:ext>
              </a:extLst>
            </p:cNvPr>
            <p:cNvSpPr/>
            <p:nvPr/>
          </p:nvSpPr>
          <p:spPr bwMode="auto">
            <a:xfrm>
              <a:off x="6288613" y="4192287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6" name="Freeform: Shape 532">
              <a:extLst>
                <a:ext uri="{FF2B5EF4-FFF2-40B4-BE49-F238E27FC236}">
                  <a16:creationId xmlns:a16="http://schemas.microsoft.com/office/drawing/2014/main" id="{86736F08-776C-45D6-AD4E-38CFBEA5C8C1}"/>
                </a:ext>
              </a:extLst>
            </p:cNvPr>
            <p:cNvSpPr/>
            <p:nvPr/>
          </p:nvSpPr>
          <p:spPr bwMode="auto">
            <a:xfrm>
              <a:off x="6218786" y="4222271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7" name="Freeform: Shape 524">
              <a:extLst>
                <a:ext uri="{FF2B5EF4-FFF2-40B4-BE49-F238E27FC236}">
                  <a16:creationId xmlns:a16="http://schemas.microsoft.com/office/drawing/2014/main" id="{72DB13E8-4BA8-4C0B-BFC4-51126B4C0F0E}"/>
                </a:ext>
              </a:extLst>
            </p:cNvPr>
            <p:cNvSpPr/>
            <p:nvPr/>
          </p:nvSpPr>
          <p:spPr bwMode="auto">
            <a:xfrm>
              <a:off x="6175919" y="4051028"/>
              <a:ext cx="248788" cy="60145"/>
            </a:xfrm>
            <a:custGeom>
              <a:avLst/>
              <a:gdLst>
                <a:gd name="connsiteX0" fmla="*/ 3087278 w 3087278"/>
                <a:gd name="connsiteY0" fmla="*/ 0 h 746355"/>
                <a:gd name="connsiteX1" fmla="*/ 3087278 w 3087278"/>
                <a:gd name="connsiteY1" fmla="*/ 1 h 746355"/>
                <a:gd name="connsiteX2" fmla="*/ 3087278 w 3087278"/>
                <a:gd name="connsiteY2" fmla="*/ 746353 h 746355"/>
                <a:gd name="connsiteX3" fmla="*/ 2683739 w 3087278"/>
                <a:gd name="connsiteY3" fmla="*/ 746353 h 746355"/>
                <a:gd name="connsiteX4" fmla="*/ 2683739 w 3087278"/>
                <a:gd name="connsiteY4" fmla="*/ 403542 h 746355"/>
                <a:gd name="connsiteX5" fmla="*/ 403540 w 3087278"/>
                <a:gd name="connsiteY5" fmla="*/ 403542 h 746355"/>
                <a:gd name="connsiteX6" fmla="*/ 403540 w 3087278"/>
                <a:gd name="connsiteY6" fmla="*/ 746355 h 746355"/>
                <a:gd name="connsiteX7" fmla="*/ 0 w 3087278"/>
                <a:gd name="connsiteY7" fmla="*/ 746355 h 746355"/>
                <a:gd name="connsiteX8" fmla="*/ 0 w 3087278"/>
                <a:gd name="connsiteY8" fmla="*/ 1 h 746355"/>
                <a:gd name="connsiteX9" fmla="*/ 1 w 3087278"/>
                <a:gd name="connsiteY9" fmla="*/ 1 h 746355"/>
                <a:gd name="connsiteX10" fmla="*/ 3087278 w 3087278"/>
                <a:gd name="connsiteY10" fmla="*/ 0 h 746355"/>
                <a:gd name="connsiteX0" fmla="*/ 2683739 w 3087278"/>
                <a:gd name="connsiteY0" fmla="*/ 403542 h 746355"/>
                <a:gd name="connsiteX1" fmla="*/ 403540 w 3087278"/>
                <a:gd name="connsiteY1" fmla="*/ 403542 h 746355"/>
                <a:gd name="connsiteX2" fmla="*/ 403540 w 3087278"/>
                <a:gd name="connsiteY2" fmla="*/ 746355 h 746355"/>
                <a:gd name="connsiteX3" fmla="*/ 0 w 3087278"/>
                <a:gd name="connsiteY3" fmla="*/ 746355 h 746355"/>
                <a:gd name="connsiteX4" fmla="*/ 0 w 3087278"/>
                <a:gd name="connsiteY4" fmla="*/ 1 h 746355"/>
                <a:gd name="connsiteX5" fmla="*/ 1 w 3087278"/>
                <a:gd name="connsiteY5" fmla="*/ 1 h 746355"/>
                <a:gd name="connsiteX6" fmla="*/ 3087278 w 3087278"/>
                <a:gd name="connsiteY6" fmla="*/ 0 h 746355"/>
                <a:gd name="connsiteX7" fmla="*/ 3087278 w 3087278"/>
                <a:gd name="connsiteY7" fmla="*/ 1 h 746355"/>
                <a:gd name="connsiteX8" fmla="*/ 3087278 w 3087278"/>
                <a:gd name="connsiteY8" fmla="*/ 746353 h 746355"/>
                <a:gd name="connsiteX9" fmla="*/ 2683739 w 3087278"/>
                <a:gd name="connsiteY9" fmla="*/ 746353 h 746355"/>
                <a:gd name="connsiteX10" fmla="*/ 2775179 w 3087278"/>
                <a:gd name="connsiteY10" fmla="*/ 494982 h 746355"/>
                <a:gd name="connsiteX0" fmla="*/ 2683739 w 3087278"/>
                <a:gd name="connsiteY0" fmla="*/ 403542 h 746355"/>
                <a:gd name="connsiteX1" fmla="*/ 403540 w 3087278"/>
                <a:gd name="connsiteY1" fmla="*/ 403542 h 746355"/>
                <a:gd name="connsiteX2" fmla="*/ 403540 w 3087278"/>
                <a:gd name="connsiteY2" fmla="*/ 746355 h 746355"/>
                <a:gd name="connsiteX3" fmla="*/ 0 w 3087278"/>
                <a:gd name="connsiteY3" fmla="*/ 746355 h 746355"/>
                <a:gd name="connsiteX4" fmla="*/ 0 w 3087278"/>
                <a:gd name="connsiteY4" fmla="*/ 1 h 746355"/>
                <a:gd name="connsiteX5" fmla="*/ 1 w 3087278"/>
                <a:gd name="connsiteY5" fmla="*/ 1 h 746355"/>
                <a:gd name="connsiteX6" fmla="*/ 3087278 w 3087278"/>
                <a:gd name="connsiteY6" fmla="*/ 0 h 746355"/>
                <a:gd name="connsiteX7" fmla="*/ 3087278 w 3087278"/>
                <a:gd name="connsiteY7" fmla="*/ 1 h 746355"/>
                <a:gd name="connsiteX8" fmla="*/ 3087278 w 3087278"/>
                <a:gd name="connsiteY8" fmla="*/ 746353 h 746355"/>
                <a:gd name="connsiteX9" fmla="*/ 2683739 w 3087278"/>
                <a:gd name="connsiteY9" fmla="*/ 746353 h 746355"/>
                <a:gd name="connsiteX0" fmla="*/ 2683739 w 3087278"/>
                <a:gd name="connsiteY0" fmla="*/ 403542 h 746355"/>
                <a:gd name="connsiteX1" fmla="*/ 403540 w 3087278"/>
                <a:gd name="connsiteY1" fmla="*/ 403542 h 746355"/>
                <a:gd name="connsiteX2" fmla="*/ 403540 w 3087278"/>
                <a:gd name="connsiteY2" fmla="*/ 746355 h 746355"/>
                <a:gd name="connsiteX3" fmla="*/ 0 w 3087278"/>
                <a:gd name="connsiteY3" fmla="*/ 746355 h 746355"/>
                <a:gd name="connsiteX4" fmla="*/ 0 w 3087278"/>
                <a:gd name="connsiteY4" fmla="*/ 1 h 746355"/>
                <a:gd name="connsiteX5" fmla="*/ 1 w 3087278"/>
                <a:gd name="connsiteY5" fmla="*/ 1 h 746355"/>
                <a:gd name="connsiteX6" fmla="*/ 3087278 w 3087278"/>
                <a:gd name="connsiteY6" fmla="*/ 0 h 746355"/>
                <a:gd name="connsiteX7" fmla="*/ 3087278 w 3087278"/>
                <a:gd name="connsiteY7" fmla="*/ 1 h 746355"/>
                <a:gd name="connsiteX8" fmla="*/ 3087278 w 3087278"/>
                <a:gd name="connsiteY8" fmla="*/ 746353 h 746355"/>
                <a:gd name="connsiteX0" fmla="*/ 403540 w 3087278"/>
                <a:gd name="connsiteY0" fmla="*/ 403542 h 746355"/>
                <a:gd name="connsiteX1" fmla="*/ 403540 w 3087278"/>
                <a:gd name="connsiteY1" fmla="*/ 746355 h 746355"/>
                <a:gd name="connsiteX2" fmla="*/ 0 w 3087278"/>
                <a:gd name="connsiteY2" fmla="*/ 746355 h 746355"/>
                <a:gd name="connsiteX3" fmla="*/ 0 w 3087278"/>
                <a:gd name="connsiteY3" fmla="*/ 1 h 746355"/>
                <a:gd name="connsiteX4" fmla="*/ 1 w 3087278"/>
                <a:gd name="connsiteY4" fmla="*/ 1 h 746355"/>
                <a:gd name="connsiteX5" fmla="*/ 3087278 w 3087278"/>
                <a:gd name="connsiteY5" fmla="*/ 0 h 746355"/>
                <a:gd name="connsiteX6" fmla="*/ 3087278 w 3087278"/>
                <a:gd name="connsiteY6" fmla="*/ 1 h 746355"/>
                <a:gd name="connsiteX7" fmla="*/ 3087278 w 3087278"/>
                <a:gd name="connsiteY7" fmla="*/ 746353 h 746355"/>
                <a:gd name="connsiteX0" fmla="*/ 403540 w 3087278"/>
                <a:gd name="connsiteY0" fmla="*/ 746355 h 746355"/>
                <a:gd name="connsiteX1" fmla="*/ 0 w 3087278"/>
                <a:gd name="connsiteY1" fmla="*/ 746355 h 746355"/>
                <a:gd name="connsiteX2" fmla="*/ 0 w 3087278"/>
                <a:gd name="connsiteY2" fmla="*/ 1 h 746355"/>
                <a:gd name="connsiteX3" fmla="*/ 1 w 3087278"/>
                <a:gd name="connsiteY3" fmla="*/ 1 h 746355"/>
                <a:gd name="connsiteX4" fmla="*/ 3087278 w 3087278"/>
                <a:gd name="connsiteY4" fmla="*/ 0 h 746355"/>
                <a:gd name="connsiteX5" fmla="*/ 3087278 w 3087278"/>
                <a:gd name="connsiteY5" fmla="*/ 1 h 746355"/>
                <a:gd name="connsiteX6" fmla="*/ 3087278 w 3087278"/>
                <a:gd name="connsiteY6" fmla="*/ 746353 h 746355"/>
                <a:gd name="connsiteX0" fmla="*/ 0 w 3087278"/>
                <a:gd name="connsiteY0" fmla="*/ 746355 h 746355"/>
                <a:gd name="connsiteX1" fmla="*/ 0 w 3087278"/>
                <a:gd name="connsiteY1" fmla="*/ 1 h 746355"/>
                <a:gd name="connsiteX2" fmla="*/ 1 w 3087278"/>
                <a:gd name="connsiteY2" fmla="*/ 1 h 746355"/>
                <a:gd name="connsiteX3" fmla="*/ 3087278 w 3087278"/>
                <a:gd name="connsiteY3" fmla="*/ 0 h 746355"/>
                <a:gd name="connsiteX4" fmla="*/ 3087278 w 3087278"/>
                <a:gd name="connsiteY4" fmla="*/ 1 h 746355"/>
                <a:gd name="connsiteX5" fmla="*/ 3087278 w 3087278"/>
                <a:gd name="connsiteY5" fmla="*/ 746353 h 746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7278" h="746355">
                  <a:moveTo>
                    <a:pt x="0" y="746355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3087278" y="0"/>
                  </a:lnTo>
                  <a:lnTo>
                    <a:pt x="3087278" y="1"/>
                  </a:lnTo>
                  <a:lnTo>
                    <a:pt x="3087278" y="746353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9" name="Freeform: Shape 533">
              <a:extLst>
                <a:ext uri="{FF2B5EF4-FFF2-40B4-BE49-F238E27FC236}">
                  <a16:creationId xmlns:a16="http://schemas.microsoft.com/office/drawing/2014/main" id="{6FAAEB38-1056-470F-95CC-241CA54FD3CB}"/>
                </a:ext>
              </a:extLst>
            </p:cNvPr>
            <p:cNvSpPr/>
            <p:nvPr/>
          </p:nvSpPr>
          <p:spPr bwMode="auto">
            <a:xfrm>
              <a:off x="6175919" y="4248037"/>
              <a:ext cx="248788" cy="60145"/>
            </a:xfrm>
            <a:custGeom>
              <a:avLst/>
              <a:gdLst>
                <a:gd name="connsiteX0" fmla="*/ 2683739 w 3087278"/>
                <a:gd name="connsiteY0" fmla="*/ 0 h 746354"/>
                <a:gd name="connsiteX1" fmla="*/ 3087278 w 3087278"/>
                <a:gd name="connsiteY1" fmla="*/ 0 h 746354"/>
                <a:gd name="connsiteX2" fmla="*/ 3087278 w 3087278"/>
                <a:gd name="connsiteY2" fmla="*/ 746353 h 746354"/>
                <a:gd name="connsiteX3" fmla="*/ 3087277 w 3087278"/>
                <a:gd name="connsiteY3" fmla="*/ 746353 h 746354"/>
                <a:gd name="connsiteX4" fmla="*/ 0 w 3087278"/>
                <a:gd name="connsiteY4" fmla="*/ 746354 h 746354"/>
                <a:gd name="connsiteX5" fmla="*/ 0 w 3087278"/>
                <a:gd name="connsiteY5" fmla="*/ 746353 h 746354"/>
                <a:gd name="connsiteX6" fmla="*/ 0 w 3087278"/>
                <a:gd name="connsiteY6" fmla="*/ 1 h 746354"/>
                <a:gd name="connsiteX7" fmla="*/ 403540 w 3087278"/>
                <a:gd name="connsiteY7" fmla="*/ 1 h 746354"/>
                <a:gd name="connsiteX8" fmla="*/ 403540 w 3087278"/>
                <a:gd name="connsiteY8" fmla="*/ 342813 h 746354"/>
                <a:gd name="connsiteX9" fmla="*/ 2683739 w 3087278"/>
                <a:gd name="connsiteY9" fmla="*/ 342813 h 746354"/>
                <a:gd name="connsiteX10" fmla="*/ 2683739 w 3087278"/>
                <a:gd name="connsiteY10" fmla="*/ 0 h 746354"/>
                <a:gd name="connsiteX0" fmla="*/ 403540 w 3087278"/>
                <a:gd name="connsiteY0" fmla="*/ 342813 h 746354"/>
                <a:gd name="connsiteX1" fmla="*/ 2683739 w 3087278"/>
                <a:gd name="connsiteY1" fmla="*/ 342813 h 746354"/>
                <a:gd name="connsiteX2" fmla="*/ 2683739 w 3087278"/>
                <a:gd name="connsiteY2" fmla="*/ 0 h 746354"/>
                <a:gd name="connsiteX3" fmla="*/ 3087278 w 3087278"/>
                <a:gd name="connsiteY3" fmla="*/ 0 h 746354"/>
                <a:gd name="connsiteX4" fmla="*/ 3087278 w 3087278"/>
                <a:gd name="connsiteY4" fmla="*/ 746353 h 746354"/>
                <a:gd name="connsiteX5" fmla="*/ 3087277 w 3087278"/>
                <a:gd name="connsiteY5" fmla="*/ 746353 h 746354"/>
                <a:gd name="connsiteX6" fmla="*/ 0 w 3087278"/>
                <a:gd name="connsiteY6" fmla="*/ 746354 h 746354"/>
                <a:gd name="connsiteX7" fmla="*/ 0 w 3087278"/>
                <a:gd name="connsiteY7" fmla="*/ 746353 h 746354"/>
                <a:gd name="connsiteX8" fmla="*/ 0 w 3087278"/>
                <a:gd name="connsiteY8" fmla="*/ 1 h 746354"/>
                <a:gd name="connsiteX9" fmla="*/ 403540 w 3087278"/>
                <a:gd name="connsiteY9" fmla="*/ 1 h 746354"/>
                <a:gd name="connsiteX10" fmla="*/ 494980 w 3087278"/>
                <a:gd name="connsiteY10" fmla="*/ 434253 h 746354"/>
                <a:gd name="connsiteX0" fmla="*/ 403540 w 3087278"/>
                <a:gd name="connsiteY0" fmla="*/ 342813 h 746354"/>
                <a:gd name="connsiteX1" fmla="*/ 2683739 w 3087278"/>
                <a:gd name="connsiteY1" fmla="*/ 342813 h 746354"/>
                <a:gd name="connsiteX2" fmla="*/ 2683739 w 3087278"/>
                <a:gd name="connsiteY2" fmla="*/ 0 h 746354"/>
                <a:gd name="connsiteX3" fmla="*/ 3087278 w 3087278"/>
                <a:gd name="connsiteY3" fmla="*/ 0 h 746354"/>
                <a:gd name="connsiteX4" fmla="*/ 3087278 w 3087278"/>
                <a:gd name="connsiteY4" fmla="*/ 746353 h 746354"/>
                <a:gd name="connsiteX5" fmla="*/ 3087277 w 3087278"/>
                <a:gd name="connsiteY5" fmla="*/ 746353 h 746354"/>
                <a:gd name="connsiteX6" fmla="*/ 0 w 3087278"/>
                <a:gd name="connsiteY6" fmla="*/ 746354 h 746354"/>
                <a:gd name="connsiteX7" fmla="*/ 0 w 3087278"/>
                <a:gd name="connsiteY7" fmla="*/ 746353 h 746354"/>
                <a:gd name="connsiteX8" fmla="*/ 0 w 3087278"/>
                <a:gd name="connsiteY8" fmla="*/ 1 h 746354"/>
                <a:gd name="connsiteX9" fmla="*/ 403540 w 3087278"/>
                <a:gd name="connsiteY9" fmla="*/ 1 h 746354"/>
                <a:gd name="connsiteX0" fmla="*/ 2683739 w 3087278"/>
                <a:gd name="connsiteY0" fmla="*/ 342813 h 746354"/>
                <a:gd name="connsiteX1" fmla="*/ 2683739 w 3087278"/>
                <a:gd name="connsiteY1" fmla="*/ 0 h 746354"/>
                <a:gd name="connsiteX2" fmla="*/ 3087278 w 3087278"/>
                <a:gd name="connsiteY2" fmla="*/ 0 h 746354"/>
                <a:gd name="connsiteX3" fmla="*/ 3087278 w 3087278"/>
                <a:gd name="connsiteY3" fmla="*/ 746353 h 746354"/>
                <a:gd name="connsiteX4" fmla="*/ 3087277 w 3087278"/>
                <a:gd name="connsiteY4" fmla="*/ 746353 h 746354"/>
                <a:gd name="connsiteX5" fmla="*/ 0 w 3087278"/>
                <a:gd name="connsiteY5" fmla="*/ 746354 h 746354"/>
                <a:gd name="connsiteX6" fmla="*/ 0 w 3087278"/>
                <a:gd name="connsiteY6" fmla="*/ 746353 h 746354"/>
                <a:gd name="connsiteX7" fmla="*/ 0 w 3087278"/>
                <a:gd name="connsiteY7" fmla="*/ 1 h 746354"/>
                <a:gd name="connsiteX8" fmla="*/ 403540 w 3087278"/>
                <a:gd name="connsiteY8" fmla="*/ 1 h 746354"/>
                <a:gd name="connsiteX0" fmla="*/ 2683739 w 3087278"/>
                <a:gd name="connsiteY0" fmla="*/ 342813 h 746354"/>
                <a:gd name="connsiteX1" fmla="*/ 2683739 w 3087278"/>
                <a:gd name="connsiteY1" fmla="*/ 0 h 746354"/>
                <a:gd name="connsiteX2" fmla="*/ 3087278 w 3087278"/>
                <a:gd name="connsiteY2" fmla="*/ 0 h 746354"/>
                <a:gd name="connsiteX3" fmla="*/ 3087278 w 3087278"/>
                <a:gd name="connsiteY3" fmla="*/ 746353 h 746354"/>
                <a:gd name="connsiteX4" fmla="*/ 3087277 w 3087278"/>
                <a:gd name="connsiteY4" fmla="*/ 746353 h 746354"/>
                <a:gd name="connsiteX5" fmla="*/ 0 w 3087278"/>
                <a:gd name="connsiteY5" fmla="*/ 746354 h 746354"/>
                <a:gd name="connsiteX6" fmla="*/ 0 w 3087278"/>
                <a:gd name="connsiteY6" fmla="*/ 746353 h 746354"/>
                <a:gd name="connsiteX7" fmla="*/ 0 w 3087278"/>
                <a:gd name="connsiteY7" fmla="*/ 1 h 746354"/>
                <a:gd name="connsiteX0" fmla="*/ 2683739 w 3087278"/>
                <a:gd name="connsiteY0" fmla="*/ 0 h 746354"/>
                <a:gd name="connsiteX1" fmla="*/ 3087278 w 3087278"/>
                <a:gd name="connsiteY1" fmla="*/ 0 h 746354"/>
                <a:gd name="connsiteX2" fmla="*/ 3087278 w 3087278"/>
                <a:gd name="connsiteY2" fmla="*/ 746353 h 746354"/>
                <a:gd name="connsiteX3" fmla="*/ 3087277 w 3087278"/>
                <a:gd name="connsiteY3" fmla="*/ 746353 h 746354"/>
                <a:gd name="connsiteX4" fmla="*/ 0 w 3087278"/>
                <a:gd name="connsiteY4" fmla="*/ 746354 h 746354"/>
                <a:gd name="connsiteX5" fmla="*/ 0 w 3087278"/>
                <a:gd name="connsiteY5" fmla="*/ 746353 h 746354"/>
                <a:gd name="connsiteX6" fmla="*/ 0 w 3087278"/>
                <a:gd name="connsiteY6" fmla="*/ 1 h 746354"/>
                <a:gd name="connsiteX0" fmla="*/ 3087278 w 3087278"/>
                <a:gd name="connsiteY0" fmla="*/ 0 h 746354"/>
                <a:gd name="connsiteX1" fmla="*/ 3087278 w 3087278"/>
                <a:gd name="connsiteY1" fmla="*/ 746353 h 746354"/>
                <a:gd name="connsiteX2" fmla="*/ 3087277 w 3087278"/>
                <a:gd name="connsiteY2" fmla="*/ 746353 h 746354"/>
                <a:gd name="connsiteX3" fmla="*/ 0 w 3087278"/>
                <a:gd name="connsiteY3" fmla="*/ 746354 h 746354"/>
                <a:gd name="connsiteX4" fmla="*/ 0 w 3087278"/>
                <a:gd name="connsiteY4" fmla="*/ 746353 h 746354"/>
                <a:gd name="connsiteX5" fmla="*/ 0 w 3087278"/>
                <a:gd name="connsiteY5" fmla="*/ 1 h 746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7278" h="746354">
                  <a:moveTo>
                    <a:pt x="3087278" y="0"/>
                  </a:moveTo>
                  <a:lnTo>
                    <a:pt x="3087278" y="746353"/>
                  </a:lnTo>
                  <a:lnTo>
                    <a:pt x="3087277" y="746353"/>
                  </a:lnTo>
                  <a:lnTo>
                    <a:pt x="0" y="746354"/>
                  </a:lnTo>
                  <a:lnTo>
                    <a:pt x="0" y="746353"/>
                  </a:lnTo>
                  <a:lnTo>
                    <a:pt x="0" y="1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61" name="Rectangle 260"/>
          <p:cNvSpPr/>
          <p:nvPr/>
        </p:nvSpPr>
        <p:spPr>
          <a:xfrm>
            <a:off x="2248716" y="3609444"/>
            <a:ext cx="86059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Kafka</a:t>
            </a:r>
          </a:p>
        </p:txBody>
      </p:sp>
      <p:grpSp>
        <p:nvGrpSpPr>
          <p:cNvPr id="263" name="Group 262"/>
          <p:cNvGrpSpPr/>
          <p:nvPr/>
        </p:nvGrpSpPr>
        <p:grpSpPr>
          <a:xfrm>
            <a:off x="2089617" y="3585906"/>
            <a:ext cx="171386" cy="291150"/>
            <a:chOff x="10668000" y="1393825"/>
            <a:chExt cx="527050" cy="895350"/>
          </a:xfrm>
        </p:grpSpPr>
        <p:sp>
          <p:nvSpPr>
            <p:cNvPr id="265" name="Oval 264"/>
            <p:cNvSpPr/>
            <p:nvPr/>
          </p:nvSpPr>
          <p:spPr bwMode="auto">
            <a:xfrm>
              <a:off x="10690225" y="1393825"/>
              <a:ext cx="203200" cy="2032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7" name="Oval 266"/>
            <p:cNvSpPr/>
            <p:nvPr/>
          </p:nvSpPr>
          <p:spPr bwMode="auto">
            <a:xfrm>
              <a:off x="10690225" y="2085975"/>
              <a:ext cx="203200" cy="2032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8" name="Oval 267"/>
            <p:cNvSpPr/>
            <p:nvPr/>
          </p:nvSpPr>
          <p:spPr bwMode="auto">
            <a:xfrm>
              <a:off x="10991850" y="1911350"/>
              <a:ext cx="203200" cy="2032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9" name="Oval 268"/>
            <p:cNvSpPr/>
            <p:nvPr/>
          </p:nvSpPr>
          <p:spPr bwMode="auto">
            <a:xfrm>
              <a:off x="10991850" y="1565275"/>
              <a:ext cx="203200" cy="2032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0" name="Oval 269"/>
            <p:cNvSpPr/>
            <p:nvPr/>
          </p:nvSpPr>
          <p:spPr bwMode="auto">
            <a:xfrm>
              <a:off x="10668000" y="1717675"/>
              <a:ext cx="247650" cy="24765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271" name="Straight Connector 270"/>
            <p:cNvCxnSpPr/>
            <p:nvPr/>
          </p:nvCxnSpPr>
          <p:spPr>
            <a:xfrm>
              <a:off x="10791825" y="1597025"/>
              <a:ext cx="0" cy="12065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/>
            <p:nvPr/>
          </p:nvCxnSpPr>
          <p:spPr>
            <a:xfrm>
              <a:off x="10791825" y="1966190"/>
              <a:ext cx="0" cy="12065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/>
            <p:nvPr/>
          </p:nvCxnSpPr>
          <p:spPr>
            <a:xfrm flipH="1">
              <a:off x="10895906" y="1717148"/>
              <a:ext cx="109141" cy="61417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Straight Connector 273"/>
            <p:cNvCxnSpPr/>
            <p:nvPr/>
          </p:nvCxnSpPr>
          <p:spPr>
            <a:xfrm>
              <a:off x="10905558" y="1903102"/>
              <a:ext cx="101228" cy="56965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Graphic 8" descr="Gears">
            <a:extLst>
              <a:ext uri="{FF2B5EF4-FFF2-40B4-BE49-F238E27FC236}">
                <a16:creationId xmlns:a16="http://schemas.microsoft.com/office/drawing/2014/main" id="{A982612A-8544-4616-AD27-E295720C71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67987" y="3517736"/>
            <a:ext cx="447063" cy="447063"/>
          </a:xfrm>
          <a:prstGeom prst="rect">
            <a:avLst/>
          </a:prstGeom>
        </p:spPr>
      </p:pic>
      <p:grpSp>
        <p:nvGrpSpPr>
          <p:cNvPr id="208" name="Group 11">
            <a:extLst>
              <a:ext uri="{FF2B5EF4-FFF2-40B4-BE49-F238E27FC236}">
                <a16:creationId xmlns:a16="http://schemas.microsoft.com/office/drawing/2014/main" id="{80D4BD31-643D-4C8C-8BE9-C522C5C8BF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0509" y="4690365"/>
            <a:ext cx="215115" cy="234323"/>
            <a:chOff x="3861" y="4291602"/>
            <a:chExt cx="112" cy="244433"/>
          </a:xfrm>
        </p:grpSpPr>
        <p:sp>
          <p:nvSpPr>
            <p:cNvPr id="209" name="Freeform 12">
              <a:extLst>
                <a:ext uri="{FF2B5EF4-FFF2-40B4-BE49-F238E27FC236}">
                  <a16:creationId xmlns:a16="http://schemas.microsoft.com/office/drawing/2014/main" id="{C510F963-63DC-4E37-A7E4-87995035F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1" y="4291602"/>
              <a:ext cx="112" cy="244433"/>
            </a:xfrm>
            <a:custGeom>
              <a:avLst/>
              <a:gdLst>
                <a:gd name="T0" fmla="*/ 24 w 80"/>
                <a:gd name="T1" fmla="*/ 36 h 88"/>
                <a:gd name="T2" fmla="*/ 4 w 80"/>
                <a:gd name="T3" fmla="*/ 74 h 88"/>
                <a:gd name="T4" fmla="*/ 12 w 80"/>
                <a:gd name="T5" fmla="*/ 88 h 88"/>
                <a:gd name="T6" fmla="*/ 68 w 80"/>
                <a:gd name="T7" fmla="*/ 88 h 88"/>
                <a:gd name="T8" fmla="*/ 76 w 80"/>
                <a:gd name="T9" fmla="*/ 74 h 88"/>
                <a:gd name="T10" fmla="*/ 56 w 80"/>
                <a:gd name="T11" fmla="*/ 36 h 88"/>
                <a:gd name="T12" fmla="*/ 56 w 80"/>
                <a:gd name="T13" fmla="*/ 0 h 88"/>
                <a:gd name="T14" fmla="*/ 24 w 80"/>
                <a:gd name="T15" fmla="*/ 0 h 88"/>
                <a:gd name="T16" fmla="*/ 24 w 80"/>
                <a:gd name="T17" fmla="*/ 3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88">
                  <a:moveTo>
                    <a:pt x="24" y="36"/>
                  </a:moveTo>
                  <a:cubicBezTo>
                    <a:pt x="4" y="74"/>
                    <a:pt x="4" y="74"/>
                    <a:pt x="4" y="74"/>
                  </a:cubicBezTo>
                  <a:cubicBezTo>
                    <a:pt x="0" y="80"/>
                    <a:pt x="5" y="88"/>
                    <a:pt x="12" y="88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75" y="88"/>
                    <a:pt x="80" y="80"/>
                    <a:pt x="76" y="74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36"/>
                  </a:ln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</a:endParaRPr>
            </a:p>
          </p:txBody>
        </p:sp>
        <p:sp>
          <p:nvSpPr>
            <p:cNvPr id="212" name="Line 13">
              <a:extLst>
                <a:ext uri="{FF2B5EF4-FFF2-40B4-BE49-F238E27FC236}">
                  <a16:creationId xmlns:a16="http://schemas.microsoft.com/office/drawing/2014/main" id="{BE72AFEB-8F89-4A03-B20A-C18C28F676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4" y="4469918"/>
              <a:ext cx="84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</a:endParaRPr>
            </a:p>
          </p:txBody>
        </p:sp>
        <p:sp>
          <p:nvSpPr>
            <p:cNvPr id="213" name="Line 14">
              <a:extLst>
                <a:ext uri="{FF2B5EF4-FFF2-40B4-BE49-F238E27FC236}">
                  <a16:creationId xmlns:a16="http://schemas.microsoft.com/office/drawing/2014/main" id="{A0597469-5FEB-4766-BEB0-C5675E7331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3" y="4335680"/>
              <a:ext cx="16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</a:endParaRPr>
            </a:p>
          </p:txBody>
        </p:sp>
        <p:sp>
          <p:nvSpPr>
            <p:cNvPr id="243" name="Line 15">
              <a:extLst>
                <a:ext uri="{FF2B5EF4-FFF2-40B4-BE49-F238E27FC236}">
                  <a16:creationId xmlns:a16="http://schemas.microsoft.com/office/drawing/2014/main" id="{52622AA2-2972-4B51-BCEC-F1C9B3D428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3" y="4379758"/>
              <a:ext cx="16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</a:endParaRPr>
            </a:p>
          </p:txBody>
        </p:sp>
        <p:sp>
          <p:nvSpPr>
            <p:cNvPr id="275" name="Line 16">
              <a:extLst>
                <a:ext uri="{FF2B5EF4-FFF2-40B4-BE49-F238E27FC236}">
                  <a16:creationId xmlns:a16="http://schemas.microsoft.com/office/drawing/2014/main" id="{63059627-DA07-43A3-B996-9F93AEF853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3" y="4425840"/>
              <a:ext cx="2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</a:endParaRPr>
            </a:p>
          </p:txBody>
        </p:sp>
        <p:sp>
          <p:nvSpPr>
            <p:cNvPr id="276" name="Line 17">
              <a:extLst>
                <a:ext uri="{FF2B5EF4-FFF2-40B4-BE49-F238E27FC236}">
                  <a16:creationId xmlns:a16="http://schemas.microsoft.com/office/drawing/2014/main" id="{EB7F23CE-1FC9-43FA-B246-F2EB088337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83" y="4291602"/>
              <a:ext cx="68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</a:endParaRPr>
            </a:p>
          </p:txBody>
        </p:sp>
      </p:grpSp>
      <p:cxnSp>
        <p:nvCxnSpPr>
          <p:cNvPr id="207" name="Connector: Elbow 206">
            <a:extLst>
              <a:ext uri="{FF2B5EF4-FFF2-40B4-BE49-F238E27FC236}">
                <a16:creationId xmlns:a16="http://schemas.microsoft.com/office/drawing/2014/main" id="{50088BE0-D109-4667-BEB6-F3C0F6BA3279}"/>
              </a:ext>
            </a:extLst>
          </p:cNvPr>
          <p:cNvCxnSpPr>
            <a:cxnSpLocks/>
            <a:endCxn id="172" idx="3"/>
          </p:cNvCxnSpPr>
          <p:nvPr/>
        </p:nvCxnSpPr>
        <p:spPr>
          <a:xfrm rot="10800000" flipV="1">
            <a:off x="3214015" y="3959103"/>
            <a:ext cx="926688" cy="828224"/>
          </a:xfrm>
          <a:prstGeom prst="bentConnector3">
            <a:avLst>
              <a:gd name="adj1" fmla="val -31"/>
            </a:avLst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Arrow Connector 251">
            <a:extLst>
              <a:ext uri="{FF2B5EF4-FFF2-40B4-BE49-F238E27FC236}">
                <a16:creationId xmlns:a16="http://schemas.microsoft.com/office/drawing/2014/main" id="{F1821BDC-38EF-471B-961C-69047C2484F4}"/>
              </a:ext>
            </a:extLst>
          </p:cNvPr>
          <p:cNvCxnSpPr>
            <a:cxnSpLocks/>
          </p:cNvCxnSpPr>
          <p:nvPr/>
        </p:nvCxnSpPr>
        <p:spPr>
          <a:xfrm>
            <a:off x="4132158" y="2656398"/>
            <a:ext cx="0" cy="82296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Arrow Connector 261">
            <a:extLst>
              <a:ext uri="{FF2B5EF4-FFF2-40B4-BE49-F238E27FC236}">
                <a16:creationId xmlns:a16="http://schemas.microsoft.com/office/drawing/2014/main" id="{907AE195-8EF9-4875-9ED8-32ED933479B7}"/>
              </a:ext>
            </a:extLst>
          </p:cNvPr>
          <p:cNvCxnSpPr>
            <a:cxnSpLocks/>
          </p:cNvCxnSpPr>
          <p:nvPr/>
        </p:nvCxnSpPr>
        <p:spPr>
          <a:xfrm>
            <a:off x="6381287" y="2656398"/>
            <a:ext cx="0" cy="82296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1997146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464915-1A92-4D02-A4C6-61F3D9A7D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AI</a:t>
            </a:r>
          </a:p>
        </p:txBody>
      </p:sp>
    </p:spTree>
    <p:extLst>
      <p:ext uri="{BB962C8B-B14F-4D97-AF65-F5344CB8AC3E}">
        <p14:creationId xmlns:p14="http://schemas.microsoft.com/office/powerpoint/2010/main" val="3729272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7129D4-57A9-2C41-B907-40E6C5920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AI Platform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4D3E134-4A32-DE41-9B7C-D84D1C2FC69C}"/>
              </a:ext>
            </a:extLst>
          </p:cNvPr>
          <p:cNvSpPr/>
          <p:nvPr/>
        </p:nvSpPr>
        <p:spPr bwMode="auto">
          <a:xfrm>
            <a:off x="274638" y="1444136"/>
            <a:ext cx="7979280" cy="2099164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7FB2934-4414-5042-82AE-C8C211CC368C}"/>
              </a:ext>
            </a:extLst>
          </p:cNvPr>
          <p:cNvSpPr/>
          <p:nvPr/>
        </p:nvSpPr>
        <p:spPr bwMode="auto">
          <a:xfrm>
            <a:off x="274638" y="3579678"/>
            <a:ext cx="7979280" cy="2452908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33C6A5B-E836-3441-B307-75BBF12278C1}"/>
              </a:ext>
            </a:extLst>
          </p:cNvPr>
          <p:cNvSpPr/>
          <p:nvPr/>
        </p:nvSpPr>
        <p:spPr bwMode="auto">
          <a:xfrm>
            <a:off x="8294207" y="1444136"/>
            <a:ext cx="3530371" cy="4588450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6E8F6D1-6700-9145-BC75-1B68F531A54C}"/>
              </a:ext>
            </a:extLst>
          </p:cNvPr>
          <p:cNvGrpSpPr/>
          <p:nvPr/>
        </p:nvGrpSpPr>
        <p:grpSpPr>
          <a:xfrm>
            <a:off x="491715" y="2191624"/>
            <a:ext cx="7614106" cy="1029926"/>
            <a:chOff x="491715" y="2191624"/>
            <a:chExt cx="7614106" cy="1029926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F27FC99-4017-6C46-AF14-A3030DBCD7F7}"/>
                </a:ext>
              </a:extLst>
            </p:cNvPr>
            <p:cNvSpPr/>
            <p:nvPr/>
          </p:nvSpPr>
          <p:spPr bwMode="auto">
            <a:xfrm>
              <a:off x="491715" y="2604627"/>
              <a:ext cx="2084994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ognitive Services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E1D7515-7796-894E-900D-0FBF3CE98DBE}"/>
                </a:ext>
              </a:extLst>
            </p:cNvPr>
            <p:cNvSpPr/>
            <p:nvPr/>
          </p:nvSpPr>
          <p:spPr bwMode="auto">
            <a:xfrm>
              <a:off x="4988489" y="2191624"/>
              <a:ext cx="3117332" cy="41513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92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63248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USTOM AI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63248">
                      <a:srgbClr val="0078D7"/>
                    </a:gs>
                    <a:gs pos="30000">
                      <a:srgbClr val="0078D7"/>
                    </a:gs>
                  </a:gsLst>
                  <a:lin ang="5400000" scaled="1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7FBE1C4-B772-0943-AC01-49D52CC63C04}"/>
                </a:ext>
              </a:extLst>
            </p:cNvPr>
            <p:cNvSpPr/>
            <p:nvPr/>
          </p:nvSpPr>
          <p:spPr bwMode="auto">
            <a:xfrm>
              <a:off x="4988490" y="2626867"/>
              <a:ext cx="3117331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 Machine Learning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A3FF3E8-F9BE-5A42-BD16-CB61CD3E4E00}"/>
                </a:ext>
              </a:extLst>
            </p:cNvPr>
            <p:cNvSpPr/>
            <p:nvPr/>
          </p:nvSpPr>
          <p:spPr bwMode="auto">
            <a:xfrm>
              <a:off x="491715" y="2202057"/>
              <a:ext cx="2084994" cy="41513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63248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PRE-BUILT AI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63248">
                      <a:srgbClr val="0078D7"/>
                    </a:gs>
                    <a:gs pos="30000">
                      <a:srgbClr val="0078D7"/>
                    </a:gs>
                  </a:gsLst>
                  <a:lin ang="5400000" scaled="1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A666D76-5ED2-8742-A5B2-3665ADD021DE}"/>
                </a:ext>
              </a:extLst>
            </p:cNvPr>
            <p:cNvSpPr/>
            <p:nvPr/>
          </p:nvSpPr>
          <p:spPr bwMode="auto">
            <a:xfrm>
              <a:off x="2695945" y="2191628"/>
              <a:ext cx="2220602" cy="41513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63248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ONVERSATIONAL AI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gradFill>
                  <a:gsLst>
                    <a:gs pos="63248">
                      <a:srgbClr val="0078D7"/>
                    </a:gs>
                    <a:gs pos="30000">
                      <a:srgbClr val="0078D7"/>
                    </a:gs>
                  </a:gsLst>
                  <a:lin ang="5400000" scaled="1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D482973-C3EE-4144-829E-BADDDAD8E81D}"/>
                </a:ext>
              </a:extLst>
            </p:cNvPr>
            <p:cNvSpPr/>
            <p:nvPr/>
          </p:nvSpPr>
          <p:spPr bwMode="auto">
            <a:xfrm>
              <a:off x="2695946" y="2621830"/>
              <a:ext cx="2220602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ot Service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0F312E6-4333-3240-9025-BD03A4A8210C}"/>
              </a:ext>
            </a:extLst>
          </p:cNvPr>
          <p:cNvGrpSpPr/>
          <p:nvPr/>
        </p:nvGrpSpPr>
        <p:grpSpPr>
          <a:xfrm>
            <a:off x="474598" y="4137958"/>
            <a:ext cx="7705271" cy="1760724"/>
            <a:chOff x="284271" y="4124646"/>
            <a:chExt cx="7705271" cy="1760724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E2AEAFC-27D7-1247-8B4B-EB21C09C6FE9}"/>
                </a:ext>
              </a:extLst>
            </p:cNvPr>
            <p:cNvSpPr/>
            <p:nvPr/>
          </p:nvSpPr>
          <p:spPr bwMode="auto">
            <a:xfrm>
              <a:off x="284272" y="4124646"/>
              <a:ext cx="3805742" cy="41513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92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63248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I ON DATA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E60B8501-89DE-A44B-8C91-DA48556C85AF}"/>
                </a:ext>
              </a:extLst>
            </p:cNvPr>
            <p:cNvSpPr/>
            <p:nvPr/>
          </p:nvSpPr>
          <p:spPr bwMode="auto">
            <a:xfrm>
              <a:off x="284273" y="4559136"/>
              <a:ext cx="904329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osmos DB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031DD41-7259-3D43-AED4-94806DB43BB4}"/>
                </a:ext>
              </a:extLst>
            </p:cNvPr>
            <p:cNvSpPr/>
            <p:nvPr/>
          </p:nvSpPr>
          <p:spPr bwMode="auto">
            <a:xfrm>
              <a:off x="4753359" y="4144005"/>
              <a:ext cx="3113352" cy="41513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92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63248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I COMPUTE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D2AB087-A749-EF42-B5A4-31976BF33736}"/>
                </a:ext>
              </a:extLst>
            </p:cNvPr>
            <p:cNvSpPr/>
            <p:nvPr/>
          </p:nvSpPr>
          <p:spPr bwMode="auto">
            <a:xfrm>
              <a:off x="1234511" y="4559129"/>
              <a:ext cx="858775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QL </a:t>
              </a:r>
            </a:p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B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E5C584B3-1539-CF49-BCF4-9563C18C0F9F}"/>
                </a:ext>
              </a:extLst>
            </p:cNvPr>
            <p:cNvSpPr/>
            <p:nvPr/>
          </p:nvSpPr>
          <p:spPr bwMode="auto">
            <a:xfrm>
              <a:off x="2139195" y="4559129"/>
              <a:ext cx="858775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QL </a:t>
              </a:r>
            </a:p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W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0601A21-44A8-2D49-9FF3-76502AD5EE22}"/>
                </a:ext>
              </a:extLst>
            </p:cNvPr>
            <p:cNvSpPr/>
            <p:nvPr/>
          </p:nvSpPr>
          <p:spPr bwMode="auto">
            <a:xfrm>
              <a:off x="3049078" y="4559129"/>
              <a:ext cx="858775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ata Lake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E1DC9D16-30FC-E847-881B-AFF22476F536}"/>
                </a:ext>
              </a:extLst>
            </p:cNvPr>
            <p:cNvSpPr/>
            <p:nvPr/>
          </p:nvSpPr>
          <p:spPr bwMode="auto">
            <a:xfrm>
              <a:off x="4091315" y="4559132"/>
              <a:ext cx="741769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park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92B9AACE-CF96-5A44-A7E6-D511423F38D3}"/>
                </a:ext>
              </a:extLst>
            </p:cNvPr>
            <p:cNvSpPr/>
            <p:nvPr/>
          </p:nvSpPr>
          <p:spPr bwMode="auto">
            <a:xfrm>
              <a:off x="4863134" y="4559129"/>
              <a:ext cx="794794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SVM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7372A27-BD84-FE44-BF78-5D2C0AD147CC}"/>
                </a:ext>
              </a:extLst>
            </p:cNvPr>
            <p:cNvSpPr/>
            <p:nvPr/>
          </p:nvSpPr>
          <p:spPr bwMode="auto">
            <a:xfrm>
              <a:off x="5684293" y="4559130"/>
              <a:ext cx="741769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atch AI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6FC0860-4837-3149-BB69-6A0F13A0B38A}"/>
                </a:ext>
              </a:extLst>
            </p:cNvPr>
            <p:cNvSpPr/>
            <p:nvPr/>
          </p:nvSpPr>
          <p:spPr bwMode="auto">
            <a:xfrm>
              <a:off x="6452427" y="4559129"/>
              <a:ext cx="741769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CS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6AA52B4-869A-8244-9FD0-033FC568E388}"/>
                </a:ext>
              </a:extLst>
            </p:cNvPr>
            <p:cNvSpPr/>
            <p:nvPr/>
          </p:nvSpPr>
          <p:spPr bwMode="auto">
            <a:xfrm>
              <a:off x="284271" y="5290687"/>
              <a:ext cx="7705271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PU, FPGA, GPU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0048871-D4DC-064B-AC28-3CBAE0FCD25A}"/>
                </a:ext>
              </a:extLst>
            </p:cNvPr>
            <p:cNvSpPr/>
            <p:nvPr/>
          </p:nvSpPr>
          <p:spPr bwMode="auto">
            <a:xfrm>
              <a:off x="7220948" y="4559129"/>
              <a:ext cx="752433" cy="594683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IoT Edge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76E0BD8F-9F27-3540-A8D6-FB9F0D13B8DC}"/>
              </a:ext>
            </a:extLst>
          </p:cNvPr>
          <p:cNvGrpSpPr/>
          <p:nvPr/>
        </p:nvGrpSpPr>
        <p:grpSpPr>
          <a:xfrm>
            <a:off x="8387429" y="2183863"/>
            <a:ext cx="3357630" cy="3419098"/>
            <a:chOff x="8283071" y="2183863"/>
            <a:chExt cx="3357630" cy="3419098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A7ADDC5D-99F0-954E-8F78-63AAE70CACA5}"/>
                </a:ext>
              </a:extLst>
            </p:cNvPr>
            <p:cNvSpPr/>
            <p:nvPr/>
          </p:nvSpPr>
          <p:spPr bwMode="auto">
            <a:xfrm>
              <a:off x="8440989" y="2619106"/>
              <a:ext cx="1040516" cy="614041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91440" tIns="143407" rIns="91440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VS Tools </a:t>
              </a:r>
              <a:b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</a:b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for AI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C1E5FC5-ACC1-A44C-8C9C-969C6084E846}"/>
                </a:ext>
              </a:extLst>
            </p:cNvPr>
            <p:cNvSpPr/>
            <p:nvPr/>
          </p:nvSpPr>
          <p:spPr bwMode="auto">
            <a:xfrm>
              <a:off x="9545632" y="2619106"/>
              <a:ext cx="896634" cy="614041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91440" tIns="143407" rIns="91440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 ML Studio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70A854E-090D-BD41-AB0D-511B12E7BE5F}"/>
                </a:ext>
              </a:extLst>
            </p:cNvPr>
            <p:cNvSpPr/>
            <p:nvPr/>
          </p:nvSpPr>
          <p:spPr bwMode="auto">
            <a:xfrm>
              <a:off x="8283071" y="2183863"/>
              <a:ext cx="3357630" cy="41513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92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63248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ODING &amp; MANAGEMENT TOOLS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DD5227A8-EEF3-504C-AB60-FF43A18C2322}"/>
                </a:ext>
              </a:extLst>
            </p:cNvPr>
            <p:cNvSpPr/>
            <p:nvPr/>
          </p:nvSpPr>
          <p:spPr bwMode="auto">
            <a:xfrm>
              <a:off x="10522021" y="2619106"/>
              <a:ext cx="960761" cy="614041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91440" tIns="143407" rIns="91440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 ML Workbench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D2DB0BA0-0AEF-8841-B8F1-49FED6885A54}"/>
                </a:ext>
              </a:extLst>
            </p:cNvPr>
            <p:cNvSpPr/>
            <p:nvPr/>
          </p:nvSpPr>
          <p:spPr bwMode="auto">
            <a:xfrm>
              <a:off x="8283071" y="3930076"/>
              <a:ext cx="3357630" cy="41513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92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63248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EEP LEARNING FRAMEWORKS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D45519EE-0145-7C4D-A776-0E57F7C3D6C3}"/>
                </a:ext>
              </a:extLst>
            </p:cNvPr>
            <p:cNvSpPr/>
            <p:nvPr/>
          </p:nvSpPr>
          <p:spPr bwMode="auto">
            <a:xfrm>
              <a:off x="8440738" y="4579938"/>
              <a:ext cx="846137" cy="614362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91440" tIns="143407" rIns="91440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ognitive Toolkit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E8D4592A-B348-CB4E-8B4C-7940638DDB95}"/>
                </a:ext>
              </a:extLst>
            </p:cNvPr>
            <p:cNvSpPr/>
            <p:nvPr/>
          </p:nvSpPr>
          <p:spPr bwMode="auto">
            <a:xfrm>
              <a:off x="9481505" y="4587350"/>
              <a:ext cx="960761" cy="614041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91440" tIns="143407" rIns="91440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ensorFlow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D55F659F-E647-4E42-844E-7DD8BE523D2F}"/>
                </a:ext>
              </a:extLst>
            </p:cNvPr>
            <p:cNvSpPr/>
            <p:nvPr/>
          </p:nvSpPr>
          <p:spPr bwMode="auto">
            <a:xfrm>
              <a:off x="10522021" y="4587349"/>
              <a:ext cx="960761" cy="614041"/>
            </a:xfrm>
            <a:prstGeom prst="rect">
              <a:avLst/>
            </a:prstGeom>
            <a:solidFill>
              <a:srgbClr val="0078D7"/>
            </a:solidFill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91440" tIns="143407" rIns="91440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affe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C7924D04-AC05-6243-A111-FF336BF08AD2}"/>
                </a:ext>
              </a:extLst>
            </p:cNvPr>
            <p:cNvSpPr/>
            <p:nvPr>
              <p:extLst/>
            </p:nvPr>
          </p:nvSpPr>
          <p:spPr bwMode="auto">
            <a:xfrm>
              <a:off x="8440738" y="5345376"/>
              <a:ext cx="3090271" cy="257585"/>
            </a:xfrm>
            <a:prstGeom prst="rect">
              <a:avLst/>
            </a:prstGeom>
            <a:noFill/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91440" tIns="143407" rIns="91440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63248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Others (Scikit-learn, MXNet, Keras, Chainer, Gluon…)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F95CCFA2-9420-6F4C-BEE7-BD5C5E70E9CF}"/>
                </a:ext>
              </a:extLst>
            </p:cNvPr>
            <p:cNvSpPr/>
            <p:nvPr/>
          </p:nvSpPr>
          <p:spPr bwMode="auto">
            <a:xfrm>
              <a:off x="9789094" y="4224592"/>
              <a:ext cx="1375924" cy="41513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92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63248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3rd Party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41A444EA-8A0B-6A49-BC7F-71B9F518B7F1}"/>
                </a:ext>
              </a:extLst>
            </p:cNvPr>
            <p:cNvSpPr/>
            <p:nvPr>
              <p:extLst/>
            </p:nvPr>
          </p:nvSpPr>
          <p:spPr bwMode="auto">
            <a:xfrm>
              <a:off x="8448813" y="3315530"/>
              <a:ext cx="3090271" cy="257585"/>
            </a:xfrm>
            <a:prstGeom prst="rect">
              <a:avLst/>
            </a:prstGeom>
            <a:noFill/>
            <a:ln w="15875" cap="flat" cmpd="sng" algn="ctr">
              <a:noFill/>
              <a:prstDash val="solid"/>
              <a:headEnd type="none"/>
              <a:tailEnd type="none"/>
            </a:ln>
            <a:effectLst/>
          </p:spPr>
          <p:txBody>
            <a:bodyPr rot="0" spcFirstLastPara="0" vertOverflow="overflow" horzOverflow="overflow" vert="horz" wrap="square" lIns="91440" tIns="143407" rIns="91440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192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63248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Others (PyCharm, Jupyter Notebooks…)</a:t>
              </a: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512FC94C-DC6D-134A-B22F-B60E817749B3}"/>
              </a:ext>
            </a:extLst>
          </p:cNvPr>
          <p:cNvSpPr/>
          <p:nvPr/>
        </p:nvSpPr>
        <p:spPr>
          <a:xfrm>
            <a:off x="345014" y="1462734"/>
            <a:ext cx="79089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25">
              <a:defRPr/>
            </a:pPr>
            <a:r>
              <a:rPr lang="en-US" sz="3200" kern="0" dirty="0">
                <a:solidFill>
                  <a:srgbClr val="353535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zure AI Service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E438B7C7-F2EB-D340-B02B-7FE8A8C6691D}"/>
              </a:ext>
            </a:extLst>
          </p:cNvPr>
          <p:cNvSpPr/>
          <p:nvPr/>
        </p:nvSpPr>
        <p:spPr>
          <a:xfrm>
            <a:off x="345014" y="3606681"/>
            <a:ext cx="79089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25">
              <a:defRPr/>
            </a:pPr>
            <a:r>
              <a:rPr lang="en-US" sz="3200" kern="0">
                <a:solidFill>
                  <a:srgbClr val="353535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zure Infrastructur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ABE819E-652E-5D4A-95C9-20C5CE677B2D}"/>
              </a:ext>
            </a:extLst>
          </p:cNvPr>
          <p:cNvSpPr/>
          <p:nvPr/>
        </p:nvSpPr>
        <p:spPr>
          <a:xfrm>
            <a:off x="8266383" y="1461383"/>
            <a:ext cx="35274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25">
              <a:defRPr/>
            </a:pPr>
            <a:r>
              <a:rPr lang="en-US" sz="3200" kern="0">
                <a:solidFill>
                  <a:srgbClr val="353535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ols</a:t>
            </a:r>
          </a:p>
        </p:txBody>
      </p:sp>
    </p:spTree>
    <p:extLst>
      <p:ext uri="{BB962C8B-B14F-4D97-AF65-F5344CB8AC3E}">
        <p14:creationId xmlns:p14="http://schemas.microsoft.com/office/powerpoint/2010/main" val="168086086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2C4308-EDF3-824B-9623-CF0CD85E9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machine learning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22120A-0E63-9348-8B41-13E15A2476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274" y="1585221"/>
            <a:ext cx="10493453" cy="368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06293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24826-570F-0244-A651-7E6F8974B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Pipelin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F04E6F9-6A1D-524F-94F1-8A4E17F941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521" y="1337276"/>
            <a:ext cx="11100958" cy="418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58479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DF1237-3986-1141-A895-E6469BB13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/cd ml/</a:t>
            </a:r>
            <a:r>
              <a:rPr lang="en-US" dirty="0" err="1"/>
              <a:t>ai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69BDE2-ABF2-7941-B7E9-1940B16B10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4719" y="899496"/>
            <a:ext cx="10002562" cy="505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9226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RMpqsfS3mSi9QNBdDT7g"/>
</p:tagLst>
</file>

<file path=ppt/theme/theme1.xml><?xml version="1.0" encoding="utf-8"?>
<a:theme xmlns:a="http://schemas.openxmlformats.org/drawingml/2006/main" name="1_ML">
  <a:themeElements>
    <a:clrScheme name="Custom 8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2050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BCF2"/>
      </a:hlink>
      <a:folHlink>
        <a:srgbClr val="002050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2.xml><?xml version="1.0" encoding="utf-8"?>
<a:theme xmlns:a="http://schemas.openxmlformats.org/drawingml/2006/main" name="2_FY18 Enterprise">
  <a:themeElements>
    <a:clrScheme name="Custom 2">
      <a:dk1>
        <a:srgbClr val="353535"/>
      </a:dk1>
      <a:lt1>
        <a:srgbClr val="FFFFFF"/>
      </a:lt1>
      <a:dk2>
        <a:srgbClr val="0078D7"/>
      </a:dk2>
      <a:lt2>
        <a:srgbClr val="F2F2F2"/>
      </a:lt2>
      <a:accent1>
        <a:srgbClr val="0078D7"/>
      </a:accent1>
      <a:accent2>
        <a:srgbClr val="002050"/>
      </a:accent2>
      <a:accent3>
        <a:srgbClr val="00BCF2"/>
      </a:accent3>
      <a:accent4>
        <a:srgbClr val="D83B01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8 Enterprise" id="{E72F3315-1010-49DB-9886-4D4C2CF5FD95}" vid="{819BFA2A-E2CF-41B2-903A-3ECB1391740E}"/>
    </a:ext>
  </a:extLst>
</a:theme>
</file>

<file path=ppt/theme/theme3.xml><?xml version="1.0" encoding="utf-8"?>
<a:theme xmlns:a="http://schemas.openxmlformats.org/drawingml/2006/main" name="2_WHITE TEMPLATE">
  <a:themeElements>
    <a:clrScheme name="Custom 5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008272"/>
      </a:accent3>
      <a:accent4>
        <a:srgbClr val="004B50"/>
      </a:accent4>
      <a:accent5>
        <a:srgbClr val="737373"/>
      </a:accent5>
      <a:accent6>
        <a:srgbClr val="D2D2D2"/>
      </a:accent6>
      <a:hlink>
        <a:srgbClr val="00188F"/>
      </a:hlink>
      <a:folHlink>
        <a:srgbClr val="00188F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8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xecRetreat2018_Template_Day2_v05" id="{7659D977-8A09-4778-AC25-233ADCA7034A}" vid="{10CE68CE-AEC0-42D2-A8F1-58314E72801C}"/>
    </a:ext>
  </a:extLst>
</a:theme>
</file>

<file path=ppt/theme/theme4.xml><?xml version="1.0" encoding="utf-8"?>
<a:theme xmlns:a="http://schemas.openxmlformats.org/drawingml/2006/main" name="4_FY18 Enterprise">
  <a:themeElements>
    <a:clrScheme name="Custom 2">
      <a:dk1>
        <a:srgbClr val="353535"/>
      </a:dk1>
      <a:lt1>
        <a:srgbClr val="FFFFFF"/>
      </a:lt1>
      <a:dk2>
        <a:srgbClr val="0078D7"/>
      </a:dk2>
      <a:lt2>
        <a:srgbClr val="F2F2F2"/>
      </a:lt2>
      <a:accent1>
        <a:srgbClr val="0078D7"/>
      </a:accent1>
      <a:accent2>
        <a:srgbClr val="002050"/>
      </a:accent2>
      <a:accent3>
        <a:srgbClr val="00BCF2"/>
      </a:accent3>
      <a:accent4>
        <a:srgbClr val="D83B01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8 Enterprise" id="{E72F3315-1010-49DB-9886-4D4C2CF5FD95}" vid="{819BFA2A-E2CF-41B2-903A-3ECB1391740E}"/>
    </a:ext>
  </a:extLst>
</a:theme>
</file>

<file path=ppt/theme/theme5.xml><?xml version="1.0" encoding="utf-8"?>
<a:theme xmlns:a="http://schemas.openxmlformats.org/drawingml/2006/main" name="1_FY18 Enterprise">
  <a:themeElements>
    <a:clrScheme name="Custom 2">
      <a:dk1>
        <a:srgbClr val="353535"/>
      </a:dk1>
      <a:lt1>
        <a:srgbClr val="FFFFFF"/>
      </a:lt1>
      <a:dk2>
        <a:srgbClr val="0078D7"/>
      </a:dk2>
      <a:lt2>
        <a:srgbClr val="F2F2F2"/>
      </a:lt2>
      <a:accent1>
        <a:srgbClr val="0078D7"/>
      </a:accent1>
      <a:accent2>
        <a:srgbClr val="002050"/>
      </a:accent2>
      <a:accent3>
        <a:srgbClr val="00BCF2"/>
      </a:accent3>
      <a:accent4>
        <a:srgbClr val="D83B01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8 Enterprise" id="{E72F3315-1010-49DB-9886-4D4C2CF5FD95}" vid="{819BFA2A-E2CF-41B2-903A-3ECB1391740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92</TotalTime>
  <Words>358</Words>
  <Application>Microsoft Office PowerPoint</Application>
  <PresentationFormat>Widescreen</PresentationFormat>
  <Paragraphs>123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5" baseType="lpstr">
      <vt:lpstr>Arial</vt:lpstr>
      <vt:lpstr>Calibri</vt:lpstr>
      <vt:lpstr>Consolas</vt:lpstr>
      <vt:lpstr>Segoe UI</vt:lpstr>
      <vt:lpstr>Segoe UI Light</vt:lpstr>
      <vt:lpstr>Segoe UI Semibold</vt:lpstr>
      <vt:lpstr>Segoe UI Semilight</vt:lpstr>
      <vt:lpstr>Wingdings</vt:lpstr>
      <vt:lpstr>1_ML</vt:lpstr>
      <vt:lpstr>2_FY18 Enterprise</vt:lpstr>
      <vt:lpstr>2_WHITE TEMPLATE</vt:lpstr>
      <vt:lpstr>4_FY18 Enterprise</vt:lpstr>
      <vt:lpstr>1_FY18 Enterprise</vt:lpstr>
      <vt:lpstr>think-cell Slide</vt:lpstr>
      <vt:lpstr>PowerPoint Presentation</vt:lpstr>
      <vt:lpstr>PowerPoint Presentation</vt:lpstr>
      <vt:lpstr>Data Platform </vt:lpstr>
      <vt:lpstr>Big Data &amp; Advanced Analytics at a glance</vt:lpstr>
      <vt:lpstr>Microsoft AI</vt:lpstr>
      <vt:lpstr>Microsoft AI Platform</vt:lpstr>
      <vt:lpstr>Azure machine learning service</vt:lpstr>
      <vt:lpstr>Machine Learning Pipeline</vt:lpstr>
      <vt:lpstr>Ci/cd ml/ai</vt:lpstr>
      <vt:lpstr>Reference architectu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Databricks - An Introduction</dc:title>
  <dc:creator>Bharat Sandhu</dc:creator>
  <dc:description>Big Data &amp; Advanced Analytics at a glance</dc:description>
  <cp:lastModifiedBy>Hyun Suk Shin (MTC SEATTLE)</cp:lastModifiedBy>
  <cp:revision>20</cp:revision>
  <dcterms:created xsi:type="dcterms:W3CDTF">2017-10-30T23:38:41Z</dcterms:created>
  <dcterms:modified xsi:type="dcterms:W3CDTF">2018-12-12T21:39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jgc@microsoft.com</vt:lpwstr>
  </property>
  <property fmtid="{D5CDD505-2E9C-101B-9397-08002B2CF9AE}" pid="5" name="MSIP_Label_f42aa342-8706-4288-bd11-ebb85995028c_SetDate">
    <vt:lpwstr>2017-10-31T01:15:36.5542733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6B2F2F06C5255E4EA3F055CA84A7B69C</vt:lpwstr>
  </property>
  <property fmtid="{D5CDD505-2E9C-101B-9397-08002B2CF9AE}" pid="11" name="of67e5d4b76f4a9db8769983fda9cec0">
    <vt:lpwstr/>
  </property>
  <property fmtid="{D5CDD505-2E9C-101B-9397-08002B2CF9AE}" pid="12" name="NewsType">
    <vt:lpwstr/>
  </property>
  <property fmtid="{D5CDD505-2E9C-101B-9397-08002B2CF9AE}" pid="13" name="TaxKeyword">
    <vt:lpwstr/>
  </property>
  <property fmtid="{D5CDD505-2E9C-101B-9397-08002B2CF9AE}" pid="14" name="_dlc_policyId">
    <vt:lpwstr/>
  </property>
  <property fmtid="{D5CDD505-2E9C-101B-9397-08002B2CF9AE}" pid="15" name="Region">
    <vt:lpwstr/>
  </property>
  <property fmtid="{D5CDD505-2E9C-101B-9397-08002B2CF9AE}" pid="16" name="Confidentiality">
    <vt:lpwstr>14;#customer ready|8986c41d-21c5-4f8f-8a12-ea4625b46858</vt:lpwstr>
  </property>
  <property fmtid="{D5CDD505-2E9C-101B-9397-08002B2CF9AE}" pid="17" name="ItemType">
    <vt:lpwstr>16;#customer presentations|18e9ae94-e321-4eea-82d2-ad5b2f470f3c</vt:lpwstr>
  </property>
  <property fmtid="{D5CDD505-2E9C-101B-9397-08002B2CF9AE}" pid="18" name="MSProducts">
    <vt:lpwstr/>
  </property>
  <property fmtid="{D5CDD505-2E9C-101B-9397-08002B2CF9AE}" pid="19" name="Industries">
    <vt:lpwstr/>
  </property>
  <property fmtid="{D5CDD505-2E9C-101B-9397-08002B2CF9AE}" pid="20" name="Competitors">
    <vt:lpwstr/>
  </property>
  <property fmtid="{D5CDD505-2E9C-101B-9397-08002B2CF9AE}" pid="21" name="SMSGDomain">
    <vt:lpwstr>21;#Cloud and Enterprise|adc2fe87-c79a-4ded-a449-3f86b954069d</vt:lpwstr>
  </property>
  <property fmtid="{D5CDD505-2E9C-101B-9397-08002B2CF9AE}" pid="22" name="ExperienceContentType">
    <vt:lpwstr/>
  </property>
  <property fmtid="{D5CDD505-2E9C-101B-9397-08002B2CF9AE}" pid="23" name="BusinessArchitecture">
    <vt:lpwstr>1370;#Advanced Analytics|a794c42d-8e46-46ec-b99e-aa6f5cde33ef</vt:lpwstr>
  </property>
  <property fmtid="{D5CDD505-2E9C-101B-9397-08002B2CF9AE}" pid="24" name="Products">
    <vt:lpwstr>26;#Azure|669a3112-5edf-444b-a003-630063601f07</vt:lpwstr>
  </property>
  <property fmtid="{D5CDD505-2E9C-101B-9397-08002B2CF9AE}" pid="25" name="j3562c58ee414e028925bc902cfc01a1">
    <vt:lpwstr/>
  </property>
  <property fmtid="{D5CDD505-2E9C-101B-9397-08002B2CF9AE}" pid="26" name="EnterpriseDomainTags">
    <vt:lpwstr/>
  </property>
  <property fmtid="{D5CDD505-2E9C-101B-9397-08002B2CF9AE}" pid="27" name="la4444b61d19467597d63190b69ac227">
    <vt:lpwstr/>
  </property>
  <property fmtid="{D5CDD505-2E9C-101B-9397-08002B2CF9AE}" pid="28" name="l6f004f21209409da86a713c0f24627d">
    <vt:lpwstr/>
  </property>
  <property fmtid="{D5CDD505-2E9C-101B-9397-08002B2CF9AE}" pid="29" name="ActivitiesAndPrograms">
    <vt:lpwstr/>
  </property>
  <property fmtid="{D5CDD505-2E9C-101B-9397-08002B2CF9AE}" pid="30" name="Segments">
    <vt:lpwstr/>
  </property>
  <property fmtid="{D5CDD505-2E9C-101B-9397-08002B2CF9AE}" pid="31" name="Partners">
    <vt:lpwstr/>
  </property>
  <property fmtid="{D5CDD505-2E9C-101B-9397-08002B2CF9AE}" pid="32" name="Topics">
    <vt:lpwstr/>
  </property>
  <property fmtid="{D5CDD505-2E9C-101B-9397-08002B2CF9AE}" pid="33" name="Groups">
    <vt:lpwstr/>
  </property>
  <property fmtid="{D5CDD505-2E9C-101B-9397-08002B2CF9AE}" pid="34" name="MSProductsTaxHTField0">
    <vt:lpwstr/>
  </property>
  <property fmtid="{D5CDD505-2E9C-101B-9397-08002B2CF9AE}" pid="35" name="Languages">
    <vt:lpwstr/>
  </property>
  <property fmtid="{D5CDD505-2E9C-101B-9397-08002B2CF9AE}" pid="36" name="e8080b0481964c759b2c36ae49591b31">
    <vt:lpwstr/>
  </property>
  <property fmtid="{D5CDD505-2E9C-101B-9397-08002B2CF9AE}" pid="37" name="TechnicalLevel">
    <vt:lpwstr/>
  </property>
  <property fmtid="{D5CDD505-2E9C-101B-9397-08002B2CF9AE}" pid="38" name="Audiences">
    <vt:lpwstr/>
  </property>
  <property fmtid="{D5CDD505-2E9C-101B-9397-08002B2CF9AE}" pid="39" name="ldac8aee9d1f469e8cd8c3f8d6a615f2">
    <vt:lpwstr/>
  </property>
  <property fmtid="{D5CDD505-2E9C-101B-9397-08002B2CF9AE}" pid="40" name="EmployeeRole">
    <vt:lpwstr/>
  </property>
  <property fmtid="{D5CDD505-2E9C-101B-9397-08002B2CF9AE}" pid="41" name="MSIP_Label_f42aa342-8706-4288-bd11-ebb85995028c_Ref">
    <vt:lpwstr>https://api.informationprotection.azure.com/api/72f988bf-86f1-41af-91ab-2d7cd011db47</vt:lpwstr>
  </property>
  <property fmtid="{D5CDD505-2E9C-101B-9397-08002B2CF9AE}" pid="42" name="NewsTopic">
    <vt:lpwstr/>
  </property>
  <property fmtid="{D5CDD505-2E9C-101B-9397-08002B2CF9AE}" pid="43" name="Roles">
    <vt:lpwstr/>
  </property>
  <property fmtid="{D5CDD505-2E9C-101B-9397-08002B2CF9AE}" pid="44" name="ItemRetentionFormula">
    <vt:lpwstr/>
  </property>
  <property fmtid="{D5CDD505-2E9C-101B-9397-08002B2CF9AE}" pid="45" name="NewsSource">
    <vt:lpwstr/>
  </property>
  <property fmtid="{D5CDD505-2E9C-101B-9397-08002B2CF9AE}" pid="46" name="SMSGTags">
    <vt:lpwstr/>
  </property>
  <property fmtid="{D5CDD505-2E9C-101B-9397-08002B2CF9AE}" pid="47" name="_dlc_DocIdItemGuid">
    <vt:lpwstr>01cf35b6-4cf1-4925-a6a9-2a08f743c4b6</vt:lpwstr>
  </property>
  <property fmtid="{D5CDD505-2E9C-101B-9397-08002B2CF9AE}" pid="48" name="MSPhysicalGeography">
    <vt:lpwstr/>
  </property>
  <property fmtid="{D5CDD505-2E9C-101B-9397-08002B2CF9AE}" pid="49" name="_docset_NoMedatataSyncRequired">
    <vt:lpwstr>False</vt:lpwstr>
  </property>
  <property fmtid="{D5CDD505-2E9C-101B-9397-08002B2CF9AE}" pid="50" name="Presentation">
    <vt:lpwstr>Azure Databricks - An Introduction</vt:lpwstr>
  </property>
  <property fmtid="{D5CDD505-2E9C-101B-9397-08002B2CF9AE}" pid="51" name="SlideDescription">
    <vt:lpwstr>Big Data &amp; Advanced Analytics at a glance</vt:lpwstr>
  </property>
</Properties>
</file>